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drawings/drawing3.xml" ContentType="application/vnd.openxmlformats-officedocument.drawingml.chartshape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drawings/drawing4.xml" ContentType="application/vnd.openxmlformats-officedocument.drawingml.chartshape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6.xml" ContentType="application/vnd.openxmlformats-officedocument.theme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466.xml" ContentType="application/vnd.openxmlformats-officedocument.presentationml.tags+xml"/>
  <Override PartName="/ppt/notesSlides/notesSlide1.xml" ContentType="application/vnd.openxmlformats-officedocument.presentationml.notesSlide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notesSlides/notesSlide2.xml" ContentType="application/vnd.openxmlformats-officedocument.presentationml.notesSlide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notesSlides/notesSlide3.xml" ContentType="application/vnd.openxmlformats-officedocument.presentationml.notesSlide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notesSlides/notesSlide4.xml" ContentType="application/vnd.openxmlformats-officedocument.presentationml.notesSlide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notesSlides/notesSlide5.xml" ContentType="application/vnd.openxmlformats-officedocument.presentationml.notesSlide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notesSlides/notesSlide6.xml" ContentType="application/vnd.openxmlformats-officedocument.presentationml.notesSlide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6" r:id="rId2"/>
    <p:sldMasterId id="2147484683" r:id="rId3"/>
    <p:sldMasterId id="2147484697" r:id="rId4"/>
    <p:sldMasterId id="2147484702" r:id="rId5"/>
    <p:sldMasterId id="2147484716" r:id="rId6"/>
  </p:sldMasterIdLst>
  <p:notesMasterIdLst>
    <p:notesMasterId r:id="rId34"/>
  </p:notesMasterIdLst>
  <p:handoutMasterIdLst>
    <p:handoutMasterId r:id="rId35"/>
  </p:handoutMasterIdLst>
  <p:sldIdLst>
    <p:sldId id="289" r:id="rId7"/>
    <p:sldId id="293" r:id="rId8"/>
    <p:sldId id="332" r:id="rId9"/>
    <p:sldId id="330" r:id="rId10"/>
    <p:sldId id="349" r:id="rId11"/>
    <p:sldId id="334" r:id="rId12"/>
    <p:sldId id="360" r:id="rId13"/>
    <p:sldId id="361" r:id="rId14"/>
    <p:sldId id="362" r:id="rId15"/>
    <p:sldId id="363" r:id="rId16"/>
    <p:sldId id="364" r:id="rId17"/>
    <p:sldId id="365" r:id="rId18"/>
    <p:sldId id="366" r:id="rId19"/>
    <p:sldId id="367" r:id="rId20"/>
    <p:sldId id="368" r:id="rId21"/>
    <p:sldId id="369" r:id="rId22"/>
    <p:sldId id="350" r:id="rId23"/>
    <p:sldId id="337" r:id="rId24"/>
    <p:sldId id="351" r:id="rId25"/>
    <p:sldId id="338" r:id="rId26"/>
    <p:sldId id="353" r:id="rId27"/>
    <p:sldId id="339" r:id="rId28"/>
    <p:sldId id="354" r:id="rId29"/>
    <p:sldId id="341" r:id="rId30"/>
    <p:sldId id="355" r:id="rId31"/>
    <p:sldId id="345" r:id="rId32"/>
    <p:sldId id="370" r:id="rId33"/>
  </p:sldIdLst>
  <p:sldSz cx="9906000" cy="6858000" type="A4"/>
  <p:notesSz cx="6789738" cy="9929813"/>
  <p:defaultTextStyle>
    <a:defPPr>
      <a:defRPr lang="en-US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116">
          <p15:clr>
            <a:srgbClr val="A4A3A4"/>
          </p15:clr>
        </p15:guide>
        <p15:guide id="2" pos="5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202C"/>
    <a:srgbClr val="BABCBE"/>
    <a:srgbClr val="414142"/>
    <a:srgbClr val="1D1D1C"/>
    <a:srgbClr val="D2061F"/>
    <a:srgbClr val="7F7E7E"/>
    <a:srgbClr val="919191"/>
    <a:srgbClr val="010000"/>
    <a:srgbClr val="DF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108" d="100"/>
          <a:sy n="108" d="100"/>
        </p:scale>
        <p:origin x="1446" y="78"/>
      </p:cViewPr>
      <p:guideLst>
        <p:guide orient="horz" pos="1116"/>
        <p:guide pos="5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5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C:\Users\Andrew\Desktop\Templat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5" Type="http://schemas.openxmlformats.org/officeDocument/2006/relationships/chartUserShapes" Target="../drawings/drawing2.xml"/><Relationship Id="rId4" Type="http://schemas.openxmlformats.org/officeDocument/2006/relationships/oleObject" Target="file:///C:\Users\Andrew\Desktop\Template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5" Type="http://schemas.openxmlformats.org/officeDocument/2006/relationships/chartUserShapes" Target="../drawings/drawing3.xml"/><Relationship Id="rId4" Type="http://schemas.openxmlformats.org/officeDocument/2006/relationships/oleObject" Target="file:///C:\Users\Andrew\Desktop\Templat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C:\Users\Andrew\Desktop\Templat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84193137687952"/>
          <c:y val="0.19670675303101684"/>
          <c:w val="0.87919884155232786"/>
          <c:h val="0.73070470188138481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1983744"/>
        <c:axId val="101985280"/>
      </c:barChart>
      <c:catAx>
        <c:axId val="101983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985280"/>
        <c:crosses val="autoZero"/>
        <c:auto val="1"/>
        <c:lblAlgn val="ctr"/>
        <c:lblOffset val="100"/>
        <c:noMultiLvlLbl val="0"/>
      </c:catAx>
      <c:valAx>
        <c:axId val="10198528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9837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58468517605914"/>
          <c:y val="0.14498563775211865"/>
          <c:w val="0.72643943295969815"/>
          <c:h val="7.143452470830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84193137687952"/>
          <c:y val="0.19670675303101684"/>
          <c:w val="0.87919884155232786"/>
          <c:h val="0.73070470188138481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2797312"/>
        <c:axId val="102798848"/>
      </c:barChart>
      <c:catAx>
        <c:axId val="1027973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798848"/>
        <c:crosses val="autoZero"/>
        <c:auto val="1"/>
        <c:lblAlgn val="ctr"/>
        <c:lblOffset val="100"/>
        <c:noMultiLvlLbl val="0"/>
      </c:catAx>
      <c:valAx>
        <c:axId val="10279884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27973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58468517605914"/>
          <c:y val="0.14498563775211865"/>
          <c:w val="0.72643943295969815"/>
          <c:h val="7.143452470830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84193137687952"/>
          <c:y val="0.19670675303101684"/>
          <c:w val="0.87919884155232786"/>
          <c:h val="0.73070470188138481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0803328"/>
        <c:axId val="120804864"/>
      </c:barChart>
      <c:catAx>
        <c:axId val="12080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804864"/>
        <c:crosses val="autoZero"/>
        <c:auto val="1"/>
        <c:lblAlgn val="ctr"/>
        <c:lblOffset val="100"/>
        <c:noMultiLvlLbl val="0"/>
      </c:catAx>
      <c:valAx>
        <c:axId val="1208048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80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58468517605914"/>
          <c:y val="0.14498563775211865"/>
          <c:w val="0.72643943295969815"/>
          <c:h val="7.143452470830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1784193137687952"/>
          <c:y val="0.19670675303101684"/>
          <c:w val="0.87919884155232786"/>
          <c:h val="0.73070470188138481"/>
        </c:manualLayout>
      </c:layout>
      <c:barChart>
        <c:barDir val="col"/>
        <c:grouping val="stacke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20719616"/>
        <c:axId val="120745984"/>
      </c:barChart>
      <c:catAx>
        <c:axId val="1207196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bg1">
                <a:lumMod val="6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745984"/>
        <c:crosses val="autoZero"/>
        <c:auto val="1"/>
        <c:lblAlgn val="ctr"/>
        <c:lblOffset val="100"/>
        <c:noMultiLvlLbl val="0"/>
      </c:catAx>
      <c:valAx>
        <c:axId val="12074598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65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07196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8758468517605914"/>
          <c:y val="0.14498563775211865"/>
          <c:w val="0.72643943295969815"/>
          <c:h val="7.14345247083058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6.v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7" Type="http://schemas.openxmlformats.org/officeDocument/2006/relationships/image" Target="../media/image36.emf"/><Relationship Id="rId2" Type="http://schemas.openxmlformats.org/officeDocument/2006/relationships/image" Target="../media/image31.emf"/><Relationship Id="rId1" Type="http://schemas.openxmlformats.org/officeDocument/2006/relationships/image" Target="../media/image30.emf"/><Relationship Id="rId6" Type="http://schemas.openxmlformats.org/officeDocument/2006/relationships/image" Target="../media/image35.emf"/><Relationship Id="rId5" Type="http://schemas.openxmlformats.org/officeDocument/2006/relationships/image" Target="../media/image34.emf"/><Relationship Id="rId4" Type="http://schemas.openxmlformats.org/officeDocument/2006/relationships/image" Target="../media/image3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8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image" Target="../media/image15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1.vml.rels><?xml version="1.0" encoding="UTF-8" standalone="yes"?>
<Relationships xmlns="http://schemas.openxmlformats.org/package/2006/relationships"><Relationship Id="rId2" Type="http://schemas.openxmlformats.org/officeDocument/2006/relationships/image" Target="../media/image91.emf"/><Relationship Id="rId1" Type="http://schemas.openxmlformats.org/officeDocument/2006/relationships/image" Target="../media/image9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389</cdr:x>
      <cdr:y>0.01354</cdr:y>
    </cdr:from>
    <cdr:to>
      <cdr:x>0.834</cdr:x>
      <cdr:y>0.18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368" y="61256"/>
          <a:ext cx="3281341" cy="7642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AU" sz="1400" dirty="0"/>
        </a:p>
      </cdr:txBody>
    </cdr:sp>
  </cdr:relSizeAnchor>
  <cdr:relSizeAnchor xmlns:cdr="http://schemas.openxmlformats.org/drawingml/2006/chartDrawing">
    <cdr:from>
      <cdr:x>0.02531</cdr:x>
      <cdr:y>0.00951</cdr:y>
    </cdr:from>
    <cdr:to>
      <cdr:x>0.83899</cdr:x>
      <cdr:y>0.07444</cdr:y>
    </cdr:to>
    <cdr:sp macro="" textlink="">
      <cdr:nvSpPr>
        <cdr:cNvPr id="5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43025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b="1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2531</cdr:x>
      <cdr:y>0.06098</cdr:y>
    </cdr:from>
    <cdr:to>
      <cdr:x>0.83899</cdr:x>
      <cdr:y>0.1259</cdr:y>
    </cdr:to>
    <cdr:sp macro="" textlink="">
      <cdr:nvSpPr>
        <cdr:cNvPr id="6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275820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1229</cdr:x>
      <cdr:y>0.13607</cdr:y>
    </cdr:from>
    <cdr:to>
      <cdr:x>0.98771</cdr:x>
      <cdr:y>0.97857</cdr:y>
    </cdr:to>
    <cdr:sp macro="" textlink="">
      <cdr:nvSpPr>
        <cdr:cNvPr id="11" name="Rectangle 10"/>
        <cdr:cNvSpPr/>
      </cdr:nvSpPr>
      <cdr:spPr>
        <a:xfrm xmlns:a="http://schemas.openxmlformats.org/drawingml/2006/main">
          <a:off x="50425" y="618444"/>
          <a:ext cx="4002616" cy="38290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2458</cdr:x>
      <cdr:y>0.14725</cdr:y>
    </cdr:from>
    <cdr:to>
      <cdr:x>1</cdr:x>
      <cdr:y>0.98975</cdr:y>
    </cdr:to>
    <cdr:sp macro="" textlink="">
      <cdr:nvSpPr>
        <cdr:cNvPr id="15" name="Rectangle 14"/>
        <cdr:cNvSpPr/>
      </cdr:nvSpPr>
      <cdr:spPr>
        <a:xfrm xmlns:a="http://schemas.openxmlformats.org/drawingml/2006/main">
          <a:off x="100849" y="669244"/>
          <a:ext cx="4002616" cy="38290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0389</cdr:x>
      <cdr:y>0.01354</cdr:y>
    </cdr:from>
    <cdr:to>
      <cdr:x>0.834</cdr:x>
      <cdr:y>0.18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368" y="61256"/>
          <a:ext cx="3281341" cy="7642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AU" sz="1400" dirty="0"/>
        </a:p>
      </cdr:txBody>
    </cdr:sp>
  </cdr:relSizeAnchor>
  <cdr:relSizeAnchor xmlns:cdr="http://schemas.openxmlformats.org/drawingml/2006/chartDrawing">
    <cdr:from>
      <cdr:x>0.02531</cdr:x>
      <cdr:y>0.00951</cdr:y>
    </cdr:from>
    <cdr:to>
      <cdr:x>0.83899</cdr:x>
      <cdr:y>0.07444</cdr:y>
    </cdr:to>
    <cdr:sp macro="" textlink="">
      <cdr:nvSpPr>
        <cdr:cNvPr id="5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43025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b="1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2531</cdr:x>
      <cdr:y>0.06098</cdr:y>
    </cdr:from>
    <cdr:to>
      <cdr:x>0.83899</cdr:x>
      <cdr:y>0.1259</cdr:y>
    </cdr:to>
    <cdr:sp macro="" textlink="">
      <cdr:nvSpPr>
        <cdr:cNvPr id="6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275820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dirty="0"/>
            <a:t>Click to edit Master text styles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0389</cdr:x>
      <cdr:y>0.01354</cdr:y>
    </cdr:from>
    <cdr:to>
      <cdr:x>0.834</cdr:x>
      <cdr:y>0.18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368" y="61256"/>
          <a:ext cx="3281341" cy="7642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AU" sz="1400" dirty="0"/>
        </a:p>
      </cdr:txBody>
    </cdr:sp>
  </cdr:relSizeAnchor>
  <cdr:relSizeAnchor xmlns:cdr="http://schemas.openxmlformats.org/drawingml/2006/chartDrawing">
    <cdr:from>
      <cdr:x>0.02531</cdr:x>
      <cdr:y>0.00951</cdr:y>
    </cdr:from>
    <cdr:to>
      <cdr:x>0.83899</cdr:x>
      <cdr:y>0.07444</cdr:y>
    </cdr:to>
    <cdr:sp macro="" textlink="">
      <cdr:nvSpPr>
        <cdr:cNvPr id="5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43025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b="1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2531</cdr:x>
      <cdr:y>0.06098</cdr:y>
    </cdr:from>
    <cdr:to>
      <cdr:x>0.83899</cdr:x>
      <cdr:y>0.1259</cdr:y>
    </cdr:to>
    <cdr:sp macro="" textlink="">
      <cdr:nvSpPr>
        <cdr:cNvPr id="6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275820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1229</cdr:x>
      <cdr:y>0.13607</cdr:y>
    </cdr:from>
    <cdr:to>
      <cdr:x>0.98771</cdr:x>
      <cdr:y>0.97857</cdr:y>
    </cdr:to>
    <cdr:sp macro="" textlink="">
      <cdr:nvSpPr>
        <cdr:cNvPr id="11" name="Rectangle 10"/>
        <cdr:cNvSpPr/>
      </cdr:nvSpPr>
      <cdr:spPr>
        <a:xfrm xmlns:a="http://schemas.openxmlformats.org/drawingml/2006/main">
          <a:off x="50425" y="618444"/>
          <a:ext cx="4002616" cy="38290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  <cdr:relSizeAnchor xmlns:cdr="http://schemas.openxmlformats.org/drawingml/2006/chartDrawing">
    <cdr:from>
      <cdr:x>0.02458</cdr:x>
      <cdr:y>0.14725</cdr:y>
    </cdr:from>
    <cdr:to>
      <cdr:x>1</cdr:x>
      <cdr:y>0.98975</cdr:y>
    </cdr:to>
    <cdr:sp macro="" textlink="">
      <cdr:nvSpPr>
        <cdr:cNvPr id="15" name="Rectangle 14"/>
        <cdr:cNvSpPr/>
      </cdr:nvSpPr>
      <cdr:spPr>
        <a:xfrm xmlns:a="http://schemas.openxmlformats.org/drawingml/2006/main">
          <a:off x="100849" y="669244"/>
          <a:ext cx="4002616" cy="382905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solidFill>
            <a:schemeClr val="bg1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en-US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0389</cdr:x>
      <cdr:y>0.01354</cdr:y>
    </cdr:from>
    <cdr:to>
      <cdr:x>0.834</cdr:x>
      <cdr:y>0.18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368" y="61256"/>
          <a:ext cx="3281341" cy="7642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en-AU" sz="1400" dirty="0"/>
        </a:p>
      </cdr:txBody>
    </cdr:sp>
  </cdr:relSizeAnchor>
  <cdr:relSizeAnchor xmlns:cdr="http://schemas.openxmlformats.org/drawingml/2006/chartDrawing">
    <cdr:from>
      <cdr:x>0.02531</cdr:x>
      <cdr:y>0.00951</cdr:y>
    </cdr:from>
    <cdr:to>
      <cdr:x>0.83899</cdr:x>
      <cdr:y>0.07444</cdr:y>
    </cdr:to>
    <cdr:sp macro="" textlink="">
      <cdr:nvSpPr>
        <cdr:cNvPr id="5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43025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b="1" dirty="0"/>
            <a:t>Click to edit Master text styles</a:t>
          </a:r>
        </a:p>
      </cdr:txBody>
    </cdr:sp>
  </cdr:relSizeAnchor>
  <cdr:relSizeAnchor xmlns:cdr="http://schemas.openxmlformats.org/drawingml/2006/chartDrawing">
    <cdr:from>
      <cdr:x>0.02531</cdr:x>
      <cdr:y>0.06098</cdr:y>
    </cdr:from>
    <cdr:to>
      <cdr:x>0.83899</cdr:x>
      <cdr:y>0.1259</cdr:y>
    </cdr:to>
    <cdr:sp macro="" textlink="">
      <cdr:nvSpPr>
        <cdr:cNvPr id="6" name="Text Placeholder 2"/>
        <cdr:cNvSpPr>
          <a:spLocks xmlns:a="http://schemas.openxmlformats.org/drawingml/2006/main" noGrp="1"/>
        </cdr:cNvSpPr>
      </cdr:nvSpPr>
      <cdr:spPr>
        <a:xfrm xmlns:a="http://schemas.openxmlformats.org/drawingml/2006/main">
          <a:off x="101292" y="275820"/>
          <a:ext cx="3256869" cy="2936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/>
        <a:lstStyle xmlns:a="http://schemas.openxmlformats.org/drawingml/2006/main">
          <a:lvl1pPr marL="228600" indent="-228600" algn="l" defTabSz="914400" rtl="0" eaLnBrk="1" latinLnBrk="0" hangingPunct="1">
            <a:lnSpc>
              <a:spcPct val="90000"/>
            </a:lnSpc>
            <a:spcBef>
              <a:spcPts val="1000"/>
            </a:spcBef>
            <a:buFont typeface="Arial" panose="020B0604020202020204" pitchFamily="34" charset="0"/>
            <a:buChar char="•"/>
            <a:defRPr sz="2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685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4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1143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20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600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20574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5146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9718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4290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886200" indent="-228600" algn="l" defTabSz="914400" rtl="0" eaLnBrk="1" latinLnBrk="0" hangingPunct="1">
            <a:lnSpc>
              <a:spcPct val="90000"/>
            </a:lnSpc>
            <a:spcBef>
              <a:spcPts val="500"/>
            </a:spcBef>
            <a:buFont typeface="Arial" panose="020B0604020202020204" pitchFamily="34" charset="0"/>
            <a:buChar char="•"/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0" lvl="0" indent="0">
            <a:buNone/>
          </a:pPr>
          <a:r>
            <a:rPr lang="en-US" sz="1600" dirty="0"/>
            <a:t>Click to edit Master text styles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4F68F38-B2B5-344E-8F55-ED1472B9E689}" type="datetime1">
              <a:rPr lang="en-US"/>
              <a:pPr>
                <a:defRPr/>
              </a:pPr>
              <a:t>3/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2273FAE-ADC1-0342-A43A-E156212B33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112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0A621791-B9AF-7E4E-A821-9ABA9174AB7C}" type="datetime1">
              <a:rPr lang="en-US"/>
              <a:pPr>
                <a:defRPr/>
              </a:pPr>
              <a:t>3/5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744538"/>
            <a:ext cx="53768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3EED532E-92D6-9641-9C5B-0C0C8D0751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2055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apple.com/uk/pr/library/2013/02/06iTunes-Store-Sets-New-Record-with-25-Billion-Songs-Sold.html" TargetMode="External"/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>
                <a:solidFill>
                  <a:prstClr val="black"/>
                </a:solidFill>
              </a:rPr>
              <a:pPr eaLnBrk="1" hangingPunct="1"/>
              <a:t>7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15938" y="584200"/>
            <a:ext cx="5929312" cy="4105275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3190" y="5012194"/>
            <a:ext cx="5926588" cy="247052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0429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7D3DA-1AD1-4B48-93BC-3B1640517801}" type="slidenum">
              <a:rPr lang="en-GB">
                <a:solidFill>
                  <a:prstClr val="black"/>
                </a:solidFill>
              </a:rPr>
              <a:pPr/>
              <a:t>10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47128" y="110257"/>
            <a:ext cx="1106072" cy="123111"/>
          </a:xfrm>
          <a:ln/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IN-ZWD713-20100914</a:t>
            </a:r>
          </a:p>
        </p:txBody>
      </p:sp>
      <p:sp>
        <p:nvSpPr>
          <p:cNvPr id="839682" name="Rectangle 7"/>
          <p:cNvSpPr txBox="1">
            <a:spLocks noGrp="1" noChangeArrowheads="1"/>
          </p:cNvSpPr>
          <p:nvPr/>
        </p:nvSpPr>
        <p:spPr bwMode="auto">
          <a:xfrm>
            <a:off x="6019248" y="9504771"/>
            <a:ext cx="535464" cy="20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73B3A1ED-452D-41EA-886F-BBBBA78FAA27}" type="slidenum">
              <a:rPr lang="en-GB" sz="1300">
                <a:solidFill>
                  <a:prstClr val="black"/>
                </a:solidFill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10</a:t>
            </a:fld>
            <a:endParaRPr lang="en-GB" sz="13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839683" name="Rectangle 7"/>
          <p:cNvSpPr txBox="1">
            <a:spLocks noGrp="1" noChangeArrowheads="1"/>
          </p:cNvSpPr>
          <p:nvPr/>
        </p:nvSpPr>
        <p:spPr bwMode="auto">
          <a:xfrm>
            <a:off x="6019248" y="9504771"/>
            <a:ext cx="535464" cy="20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fld id="{00CCEE5A-988E-40EB-96AC-F3527D50E493}" type="slidenum">
              <a:rPr lang="en-GB" sz="1300">
                <a:solidFill>
                  <a:prstClr val="black"/>
                </a:solidFill>
                <a:ea typeface="+mn-ea"/>
                <a:cs typeface="+mn-cs"/>
              </a:rPr>
              <a:pPr algn="r" fontAlgn="auto">
                <a:spcBef>
                  <a:spcPts val="0"/>
                </a:spcBef>
                <a:spcAft>
                  <a:spcPts val="0"/>
                </a:spcAft>
              </a:pPr>
              <a:t>10</a:t>
            </a:fld>
            <a:endParaRPr lang="en-GB" sz="1300">
              <a:solidFill>
                <a:prstClr val="black"/>
              </a:solidFill>
              <a:ea typeface="+mn-ea"/>
              <a:cs typeface="+mn-cs"/>
            </a:endParaRPr>
          </a:p>
        </p:txBody>
      </p:sp>
      <p:sp>
        <p:nvSpPr>
          <p:cNvPr id="839684" name="doc id"/>
          <p:cNvSpPr txBox="1">
            <a:spLocks noGrp="1" noChangeArrowheads="1"/>
          </p:cNvSpPr>
          <p:nvPr/>
        </p:nvSpPr>
        <p:spPr bwMode="auto">
          <a:xfrm>
            <a:off x="5448641" y="108150"/>
            <a:ext cx="110607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auto">
              <a:spcBef>
                <a:spcPts val="0"/>
              </a:spcBef>
              <a:spcAft>
                <a:spcPts val="0"/>
              </a:spcAft>
            </a:pPr>
            <a:r>
              <a:rPr lang="en-GB" sz="800">
                <a:solidFill>
                  <a:prstClr val="black"/>
                </a:solidFill>
                <a:ea typeface="+mn-ea"/>
                <a:cs typeface="+mn-cs"/>
              </a:rPr>
              <a:t>SIN-ZWR384-20100525</a:t>
            </a:r>
          </a:p>
        </p:txBody>
      </p:sp>
      <p:sp>
        <p:nvSpPr>
          <p:cNvPr id="8396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1775" y="620713"/>
            <a:ext cx="6296025" cy="4360862"/>
          </a:xfrm>
          <a:ln/>
        </p:spPr>
      </p:sp>
      <p:sp>
        <p:nvSpPr>
          <p:cNvPr id="8396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490" y="5322064"/>
            <a:ext cx="5748366" cy="254038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880207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6747" y="4672731"/>
            <a:ext cx="5975217" cy="4154984"/>
          </a:xfrm>
        </p:spPr>
        <p:txBody>
          <a:bodyPr>
            <a:normAutofit fontScale="92500" lnSpcReduction="10000"/>
          </a:bodyPr>
          <a:lstStyle/>
          <a:p>
            <a:r>
              <a:rPr lang="en-US" sz="900" b="1"/>
              <a:t>Napster – New Trends</a:t>
            </a:r>
            <a:endParaRPr lang="en-US" sz="900"/>
          </a:p>
          <a:p>
            <a:pPr lvl="1"/>
            <a:r>
              <a:rPr lang="en-US" sz="900"/>
              <a:t>Online digital distribution of music can dated back to the use of dial-up bulletin boards, FTP and other now archaic protocols</a:t>
            </a:r>
          </a:p>
          <a:p>
            <a:pPr lvl="1"/>
            <a:r>
              <a:rPr lang="en-US" sz="900"/>
              <a:t>These services were niche, technical and distributed. It was hard for anyone to know how popular the digital distribution of music was or might become</a:t>
            </a:r>
          </a:p>
          <a:p>
            <a:pPr lvl="1"/>
            <a:r>
              <a:rPr lang="en-US" sz="900"/>
              <a:t>Napster launched in 1999 and scaled to 80m registered users by 2001</a:t>
            </a:r>
          </a:p>
          <a:p>
            <a:pPr lvl="1"/>
            <a:r>
              <a:rPr lang="en-US" sz="900"/>
              <a:t>Napster used a P2P transfer protocol to distribute sharing but the central user account database logged registrations and proved significant interest in digital music distribution existed</a:t>
            </a:r>
          </a:p>
          <a:p>
            <a:endParaRPr lang="en-US" sz="900" b="1"/>
          </a:p>
          <a:p>
            <a:r>
              <a:rPr lang="en-US" sz="900" b="1"/>
              <a:t>Innovative start-ups</a:t>
            </a:r>
            <a:endParaRPr lang="en-US" sz="900"/>
          </a:p>
          <a:p>
            <a:pPr lvl="1"/>
            <a:r>
              <a:rPr lang="en-US" sz="900"/>
              <a:t>In 2003 Apple launched the iTunes store – a relatively new entrant to the music industry. Apple has now sold over 25 billion songs through its store (averages 15,000 per minute)</a:t>
            </a:r>
          </a:p>
          <a:p>
            <a:pPr lvl="1"/>
            <a:r>
              <a:rPr lang="en-US" sz="900" u="sng">
                <a:hlinkClick r:id="rId3"/>
              </a:rPr>
              <a:t>http://www.apple.com/uk/pr/library/2013/02/06iTunes-Store-Sets-New-Record-with-25-Billion-Songs-Sold.html</a:t>
            </a:r>
            <a:endParaRPr lang="en-US" sz="900"/>
          </a:p>
          <a:p>
            <a:pPr lvl="1"/>
            <a:r>
              <a:rPr lang="en-US" sz="900"/>
              <a:t>Apple proved the “pay, own, download” online model</a:t>
            </a:r>
          </a:p>
          <a:p>
            <a:pPr lvl="1"/>
            <a:r>
              <a:rPr lang="en-US" sz="900"/>
              <a:t>In 2006 Spotify launched a music subscription model, c.24 million free members, 6 million paying members</a:t>
            </a:r>
          </a:p>
          <a:p>
            <a:pPr lvl="1"/>
            <a:r>
              <a:rPr lang="en-US" sz="900"/>
              <a:t>Spotify enables access to music on any device – either streamed live or downloaded to a device</a:t>
            </a:r>
          </a:p>
          <a:p>
            <a:endParaRPr lang="en-US" sz="900" b="1"/>
          </a:p>
          <a:p>
            <a:r>
              <a:rPr lang="en-US" sz="900" b="1"/>
              <a:t>Advanced Incumbents - Sony</a:t>
            </a:r>
            <a:endParaRPr lang="en-US" sz="900"/>
          </a:p>
          <a:p>
            <a:pPr lvl="1"/>
            <a:r>
              <a:rPr lang="en-US" sz="900"/>
              <a:t>Was quick to market with download service post-Napster (held music rights which reduced barriers to entry)</a:t>
            </a:r>
          </a:p>
          <a:p>
            <a:pPr lvl="1"/>
            <a:r>
              <a:rPr lang="en-US" sz="900"/>
              <a:t>Didn’t get proposition right (too expensive, customer not given music ownership)</a:t>
            </a:r>
          </a:p>
          <a:p>
            <a:pPr lvl="1"/>
            <a:r>
              <a:rPr lang="en-US" sz="900"/>
              <a:t>Now offers Music Unlimited, a subscription streaming model</a:t>
            </a:r>
          </a:p>
          <a:p>
            <a:endParaRPr lang="en-US" sz="900"/>
          </a:p>
          <a:p>
            <a:r>
              <a:rPr lang="en-US" sz="900" b="1"/>
              <a:t>Amazon</a:t>
            </a:r>
            <a:endParaRPr lang="en-US" sz="900"/>
          </a:p>
          <a:p>
            <a:pPr lvl="1"/>
            <a:r>
              <a:rPr lang="en-US" sz="900"/>
              <a:t>Previously a sold physical CDs. Transitioned from historic incumbent to digital retailer by launching Amazon MP3 service</a:t>
            </a:r>
          </a:p>
          <a:p>
            <a:pPr lvl="1"/>
            <a:endParaRPr lang="en-US" sz="900"/>
          </a:p>
          <a:p>
            <a:r>
              <a:rPr lang="en-US" sz="900" b="1"/>
              <a:t>Traditional retailers</a:t>
            </a:r>
            <a:endParaRPr lang="en-US" sz="900"/>
          </a:p>
          <a:p>
            <a:pPr lvl="1"/>
            <a:r>
              <a:rPr lang="en-US" sz="900"/>
              <a:t>HMV and Tower Records both failed to adapt to the new digital world. </a:t>
            </a:r>
          </a:p>
          <a:p>
            <a:pPr lvl="1"/>
            <a:r>
              <a:rPr lang="en-US" sz="900"/>
              <a:t>Tower Records launched a digital download service in 2006, the same year it was declared bankrupt </a:t>
            </a:r>
          </a:p>
          <a:p>
            <a:pPr lvl="1"/>
            <a:r>
              <a:rPr lang="en-US" sz="900"/>
              <a:t>HMV also launched a digital download service but it did not adapt quick enough – entered administration in 2013 </a:t>
            </a:r>
            <a:endParaRPr lang="en-US" sz="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6255661" y="8929393"/>
            <a:ext cx="556641" cy="184666"/>
          </a:xfrm>
        </p:spPr>
        <p:txBody>
          <a:bodyPr/>
          <a:lstStyle/>
          <a:p>
            <a:fld id="{6425B81F-20F8-4876-A954-954C86DD52D5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549210" y="95894"/>
            <a:ext cx="1263166" cy="123111"/>
          </a:xfrm>
        </p:spPr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xVA-ZWU436-2012mmdd-x</a:t>
            </a:r>
          </a:p>
        </p:txBody>
      </p:sp>
    </p:spTree>
    <p:extLst>
      <p:ext uri="{BB962C8B-B14F-4D97-AF65-F5344CB8AC3E}">
        <p14:creationId xmlns:p14="http://schemas.microsoft.com/office/powerpoint/2010/main" val="42534749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987" y="5003856"/>
            <a:ext cx="5987551" cy="73866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8425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467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987" y="5003856"/>
            <a:ext cx="5987551" cy="1969770"/>
          </a:xfrm>
        </p:spPr>
        <p:txBody>
          <a:bodyPr>
            <a:normAutofit lnSpcReduction="10000"/>
          </a:bodyPr>
          <a:lstStyle/>
          <a:p>
            <a:pPr marL="0" marR="0" indent="0" algn="l" defTabSz="8953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Tx/>
              <a:buFontTx/>
              <a:buNone/>
              <a:tabLst/>
              <a:defRPr/>
            </a:pPr>
            <a:r>
              <a:rPr lang="en-AU" sz="1600" b="0" i="0" u="none" strike="noStrike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uch of Southeast Asia, with the notable exception of Singapore, is starting from a relatively low base in terms of digital infrastructure, adoption and innovation. But the region is increasingly tech savvy—in fact, ASEAN has the second-largest community of Facebook users and the third-largest number of mobile phone users globally. Given this and other regionally-specific characteristics, there are certain disruptive technology that </a:t>
            </a:r>
            <a:r>
              <a:rPr lang="en-AU" sz="1600" b="0" i="0" u="none" strike="noStrike" kern="1200" baseline="0" dirty="0" err="1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MGI</a:t>
            </a:r>
            <a:r>
              <a:rPr lang="en-AU" sz="1600" b="0" i="0" u="none" strike="noStrike" kern="1200" baseline="0" dirty="0">
                <a:solidFill>
                  <a:schemeClr val="tx1"/>
                </a:solidFill>
                <a:latin typeface="Arial" charset="0"/>
                <a:ea typeface="+mn-ea"/>
                <a:cs typeface="+mn-cs"/>
              </a:rPr>
              <a:t> have identified as being of particular relevance.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92223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2C25B21-2B5F-4B6F-A967-C38C6C6860D0}" type="slidenum">
              <a:rPr lang="en-US">
                <a:solidFill>
                  <a:prstClr val="black"/>
                </a:solidFill>
              </a:rPr>
              <a:pPr/>
              <a:t>16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10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0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2887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46680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6" Type="http://schemas.openxmlformats.org/officeDocument/2006/relationships/tags" Target="../tags/tag44.xml"/><Relationship Id="rId117" Type="http://schemas.openxmlformats.org/officeDocument/2006/relationships/tags" Target="../tags/tag135.xml"/><Relationship Id="rId21" Type="http://schemas.openxmlformats.org/officeDocument/2006/relationships/tags" Target="../tags/tag39.xml"/><Relationship Id="rId42" Type="http://schemas.openxmlformats.org/officeDocument/2006/relationships/tags" Target="../tags/tag60.xml"/><Relationship Id="rId47" Type="http://schemas.openxmlformats.org/officeDocument/2006/relationships/tags" Target="../tags/tag65.xml"/><Relationship Id="rId63" Type="http://schemas.openxmlformats.org/officeDocument/2006/relationships/tags" Target="../tags/tag81.xml"/><Relationship Id="rId68" Type="http://schemas.openxmlformats.org/officeDocument/2006/relationships/tags" Target="../tags/tag86.xml"/><Relationship Id="rId84" Type="http://schemas.openxmlformats.org/officeDocument/2006/relationships/tags" Target="../tags/tag102.xml"/><Relationship Id="rId89" Type="http://schemas.openxmlformats.org/officeDocument/2006/relationships/tags" Target="../tags/tag107.xml"/><Relationship Id="rId112" Type="http://schemas.openxmlformats.org/officeDocument/2006/relationships/tags" Target="../tags/tag130.xml"/><Relationship Id="rId133" Type="http://schemas.openxmlformats.org/officeDocument/2006/relationships/tags" Target="../tags/tag151.xml"/><Relationship Id="rId138" Type="http://schemas.openxmlformats.org/officeDocument/2006/relationships/tags" Target="../tags/tag156.xml"/><Relationship Id="rId154" Type="http://schemas.openxmlformats.org/officeDocument/2006/relationships/tags" Target="../tags/tag172.xml"/><Relationship Id="rId159" Type="http://schemas.openxmlformats.org/officeDocument/2006/relationships/tags" Target="../tags/tag177.xml"/><Relationship Id="rId175" Type="http://schemas.openxmlformats.org/officeDocument/2006/relationships/tags" Target="../tags/tag193.xml"/><Relationship Id="rId170" Type="http://schemas.openxmlformats.org/officeDocument/2006/relationships/tags" Target="../tags/tag188.xml"/><Relationship Id="rId16" Type="http://schemas.openxmlformats.org/officeDocument/2006/relationships/tags" Target="../tags/tag34.xml"/><Relationship Id="rId107" Type="http://schemas.openxmlformats.org/officeDocument/2006/relationships/tags" Target="../tags/tag125.xml"/><Relationship Id="rId11" Type="http://schemas.openxmlformats.org/officeDocument/2006/relationships/tags" Target="../tags/tag29.xml"/><Relationship Id="rId32" Type="http://schemas.openxmlformats.org/officeDocument/2006/relationships/tags" Target="../tags/tag50.xml"/><Relationship Id="rId37" Type="http://schemas.openxmlformats.org/officeDocument/2006/relationships/tags" Target="../tags/tag55.xml"/><Relationship Id="rId53" Type="http://schemas.openxmlformats.org/officeDocument/2006/relationships/tags" Target="../tags/tag71.xml"/><Relationship Id="rId58" Type="http://schemas.openxmlformats.org/officeDocument/2006/relationships/tags" Target="../tags/tag76.xml"/><Relationship Id="rId74" Type="http://schemas.openxmlformats.org/officeDocument/2006/relationships/tags" Target="../tags/tag92.xml"/><Relationship Id="rId79" Type="http://schemas.openxmlformats.org/officeDocument/2006/relationships/tags" Target="../tags/tag97.xml"/><Relationship Id="rId102" Type="http://schemas.openxmlformats.org/officeDocument/2006/relationships/tags" Target="../tags/tag120.xml"/><Relationship Id="rId123" Type="http://schemas.openxmlformats.org/officeDocument/2006/relationships/tags" Target="../tags/tag141.xml"/><Relationship Id="rId128" Type="http://schemas.openxmlformats.org/officeDocument/2006/relationships/tags" Target="../tags/tag146.xml"/><Relationship Id="rId144" Type="http://schemas.openxmlformats.org/officeDocument/2006/relationships/tags" Target="../tags/tag162.xml"/><Relationship Id="rId149" Type="http://schemas.openxmlformats.org/officeDocument/2006/relationships/tags" Target="../tags/tag167.xml"/><Relationship Id="rId5" Type="http://schemas.openxmlformats.org/officeDocument/2006/relationships/tags" Target="../tags/tag23.xml"/><Relationship Id="rId90" Type="http://schemas.openxmlformats.org/officeDocument/2006/relationships/tags" Target="../tags/tag108.xml"/><Relationship Id="rId95" Type="http://schemas.openxmlformats.org/officeDocument/2006/relationships/tags" Target="../tags/tag113.xml"/><Relationship Id="rId160" Type="http://schemas.openxmlformats.org/officeDocument/2006/relationships/tags" Target="../tags/tag178.xml"/><Relationship Id="rId165" Type="http://schemas.openxmlformats.org/officeDocument/2006/relationships/tags" Target="../tags/tag183.xml"/><Relationship Id="rId22" Type="http://schemas.openxmlformats.org/officeDocument/2006/relationships/tags" Target="../tags/tag40.xml"/><Relationship Id="rId27" Type="http://schemas.openxmlformats.org/officeDocument/2006/relationships/tags" Target="../tags/tag45.xml"/><Relationship Id="rId43" Type="http://schemas.openxmlformats.org/officeDocument/2006/relationships/tags" Target="../tags/tag61.xml"/><Relationship Id="rId48" Type="http://schemas.openxmlformats.org/officeDocument/2006/relationships/tags" Target="../tags/tag66.xml"/><Relationship Id="rId64" Type="http://schemas.openxmlformats.org/officeDocument/2006/relationships/tags" Target="../tags/tag82.xml"/><Relationship Id="rId69" Type="http://schemas.openxmlformats.org/officeDocument/2006/relationships/tags" Target="../tags/tag87.xml"/><Relationship Id="rId113" Type="http://schemas.openxmlformats.org/officeDocument/2006/relationships/tags" Target="../tags/tag131.xml"/><Relationship Id="rId118" Type="http://schemas.openxmlformats.org/officeDocument/2006/relationships/tags" Target="../tags/tag136.xml"/><Relationship Id="rId134" Type="http://schemas.openxmlformats.org/officeDocument/2006/relationships/tags" Target="../tags/tag152.xml"/><Relationship Id="rId139" Type="http://schemas.openxmlformats.org/officeDocument/2006/relationships/tags" Target="../tags/tag157.xml"/><Relationship Id="rId80" Type="http://schemas.openxmlformats.org/officeDocument/2006/relationships/tags" Target="../tags/tag98.xml"/><Relationship Id="rId85" Type="http://schemas.openxmlformats.org/officeDocument/2006/relationships/tags" Target="../tags/tag103.xml"/><Relationship Id="rId150" Type="http://schemas.openxmlformats.org/officeDocument/2006/relationships/tags" Target="../tags/tag168.xml"/><Relationship Id="rId155" Type="http://schemas.openxmlformats.org/officeDocument/2006/relationships/tags" Target="../tags/tag173.xml"/><Relationship Id="rId171" Type="http://schemas.openxmlformats.org/officeDocument/2006/relationships/tags" Target="../tags/tag189.xml"/><Relationship Id="rId176" Type="http://schemas.openxmlformats.org/officeDocument/2006/relationships/tags" Target="../tags/tag194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33" Type="http://schemas.openxmlformats.org/officeDocument/2006/relationships/tags" Target="../tags/tag51.xml"/><Relationship Id="rId38" Type="http://schemas.openxmlformats.org/officeDocument/2006/relationships/tags" Target="../tags/tag56.xml"/><Relationship Id="rId59" Type="http://schemas.openxmlformats.org/officeDocument/2006/relationships/tags" Target="../tags/tag77.xml"/><Relationship Id="rId103" Type="http://schemas.openxmlformats.org/officeDocument/2006/relationships/tags" Target="../tags/tag121.xml"/><Relationship Id="rId108" Type="http://schemas.openxmlformats.org/officeDocument/2006/relationships/tags" Target="../tags/tag126.xml"/><Relationship Id="rId124" Type="http://schemas.openxmlformats.org/officeDocument/2006/relationships/tags" Target="../tags/tag142.xml"/><Relationship Id="rId129" Type="http://schemas.openxmlformats.org/officeDocument/2006/relationships/tags" Target="../tags/tag147.xml"/><Relationship Id="rId54" Type="http://schemas.openxmlformats.org/officeDocument/2006/relationships/tags" Target="../tags/tag72.xml"/><Relationship Id="rId70" Type="http://schemas.openxmlformats.org/officeDocument/2006/relationships/tags" Target="../tags/tag88.xml"/><Relationship Id="rId75" Type="http://schemas.openxmlformats.org/officeDocument/2006/relationships/tags" Target="../tags/tag93.xml"/><Relationship Id="rId91" Type="http://schemas.openxmlformats.org/officeDocument/2006/relationships/tags" Target="../tags/tag109.xml"/><Relationship Id="rId96" Type="http://schemas.openxmlformats.org/officeDocument/2006/relationships/tags" Target="../tags/tag114.xml"/><Relationship Id="rId140" Type="http://schemas.openxmlformats.org/officeDocument/2006/relationships/tags" Target="../tags/tag158.xml"/><Relationship Id="rId145" Type="http://schemas.openxmlformats.org/officeDocument/2006/relationships/tags" Target="../tags/tag163.xml"/><Relationship Id="rId161" Type="http://schemas.openxmlformats.org/officeDocument/2006/relationships/tags" Target="../tags/tag179.xml"/><Relationship Id="rId166" Type="http://schemas.openxmlformats.org/officeDocument/2006/relationships/tags" Target="../tags/tag184.xml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23" Type="http://schemas.openxmlformats.org/officeDocument/2006/relationships/tags" Target="../tags/tag41.xml"/><Relationship Id="rId28" Type="http://schemas.openxmlformats.org/officeDocument/2006/relationships/tags" Target="../tags/tag46.xml"/><Relationship Id="rId49" Type="http://schemas.openxmlformats.org/officeDocument/2006/relationships/tags" Target="../tags/tag67.xml"/><Relationship Id="rId114" Type="http://schemas.openxmlformats.org/officeDocument/2006/relationships/tags" Target="../tags/tag132.xml"/><Relationship Id="rId119" Type="http://schemas.openxmlformats.org/officeDocument/2006/relationships/tags" Target="../tags/tag137.xml"/><Relationship Id="rId10" Type="http://schemas.openxmlformats.org/officeDocument/2006/relationships/tags" Target="../tags/tag28.xml"/><Relationship Id="rId31" Type="http://schemas.openxmlformats.org/officeDocument/2006/relationships/tags" Target="../tags/tag49.xml"/><Relationship Id="rId44" Type="http://schemas.openxmlformats.org/officeDocument/2006/relationships/tags" Target="../tags/tag62.xml"/><Relationship Id="rId52" Type="http://schemas.openxmlformats.org/officeDocument/2006/relationships/tags" Target="../tags/tag70.xml"/><Relationship Id="rId60" Type="http://schemas.openxmlformats.org/officeDocument/2006/relationships/tags" Target="../tags/tag78.xml"/><Relationship Id="rId65" Type="http://schemas.openxmlformats.org/officeDocument/2006/relationships/tags" Target="../tags/tag83.xml"/><Relationship Id="rId73" Type="http://schemas.openxmlformats.org/officeDocument/2006/relationships/tags" Target="../tags/tag91.xml"/><Relationship Id="rId78" Type="http://schemas.openxmlformats.org/officeDocument/2006/relationships/tags" Target="../tags/tag96.xml"/><Relationship Id="rId81" Type="http://schemas.openxmlformats.org/officeDocument/2006/relationships/tags" Target="../tags/tag99.xml"/><Relationship Id="rId86" Type="http://schemas.openxmlformats.org/officeDocument/2006/relationships/tags" Target="../tags/tag104.xml"/><Relationship Id="rId94" Type="http://schemas.openxmlformats.org/officeDocument/2006/relationships/tags" Target="../tags/tag112.xml"/><Relationship Id="rId99" Type="http://schemas.openxmlformats.org/officeDocument/2006/relationships/tags" Target="../tags/tag117.xml"/><Relationship Id="rId101" Type="http://schemas.openxmlformats.org/officeDocument/2006/relationships/tags" Target="../tags/tag119.xml"/><Relationship Id="rId122" Type="http://schemas.openxmlformats.org/officeDocument/2006/relationships/tags" Target="../tags/tag140.xml"/><Relationship Id="rId130" Type="http://schemas.openxmlformats.org/officeDocument/2006/relationships/tags" Target="../tags/tag148.xml"/><Relationship Id="rId135" Type="http://schemas.openxmlformats.org/officeDocument/2006/relationships/tags" Target="../tags/tag153.xml"/><Relationship Id="rId143" Type="http://schemas.openxmlformats.org/officeDocument/2006/relationships/tags" Target="../tags/tag161.xml"/><Relationship Id="rId148" Type="http://schemas.openxmlformats.org/officeDocument/2006/relationships/tags" Target="../tags/tag166.xml"/><Relationship Id="rId151" Type="http://schemas.openxmlformats.org/officeDocument/2006/relationships/tags" Target="../tags/tag169.xml"/><Relationship Id="rId156" Type="http://schemas.openxmlformats.org/officeDocument/2006/relationships/tags" Target="../tags/tag174.xml"/><Relationship Id="rId164" Type="http://schemas.openxmlformats.org/officeDocument/2006/relationships/tags" Target="../tags/tag182.xml"/><Relationship Id="rId169" Type="http://schemas.openxmlformats.org/officeDocument/2006/relationships/tags" Target="../tags/tag187.xml"/><Relationship Id="rId177" Type="http://schemas.openxmlformats.org/officeDocument/2006/relationships/tags" Target="../tags/tag195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72" Type="http://schemas.openxmlformats.org/officeDocument/2006/relationships/tags" Target="../tags/tag190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9" Type="http://schemas.openxmlformats.org/officeDocument/2006/relationships/tags" Target="../tags/tag57.xml"/><Relationship Id="rId109" Type="http://schemas.openxmlformats.org/officeDocument/2006/relationships/tags" Target="../tags/tag127.xml"/><Relationship Id="rId34" Type="http://schemas.openxmlformats.org/officeDocument/2006/relationships/tags" Target="../tags/tag52.xml"/><Relationship Id="rId50" Type="http://schemas.openxmlformats.org/officeDocument/2006/relationships/tags" Target="../tags/tag68.xml"/><Relationship Id="rId55" Type="http://schemas.openxmlformats.org/officeDocument/2006/relationships/tags" Target="../tags/tag73.xml"/><Relationship Id="rId76" Type="http://schemas.openxmlformats.org/officeDocument/2006/relationships/tags" Target="../tags/tag94.xml"/><Relationship Id="rId97" Type="http://schemas.openxmlformats.org/officeDocument/2006/relationships/tags" Target="../tags/tag115.xml"/><Relationship Id="rId104" Type="http://schemas.openxmlformats.org/officeDocument/2006/relationships/tags" Target="../tags/tag122.xml"/><Relationship Id="rId120" Type="http://schemas.openxmlformats.org/officeDocument/2006/relationships/tags" Target="../tags/tag138.xml"/><Relationship Id="rId125" Type="http://schemas.openxmlformats.org/officeDocument/2006/relationships/tags" Target="../tags/tag143.xml"/><Relationship Id="rId141" Type="http://schemas.openxmlformats.org/officeDocument/2006/relationships/tags" Target="../tags/tag159.xml"/><Relationship Id="rId146" Type="http://schemas.openxmlformats.org/officeDocument/2006/relationships/tags" Target="../tags/tag164.xml"/><Relationship Id="rId167" Type="http://schemas.openxmlformats.org/officeDocument/2006/relationships/tags" Target="../tags/tag185.xml"/><Relationship Id="rId7" Type="http://schemas.openxmlformats.org/officeDocument/2006/relationships/tags" Target="../tags/tag25.xml"/><Relationship Id="rId71" Type="http://schemas.openxmlformats.org/officeDocument/2006/relationships/tags" Target="../tags/tag89.xml"/><Relationship Id="rId92" Type="http://schemas.openxmlformats.org/officeDocument/2006/relationships/tags" Target="../tags/tag110.xml"/><Relationship Id="rId162" Type="http://schemas.openxmlformats.org/officeDocument/2006/relationships/tags" Target="../tags/tag180.xml"/><Relationship Id="rId2" Type="http://schemas.openxmlformats.org/officeDocument/2006/relationships/tags" Target="../tags/tag20.xml"/><Relationship Id="rId29" Type="http://schemas.openxmlformats.org/officeDocument/2006/relationships/tags" Target="../tags/tag47.xml"/><Relationship Id="rId24" Type="http://schemas.openxmlformats.org/officeDocument/2006/relationships/tags" Target="../tags/tag42.xml"/><Relationship Id="rId40" Type="http://schemas.openxmlformats.org/officeDocument/2006/relationships/tags" Target="../tags/tag58.xml"/><Relationship Id="rId45" Type="http://schemas.openxmlformats.org/officeDocument/2006/relationships/tags" Target="../tags/tag63.xml"/><Relationship Id="rId66" Type="http://schemas.openxmlformats.org/officeDocument/2006/relationships/tags" Target="../tags/tag84.xml"/><Relationship Id="rId87" Type="http://schemas.openxmlformats.org/officeDocument/2006/relationships/tags" Target="../tags/tag105.xml"/><Relationship Id="rId110" Type="http://schemas.openxmlformats.org/officeDocument/2006/relationships/tags" Target="../tags/tag128.xml"/><Relationship Id="rId115" Type="http://schemas.openxmlformats.org/officeDocument/2006/relationships/tags" Target="../tags/tag133.xml"/><Relationship Id="rId131" Type="http://schemas.openxmlformats.org/officeDocument/2006/relationships/tags" Target="../tags/tag149.xml"/><Relationship Id="rId136" Type="http://schemas.openxmlformats.org/officeDocument/2006/relationships/tags" Target="../tags/tag154.xml"/><Relationship Id="rId157" Type="http://schemas.openxmlformats.org/officeDocument/2006/relationships/tags" Target="../tags/tag175.xml"/><Relationship Id="rId178" Type="http://schemas.openxmlformats.org/officeDocument/2006/relationships/slideMaster" Target="../slideMasters/slideMaster3.xml"/><Relationship Id="rId61" Type="http://schemas.openxmlformats.org/officeDocument/2006/relationships/tags" Target="../tags/tag79.xml"/><Relationship Id="rId82" Type="http://schemas.openxmlformats.org/officeDocument/2006/relationships/tags" Target="../tags/tag100.xml"/><Relationship Id="rId152" Type="http://schemas.openxmlformats.org/officeDocument/2006/relationships/tags" Target="../tags/tag170.xml"/><Relationship Id="rId173" Type="http://schemas.openxmlformats.org/officeDocument/2006/relationships/tags" Target="../tags/tag191.xml"/><Relationship Id="rId19" Type="http://schemas.openxmlformats.org/officeDocument/2006/relationships/tags" Target="../tags/tag37.xml"/><Relationship Id="rId14" Type="http://schemas.openxmlformats.org/officeDocument/2006/relationships/tags" Target="../tags/tag32.xml"/><Relationship Id="rId30" Type="http://schemas.openxmlformats.org/officeDocument/2006/relationships/tags" Target="../tags/tag48.xml"/><Relationship Id="rId35" Type="http://schemas.openxmlformats.org/officeDocument/2006/relationships/tags" Target="../tags/tag53.xml"/><Relationship Id="rId56" Type="http://schemas.openxmlformats.org/officeDocument/2006/relationships/tags" Target="../tags/tag74.xml"/><Relationship Id="rId77" Type="http://schemas.openxmlformats.org/officeDocument/2006/relationships/tags" Target="../tags/tag95.xml"/><Relationship Id="rId100" Type="http://schemas.openxmlformats.org/officeDocument/2006/relationships/tags" Target="../tags/tag118.xml"/><Relationship Id="rId105" Type="http://schemas.openxmlformats.org/officeDocument/2006/relationships/tags" Target="../tags/tag123.xml"/><Relationship Id="rId126" Type="http://schemas.openxmlformats.org/officeDocument/2006/relationships/tags" Target="../tags/tag144.xml"/><Relationship Id="rId147" Type="http://schemas.openxmlformats.org/officeDocument/2006/relationships/tags" Target="../tags/tag165.xml"/><Relationship Id="rId168" Type="http://schemas.openxmlformats.org/officeDocument/2006/relationships/tags" Target="../tags/tag186.xml"/><Relationship Id="rId8" Type="http://schemas.openxmlformats.org/officeDocument/2006/relationships/tags" Target="../tags/tag26.xml"/><Relationship Id="rId51" Type="http://schemas.openxmlformats.org/officeDocument/2006/relationships/tags" Target="../tags/tag69.xml"/><Relationship Id="rId72" Type="http://schemas.openxmlformats.org/officeDocument/2006/relationships/tags" Target="../tags/tag90.xml"/><Relationship Id="rId93" Type="http://schemas.openxmlformats.org/officeDocument/2006/relationships/tags" Target="../tags/tag111.xml"/><Relationship Id="rId98" Type="http://schemas.openxmlformats.org/officeDocument/2006/relationships/tags" Target="../tags/tag116.xml"/><Relationship Id="rId121" Type="http://schemas.openxmlformats.org/officeDocument/2006/relationships/tags" Target="../tags/tag139.xml"/><Relationship Id="rId142" Type="http://schemas.openxmlformats.org/officeDocument/2006/relationships/tags" Target="../tags/tag160.xml"/><Relationship Id="rId163" Type="http://schemas.openxmlformats.org/officeDocument/2006/relationships/tags" Target="../tags/tag181.xml"/><Relationship Id="rId3" Type="http://schemas.openxmlformats.org/officeDocument/2006/relationships/tags" Target="../tags/tag21.xml"/><Relationship Id="rId25" Type="http://schemas.openxmlformats.org/officeDocument/2006/relationships/tags" Target="../tags/tag43.xml"/><Relationship Id="rId46" Type="http://schemas.openxmlformats.org/officeDocument/2006/relationships/tags" Target="../tags/tag64.xml"/><Relationship Id="rId67" Type="http://schemas.openxmlformats.org/officeDocument/2006/relationships/tags" Target="../tags/tag85.xml"/><Relationship Id="rId116" Type="http://schemas.openxmlformats.org/officeDocument/2006/relationships/tags" Target="../tags/tag134.xml"/><Relationship Id="rId137" Type="http://schemas.openxmlformats.org/officeDocument/2006/relationships/tags" Target="../tags/tag155.xml"/><Relationship Id="rId158" Type="http://schemas.openxmlformats.org/officeDocument/2006/relationships/tags" Target="../tags/tag176.xml"/><Relationship Id="rId20" Type="http://schemas.openxmlformats.org/officeDocument/2006/relationships/tags" Target="../tags/tag38.xml"/><Relationship Id="rId41" Type="http://schemas.openxmlformats.org/officeDocument/2006/relationships/tags" Target="../tags/tag59.xml"/><Relationship Id="rId62" Type="http://schemas.openxmlformats.org/officeDocument/2006/relationships/tags" Target="../tags/tag80.xml"/><Relationship Id="rId83" Type="http://schemas.openxmlformats.org/officeDocument/2006/relationships/tags" Target="../tags/tag101.xml"/><Relationship Id="rId88" Type="http://schemas.openxmlformats.org/officeDocument/2006/relationships/tags" Target="../tags/tag106.xml"/><Relationship Id="rId111" Type="http://schemas.openxmlformats.org/officeDocument/2006/relationships/tags" Target="../tags/tag129.xml"/><Relationship Id="rId132" Type="http://schemas.openxmlformats.org/officeDocument/2006/relationships/tags" Target="../tags/tag150.xml"/><Relationship Id="rId153" Type="http://schemas.openxmlformats.org/officeDocument/2006/relationships/tags" Target="../tags/tag171.xml"/><Relationship Id="rId174" Type="http://schemas.openxmlformats.org/officeDocument/2006/relationships/tags" Target="../tags/tag192.xml"/><Relationship Id="rId15" Type="http://schemas.openxmlformats.org/officeDocument/2006/relationships/tags" Target="../tags/tag33.xml"/><Relationship Id="rId36" Type="http://schemas.openxmlformats.org/officeDocument/2006/relationships/tags" Target="../tags/tag54.xml"/><Relationship Id="rId57" Type="http://schemas.openxmlformats.org/officeDocument/2006/relationships/tags" Target="../tags/tag75.xml"/><Relationship Id="rId106" Type="http://schemas.openxmlformats.org/officeDocument/2006/relationships/tags" Target="../tags/tag124.xml"/><Relationship Id="rId127" Type="http://schemas.openxmlformats.org/officeDocument/2006/relationships/tags" Target="../tags/tag14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03.xml"/><Relationship Id="rId13" Type="http://schemas.openxmlformats.org/officeDocument/2006/relationships/tags" Target="../tags/tag208.xml"/><Relationship Id="rId18" Type="http://schemas.openxmlformats.org/officeDocument/2006/relationships/tags" Target="../tags/tag213.xml"/><Relationship Id="rId26" Type="http://schemas.openxmlformats.org/officeDocument/2006/relationships/tags" Target="../tags/tag221.xml"/><Relationship Id="rId3" Type="http://schemas.openxmlformats.org/officeDocument/2006/relationships/tags" Target="../tags/tag198.xml"/><Relationship Id="rId21" Type="http://schemas.openxmlformats.org/officeDocument/2006/relationships/tags" Target="../tags/tag216.xml"/><Relationship Id="rId34" Type="http://schemas.openxmlformats.org/officeDocument/2006/relationships/tags" Target="../tags/tag229.xml"/><Relationship Id="rId7" Type="http://schemas.openxmlformats.org/officeDocument/2006/relationships/tags" Target="../tags/tag202.xml"/><Relationship Id="rId12" Type="http://schemas.openxmlformats.org/officeDocument/2006/relationships/tags" Target="../tags/tag207.xml"/><Relationship Id="rId17" Type="http://schemas.openxmlformats.org/officeDocument/2006/relationships/tags" Target="../tags/tag212.xml"/><Relationship Id="rId25" Type="http://schemas.openxmlformats.org/officeDocument/2006/relationships/tags" Target="../tags/tag220.xml"/><Relationship Id="rId33" Type="http://schemas.openxmlformats.org/officeDocument/2006/relationships/tags" Target="../tags/tag228.xml"/><Relationship Id="rId2" Type="http://schemas.openxmlformats.org/officeDocument/2006/relationships/tags" Target="../tags/tag197.xml"/><Relationship Id="rId16" Type="http://schemas.openxmlformats.org/officeDocument/2006/relationships/tags" Target="../tags/tag211.xml"/><Relationship Id="rId20" Type="http://schemas.openxmlformats.org/officeDocument/2006/relationships/tags" Target="../tags/tag215.xml"/><Relationship Id="rId29" Type="http://schemas.openxmlformats.org/officeDocument/2006/relationships/tags" Target="../tags/tag224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11" Type="http://schemas.openxmlformats.org/officeDocument/2006/relationships/tags" Target="../tags/tag206.xml"/><Relationship Id="rId24" Type="http://schemas.openxmlformats.org/officeDocument/2006/relationships/tags" Target="../tags/tag219.xml"/><Relationship Id="rId32" Type="http://schemas.openxmlformats.org/officeDocument/2006/relationships/tags" Target="../tags/tag227.xml"/><Relationship Id="rId37" Type="http://schemas.openxmlformats.org/officeDocument/2006/relationships/slideMaster" Target="../slideMasters/slideMaster3.xml"/><Relationship Id="rId5" Type="http://schemas.openxmlformats.org/officeDocument/2006/relationships/tags" Target="../tags/tag200.xml"/><Relationship Id="rId15" Type="http://schemas.openxmlformats.org/officeDocument/2006/relationships/tags" Target="../tags/tag210.xml"/><Relationship Id="rId23" Type="http://schemas.openxmlformats.org/officeDocument/2006/relationships/tags" Target="../tags/tag218.xml"/><Relationship Id="rId28" Type="http://schemas.openxmlformats.org/officeDocument/2006/relationships/tags" Target="../tags/tag223.xml"/><Relationship Id="rId36" Type="http://schemas.openxmlformats.org/officeDocument/2006/relationships/tags" Target="../tags/tag231.xml"/><Relationship Id="rId10" Type="http://schemas.openxmlformats.org/officeDocument/2006/relationships/tags" Target="../tags/tag205.xml"/><Relationship Id="rId19" Type="http://schemas.openxmlformats.org/officeDocument/2006/relationships/tags" Target="../tags/tag214.xml"/><Relationship Id="rId31" Type="http://schemas.openxmlformats.org/officeDocument/2006/relationships/tags" Target="../tags/tag226.xml"/><Relationship Id="rId4" Type="http://schemas.openxmlformats.org/officeDocument/2006/relationships/tags" Target="../tags/tag199.xml"/><Relationship Id="rId9" Type="http://schemas.openxmlformats.org/officeDocument/2006/relationships/tags" Target="../tags/tag204.xml"/><Relationship Id="rId14" Type="http://schemas.openxmlformats.org/officeDocument/2006/relationships/tags" Target="../tags/tag209.xml"/><Relationship Id="rId22" Type="http://schemas.openxmlformats.org/officeDocument/2006/relationships/tags" Target="../tags/tag217.xml"/><Relationship Id="rId27" Type="http://schemas.openxmlformats.org/officeDocument/2006/relationships/tags" Target="../tags/tag222.xml"/><Relationship Id="rId30" Type="http://schemas.openxmlformats.org/officeDocument/2006/relationships/tags" Target="../tags/tag225.xml"/><Relationship Id="rId35" Type="http://schemas.openxmlformats.org/officeDocument/2006/relationships/tags" Target="../tags/tag23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2.bin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4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240.xml"/><Relationship Id="rId1" Type="http://schemas.openxmlformats.org/officeDocument/2006/relationships/tags" Target="../tags/tag239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243.xml"/><Relationship Id="rId7" Type="http://schemas.openxmlformats.org/officeDocument/2006/relationships/slideMaster" Target="../slideMasters/slideMaster5.xml"/><Relationship Id="rId2" Type="http://schemas.openxmlformats.org/officeDocument/2006/relationships/tags" Target="../tags/tag242.xml"/><Relationship Id="rId1" Type="http://schemas.openxmlformats.org/officeDocument/2006/relationships/tags" Target="../tags/tag241.xml"/><Relationship Id="rId6" Type="http://schemas.openxmlformats.org/officeDocument/2006/relationships/tags" Target="../tags/tag246.xml"/><Relationship Id="rId5" Type="http://schemas.openxmlformats.org/officeDocument/2006/relationships/tags" Target="../tags/tag245.xml"/><Relationship Id="rId4" Type="http://schemas.openxmlformats.org/officeDocument/2006/relationships/tags" Target="../tags/tag24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6" Type="http://schemas.openxmlformats.org/officeDocument/2006/relationships/tags" Target="../tags/tag272.xml"/><Relationship Id="rId117" Type="http://schemas.openxmlformats.org/officeDocument/2006/relationships/tags" Target="../tags/tag363.xml"/><Relationship Id="rId21" Type="http://schemas.openxmlformats.org/officeDocument/2006/relationships/tags" Target="../tags/tag267.xml"/><Relationship Id="rId42" Type="http://schemas.openxmlformats.org/officeDocument/2006/relationships/tags" Target="../tags/tag288.xml"/><Relationship Id="rId47" Type="http://schemas.openxmlformats.org/officeDocument/2006/relationships/tags" Target="../tags/tag293.xml"/><Relationship Id="rId63" Type="http://schemas.openxmlformats.org/officeDocument/2006/relationships/tags" Target="../tags/tag309.xml"/><Relationship Id="rId68" Type="http://schemas.openxmlformats.org/officeDocument/2006/relationships/tags" Target="../tags/tag314.xml"/><Relationship Id="rId84" Type="http://schemas.openxmlformats.org/officeDocument/2006/relationships/tags" Target="../tags/tag330.xml"/><Relationship Id="rId89" Type="http://schemas.openxmlformats.org/officeDocument/2006/relationships/tags" Target="../tags/tag335.xml"/><Relationship Id="rId112" Type="http://schemas.openxmlformats.org/officeDocument/2006/relationships/tags" Target="../tags/tag358.xml"/><Relationship Id="rId133" Type="http://schemas.openxmlformats.org/officeDocument/2006/relationships/tags" Target="../tags/tag379.xml"/><Relationship Id="rId138" Type="http://schemas.openxmlformats.org/officeDocument/2006/relationships/tags" Target="../tags/tag384.xml"/><Relationship Id="rId154" Type="http://schemas.openxmlformats.org/officeDocument/2006/relationships/tags" Target="../tags/tag400.xml"/><Relationship Id="rId159" Type="http://schemas.openxmlformats.org/officeDocument/2006/relationships/tags" Target="../tags/tag405.xml"/><Relationship Id="rId175" Type="http://schemas.openxmlformats.org/officeDocument/2006/relationships/tags" Target="../tags/tag421.xml"/><Relationship Id="rId170" Type="http://schemas.openxmlformats.org/officeDocument/2006/relationships/tags" Target="../tags/tag416.xml"/><Relationship Id="rId16" Type="http://schemas.openxmlformats.org/officeDocument/2006/relationships/tags" Target="../tags/tag262.xml"/><Relationship Id="rId107" Type="http://schemas.openxmlformats.org/officeDocument/2006/relationships/tags" Target="../tags/tag353.xml"/><Relationship Id="rId11" Type="http://schemas.openxmlformats.org/officeDocument/2006/relationships/tags" Target="../tags/tag257.xml"/><Relationship Id="rId32" Type="http://schemas.openxmlformats.org/officeDocument/2006/relationships/tags" Target="../tags/tag278.xml"/><Relationship Id="rId37" Type="http://schemas.openxmlformats.org/officeDocument/2006/relationships/tags" Target="../tags/tag283.xml"/><Relationship Id="rId53" Type="http://schemas.openxmlformats.org/officeDocument/2006/relationships/tags" Target="../tags/tag299.xml"/><Relationship Id="rId58" Type="http://schemas.openxmlformats.org/officeDocument/2006/relationships/tags" Target="../tags/tag304.xml"/><Relationship Id="rId74" Type="http://schemas.openxmlformats.org/officeDocument/2006/relationships/tags" Target="../tags/tag320.xml"/><Relationship Id="rId79" Type="http://schemas.openxmlformats.org/officeDocument/2006/relationships/tags" Target="../tags/tag325.xml"/><Relationship Id="rId102" Type="http://schemas.openxmlformats.org/officeDocument/2006/relationships/tags" Target="../tags/tag348.xml"/><Relationship Id="rId123" Type="http://schemas.openxmlformats.org/officeDocument/2006/relationships/tags" Target="../tags/tag369.xml"/><Relationship Id="rId128" Type="http://schemas.openxmlformats.org/officeDocument/2006/relationships/tags" Target="../tags/tag374.xml"/><Relationship Id="rId144" Type="http://schemas.openxmlformats.org/officeDocument/2006/relationships/tags" Target="../tags/tag390.xml"/><Relationship Id="rId149" Type="http://schemas.openxmlformats.org/officeDocument/2006/relationships/tags" Target="../tags/tag395.xml"/><Relationship Id="rId5" Type="http://schemas.openxmlformats.org/officeDocument/2006/relationships/tags" Target="../tags/tag251.xml"/><Relationship Id="rId90" Type="http://schemas.openxmlformats.org/officeDocument/2006/relationships/tags" Target="../tags/tag336.xml"/><Relationship Id="rId95" Type="http://schemas.openxmlformats.org/officeDocument/2006/relationships/tags" Target="../tags/tag341.xml"/><Relationship Id="rId160" Type="http://schemas.openxmlformats.org/officeDocument/2006/relationships/tags" Target="../tags/tag406.xml"/><Relationship Id="rId165" Type="http://schemas.openxmlformats.org/officeDocument/2006/relationships/tags" Target="../tags/tag411.xml"/><Relationship Id="rId22" Type="http://schemas.openxmlformats.org/officeDocument/2006/relationships/tags" Target="../tags/tag268.xml"/><Relationship Id="rId27" Type="http://schemas.openxmlformats.org/officeDocument/2006/relationships/tags" Target="../tags/tag273.xml"/><Relationship Id="rId43" Type="http://schemas.openxmlformats.org/officeDocument/2006/relationships/tags" Target="../tags/tag289.xml"/><Relationship Id="rId48" Type="http://schemas.openxmlformats.org/officeDocument/2006/relationships/tags" Target="../tags/tag294.xml"/><Relationship Id="rId64" Type="http://schemas.openxmlformats.org/officeDocument/2006/relationships/tags" Target="../tags/tag310.xml"/><Relationship Id="rId69" Type="http://schemas.openxmlformats.org/officeDocument/2006/relationships/tags" Target="../tags/tag315.xml"/><Relationship Id="rId113" Type="http://schemas.openxmlformats.org/officeDocument/2006/relationships/tags" Target="../tags/tag359.xml"/><Relationship Id="rId118" Type="http://schemas.openxmlformats.org/officeDocument/2006/relationships/tags" Target="../tags/tag364.xml"/><Relationship Id="rId134" Type="http://schemas.openxmlformats.org/officeDocument/2006/relationships/tags" Target="../tags/tag380.xml"/><Relationship Id="rId139" Type="http://schemas.openxmlformats.org/officeDocument/2006/relationships/tags" Target="../tags/tag385.xml"/><Relationship Id="rId80" Type="http://schemas.openxmlformats.org/officeDocument/2006/relationships/tags" Target="../tags/tag326.xml"/><Relationship Id="rId85" Type="http://schemas.openxmlformats.org/officeDocument/2006/relationships/tags" Target="../tags/tag331.xml"/><Relationship Id="rId150" Type="http://schemas.openxmlformats.org/officeDocument/2006/relationships/tags" Target="../tags/tag396.xml"/><Relationship Id="rId155" Type="http://schemas.openxmlformats.org/officeDocument/2006/relationships/tags" Target="../tags/tag401.xml"/><Relationship Id="rId171" Type="http://schemas.openxmlformats.org/officeDocument/2006/relationships/tags" Target="../tags/tag417.xml"/><Relationship Id="rId176" Type="http://schemas.openxmlformats.org/officeDocument/2006/relationships/tags" Target="../tags/tag422.xml"/><Relationship Id="rId12" Type="http://schemas.openxmlformats.org/officeDocument/2006/relationships/tags" Target="../tags/tag258.xml"/><Relationship Id="rId17" Type="http://schemas.openxmlformats.org/officeDocument/2006/relationships/tags" Target="../tags/tag263.xml"/><Relationship Id="rId33" Type="http://schemas.openxmlformats.org/officeDocument/2006/relationships/tags" Target="../tags/tag279.xml"/><Relationship Id="rId38" Type="http://schemas.openxmlformats.org/officeDocument/2006/relationships/tags" Target="../tags/tag284.xml"/><Relationship Id="rId59" Type="http://schemas.openxmlformats.org/officeDocument/2006/relationships/tags" Target="../tags/tag305.xml"/><Relationship Id="rId103" Type="http://schemas.openxmlformats.org/officeDocument/2006/relationships/tags" Target="../tags/tag349.xml"/><Relationship Id="rId108" Type="http://schemas.openxmlformats.org/officeDocument/2006/relationships/tags" Target="../tags/tag354.xml"/><Relationship Id="rId124" Type="http://schemas.openxmlformats.org/officeDocument/2006/relationships/tags" Target="../tags/tag370.xml"/><Relationship Id="rId129" Type="http://schemas.openxmlformats.org/officeDocument/2006/relationships/tags" Target="../tags/tag375.xml"/><Relationship Id="rId54" Type="http://schemas.openxmlformats.org/officeDocument/2006/relationships/tags" Target="../tags/tag300.xml"/><Relationship Id="rId70" Type="http://schemas.openxmlformats.org/officeDocument/2006/relationships/tags" Target="../tags/tag316.xml"/><Relationship Id="rId75" Type="http://schemas.openxmlformats.org/officeDocument/2006/relationships/tags" Target="../tags/tag321.xml"/><Relationship Id="rId91" Type="http://schemas.openxmlformats.org/officeDocument/2006/relationships/tags" Target="../tags/tag337.xml"/><Relationship Id="rId96" Type="http://schemas.openxmlformats.org/officeDocument/2006/relationships/tags" Target="../tags/tag342.xml"/><Relationship Id="rId140" Type="http://schemas.openxmlformats.org/officeDocument/2006/relationships/tags" Target="../tags/tag386.xml"/><Relationship Id="rId145" Type="http://schemas.openxmlformats.org/officeDocument/2006/relationships/tags" Target="../tags/tag391.xml"/><Relationship Id="rId161" Type="http://schemas.openxmlformats.org/officeDocument/2006/relationships/tags" Target="../tags/tag407.xml"/><Relationship Id="rId166" Type="http://schemas.openxmlformats.org/officeDocument/2006/relationships/tags" Target="../tags/tag412.xml"/><Relationship Id="rId1" Type="http://schemas.openxmlformats.org/officeDocument/2006/relationships/tags" Target="../tags/tag247.xml"/><Relationship Id="rId6" Type="http://schemas.openxmlformats.org/officeDocument/2006/relationships/tags" Target="../tags/tag252.xml"/><Relationship Id="rId23" Type="http://schemas.openxmlformats.org/officeDocument/2006/relationships/tags" Target="../tags/tag269.xml"/><Relationship Id="rId28" Type="http://schemas.openxmlformats.org/officeDocument/2006/relationships/tags" Target="../tags/tag274.xml"/><Relationship Id="rId49" Type="http://schemas.openxmlformats.org/officeDocument/2006/relationships/tags" Target="../tags/tag295.xml"/><Relationship Id="rId114" Type="http://schemas.openxmlformats.org/officeDocument/2006/relationships/tags" Target="../tags/tag360.xml"/><Relationship Id="rId119" Type="http://schemas.openxmlformats.org/officeDocument/2006/relationships/tags" Target="../tags/tag365.xml"/><Relationship Id="rId10" Type="http://schemas.openxmlformats.org/officeDocument/2006/relationships/tags" Target="../tags/tag256.xml"/><Relationship Id="rId31" Type="http://schemas.openxmlformats.org/officeDocument/2006/relationships/tags" Target="../tags/tag277.xml"/><Relationship Id="rId44" Type="http://schemas.openxmlformats.org/officeDocument/2006/relationships/tags" Target="../tags/tag290.xml"/><Relationship Id="rId52" Type="http://schemas.openxmlformats.org/officeDocument/2006/relationships/tags" Target="../tags/tag298.xml"/><Relationship Id="rId60" Type="http://schemas.openxmlformats.org/officeDocument/2006/relationships/tags" Target="../tags/tag306.xml"/><Relationship Id="rId65" Type="http://schemas.openxmlformats.org/officeDocument/2006/relationships/tags" Target="../tags/tag311.xml"/><Relationship Id="rId73" Type="http://schemas.openxmlformats.org/officeDocument/2006/relationships/tags" Target="../tags/tag319.xml"/><Relationship Id="rId78" Type="http://schemas.openxmlformats.org/officeDocument/2006/relationships/tags" Target="../tags/tag324.xml"/><Relationship Id="rId81" Type="http://schemas.openxmlformats.org/officeDocument/2006/relationships/tags" Target="../tags/tag327.xml"/><Relationship Id="rId86" Type="http://schemas.openxmlformats.org/officeDocument/2006/relationships/tags" Target="../tags/tag332.xml"/><Relationship Id="rId94" Type="http://schemas.openxmlformats.org/officeDocument/2006/relationships/tags" Target="../tags/tag340.xml"/><Relationship Id="rId99" Type="http://schemas.openxmlformats.org/officeDocument/2006/relationships/tags" Target="../tags/tag345.xml"/><Relationship Id="rId101" Type="http://schemas.openxmlformats.org/officeDocument/2006/relationships/tags" Target="../tags/tag347.xml"/><Relationship Id="rId122" Type="http://schemas.openxmlformats.org/officeDocument/2006/relationships/tags" Target="../tags/tag368.xml"/><Relationship Id="rId130" Type="http://schemas.openxmlformats.org/officeDocument/2006/relationships/tags" Target="../tags/tag376.xml"/><Relationship Id="rId135" Type="http://schemas.openxmlformats.org/officeDocument/2006/relationships/tags" Target="../tags/tag381.xml"/><Relationship Id="rId143" Type="http://schemas.openxmlformats.org/officeDocument/2006/relationships/tags" Target="../tags/tag389.xml"/><Relationship Id="rId148" Type="http://schemas.openxmlformats.org/officeDocument/2006/relationships/tags" Target="../tags/tag394.xml"/><Relationship Id="rId151" Type="http://schemas.openxmlformats.org/officeDocument/2006/relationships/tags" Target="../tags/tag397.xml"/><Relationship Id="rId156" Type="http://schemas.openxmlformats.org/officeDocument/2006/relationships/tags" Target="../tags/tag402.xml"/><Relationship Id="rId164" Type="http://schemas.openxmlformats.org/officeDocument/2006/relationships/tags" Target="../tags/tag410.xml"/><Relationship Id="rId169" Type="http://schemas.openxmlformats.org/officeDocument/2006/relationships/tags" Target="../tags/tag415.xml"/><Relationship Id="rId177" Type="http://schemas.openxmlformats.org/officeDocument/2006/relationships/tags" Target="../tags/tag423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72" Type="http://schemas.openxmlformats.org/officeDocument/2006/relationships/tags" Target="../tags/tag418.xml"/><Relationship Id="rId13" Type="http://schemas.openxmlformats.org/officeDocument/2006/relationships/tags" Target="../tags/tag259.xml"/><Relationship Id="rId18" Type="http://schemas.openxmlformats.org/officeDocument/2006/relationships/tags" Target="../tags/tag264.xml"/><Relationship Id="rId39" Type="http://schemas.openxmlformats.org/officeDocument/2006/relationships/tags" Target="../tags/tag285.xml"/><Relationship Id="rId109" Type="http://schemas.openxmlformats.org/officeDocument/2006/relationships/tags" Target="../tags/tag355.xml"/><Relationship Id="rId34" Type="http://schemas.openxmlformats.org/officeDocument/2006/relationships/tags" Target="../tags/tag280.xml"/><Relationship Id="rId50" Type="http://schemas.openxmlformats.org/officeDocument/2006/relationships/tags" Target="../tags/tag296.xml"/><Relationship Id="rId55" Type="http://schemas.openxmlformats.org/officeDocument/2006/relationships/tags" Target="../tags/tag301.xml"/><Relationship Id="rId76" Type="http://schemas.openxmlformats.org/officeDocument/2006/relationships/tags" Target="../tags/tag322.xml"/><Relationship Id="rId97" Type="http://schemas.openxmlformats.org/officeDocument/2006/relationships/tags" Target="../tags/tag343.xml"/><Relationship Id="rId104" Type="http://schemas.openxmlformats.org/officeDocument/2006/relationships/tags" Target="../tags/tag350.xml"/><Relationship Id="rId120" Type="http://schemas.openxmlformats.org/officeDocument/2006/relationships/tags" Target="../tags/tag366.xml"/><Relationship Id="rId125" Type="http://schemas.openxmlformats.org/officeDocument/2006/relationships/tags" Target="../tags/tag371.xml"/><Relationship Id="rId141" Type="http://schemas.openxmlformats.org/officeDocument/2006/relationships/tags" Target="../tags/tag387.xml"/><Relationship Id="rId146" Type="http://schemas.openxmlformats.org/officeDocument/2006/relationships/tags" Target="../tags/tag392.xml"/><Relationship Id="rId167" Type="http://schemas.openxmlformats.org/officeDocument/2006/relationships/tags" Target="../tags/tag413.xml"/><Relationship Id="rId7" Type="http://schemas.openxmlformats.org/officeDocument/2006/relationships/tags" Target="../tags/tag253.xml"/><Relationship Id="rId71" Type="http://schemas.openxmlformats.org/officeDocument/2006/relationships/tags" Target="../tags/tag317.xml"/><Relationship Id="rId92" Type="http://schemas.openxmlformats.org/officeDocument/2006/relationships/tags" Target="../tags/tag338.xml"/><Relationship Id="rId162" Type="http://schemas.openxmlformats.org/officeDocument/2006/relationships/tags" Target="../tags/tag408.xml"/><Relationship Id="rId2" Type="http://schemas.openxmlformats.org/officeDocument/2006/relationships/tags" Target="../tags/tag248.xml"/><Relationship Id="rId29" Type="http://schemas.openxmlformats.org/officeDocument/2006/relationships/tags" Target="../tags/tag275.xml"/><Relationship Id="rId24" Type="http://schemas.openxmlformats.org/officeDocument/2006/relationships/tags" Target="../tags/tag270.xml"/><Relationship Id="rId40" Type="http://schemas.openxmlformats.org/officeDocument/2006/relationships/tags" Target="../tags/tag286.xml"/><Relationship Id="rId45" Type="http://schemas.openxmlformats.org/officeDocument/2006/relationships/tags" Target="../tags/tag291.xml"/><Relationship Id="rId66" Type="http://schemas.openxmlformats.org/officeDocument/2006/relationships/tags" Target="../tags/tag312.xml"/><Relationship Id="rId87" Type="http://schemas.openxmlformats.org/officeDocument/2006/relationships/tags" Target="../tags/tag333.xml"/><Relationship Id="rId110" Type="http://schemas.openxmlformats.org/officeDocument/2006/relationships/tags" Target="../tags/tag356.xml"/><Relationship Id="rId115" Type="http://schemas.openxmlformats.org/officeDocument/2006/relationships/tags" Target="../tags/tag361.xml"/><Relationship Id="rId131" Type="http://schemas.openxmlformats.org/officeDocument/2006/relationships/tags" Target="../tags/tag377.xml"/><Relationship Id="rId136" Type="http://schemas.openxmlformats.org/officeDocument/2006/relationships/tags" Target="../tags/tag382.xml"/><Relationship Id="rId157" Type="http://schemas.openxmlformats.org/officeDocument/2006/relationships/tags" Target="../tags/tag403.xml"/><Relationship Id="rId178" Type="http://schemas.openxmlformats.org/officeDocument/2006/relationships/slideMaster" Target="../slideMasters/slideMaster5.xml"/><Relationship Id="rId61" Type="http://schemas.openxmlformats.org/officeDocument/2006/relationships/tags" Target="../tags/tag307.xml"/><Relationship Id="rId82" Type="http://schemas.openxmlformats.org/officeDocument/2006/relationships/tags" Target="../tags/tag328.xml"/><Relationship Id="rId152" Type="http://schemas.openxmlformats.org/officeDocument/2006/relationships/tags" Target="../tags/tag398.xml"/><Relationship Id="rId173" Type="http://schemas.openxmlformats.org/officeDocument/2006/relationships/tags" Target="../tags/tag419.xml"/><Relationship Id="rId19" Type="http://schemas.openxmlformats.org/officeDocument/2006/relationships/tags" Target="../tags/tag265.xml"/><Relationship Id="rId14" Type="http://schemas.openxmlformats.org/officeDocument/2006/relationships/tags" Target="../tags/tag260.xml"/><Relationship Id="rId30" Type="http://schemas.openxmlformats.org/officeDocument/2006/relationships/tags" Target="../tags/tag276.xml"/><Relationship Id="rId35" Type="http://schemas.openxmlformats.org/officeDocument/2006/relationships/tags" Target="../tags/tag281.xml"/><Relationship Id="rId56" Type="http://schemas.openxmlformats.org/officeDocument/2006/relationships/tags" Target="../tags/tag302.xml"/><Relationship Id="rId77" Type="http://schemas.openxmlformats.org/officeDocument/2006/relationships/tags" Target="../tags/tag323.xml"/><Relationship Id="rId100" Type="http://schemas.openxmlformats.org/officeDocument/2006/relationships/tags" Target="../tags/tag346.xml"/><Relationship Id="rId105" Type="http://schemas.openxmlformats.org/officeDocument/2006/relationships/tags" Target="../tags/tag351.xml"/><Relationship Id="rId126" Type="http://schemas.openxmlformats.org/officeDocument/2006/relationships/tags" Target="../tags/tag372.xml"/><Relationship Id="rId147" Type="http://schemas.openxmlformats.org/officeDocument/2006/relationships/tags" Target="../tags/tag393.xml"/><Relationship Id="rId168" Type="http://schemas.openxmlformats.org/officeDocument/2006/relationships/tags" Target="../tags/tag414.xml"/><Relationship Id="rId8" Type="http://schemas.openxmlformats.org/officeDocument/2006/relationships/tags" Target="../tags/tag254.xml"/><Relationship Id="rId51" Type="http://schemas.openxmlformats.org/officeDocument/2006/relationships/tags" Target="../tags/tag297.xml"/><Relationship Id="rId72" Type="http://schemas.openxmlformats.org/officeDocument/2006/relationships/tags" Target="../tags/tag318.xml"/><Relationship Id="rId93" Type="http://schemas.openxmlformats.org/officeDocument/2006/relationships/tags" Target="../tags/tag339.xml"/><Relationship Id="rId98" Type="http://schemas.openxmlformats.org/officeDocument/2006/relationships/tags" Target="../tags/tag344.xml"/><Relationship Id="rId121" Type="http://schemas.openxmlformats.org/officeDocument/2006/relationships/tags" Target="../tags/tag367.xml"/><Relationship Id="rId142" Type="http://schemas.openxmlformats.org/officeDocument/2006/relationships/tags" Target="../tags/tag388.xml"/><Relationship Id="rId163" Type="http://schemas.openxmlformats.org/officeDocument/2006/relationships/tags" Target="../tags/tag409.xml"/><Relationship Id="rId3" Type="http://schemas.openxmlformats.org/officeDocument/2006/relationships/tags" Target="../tags/tag249.xml"/><Relationship Id="rId25" Type="http://schemas.openxmlformats.org/officeDocument/2006/relationships/tags" Target="../tags/tag271.xml"/><Relationship Id="rId46" Type="http://schemas.openxmlformats.org/officeDocument/2006/relationships/tags" Target="../tags/tag292.xml"/><Relationship Id="rId67" Type="http://schemas.openxmlformats.org/officeDocument/2006/relationships/tags" Target="../tags/tag313.xml"/><Relationship Id="rId116" Type="http://schemas.openxmlformats.org/officeDocument/2006/relationships/tags" Target="../tags/tag362.xml"/><Relationship Id="rId137" Type="http://schemas.openxmlformats.org/officeDocument/2006/relationships/tags" Target="../tags/tag383.xml"/><Relationship Id="rId158" Type="http://schemas.openxmlformats.org/officeDocument/2006/relationships/tags" Target="../tags/tag404.xml"/><Relationship Id="rId20" Type="http://schemas.openxmlformats.org/officeDocument/2006/relationships/tags" Target="../tags/tag266.xml"/><Relationship Id="rId41" Type="http://schemas.openxmlformats.org/officeDocument/2006/relationships/tags" Target="../tags/tag287.xml"/><Relationship Id="rId62" Type="http://schemas.openxmlformats.org/officeDocument/2006/relationships/tags" Target="../tags/tag308.xml"/><Relationship Id="rId83" Type="http://schemas.openxmlformats.org/officeDocument/2006/relationships/tags" Target="../tags/tag329.xml"/><Relationship Id="rId88" Type="http://schemas.openxmlformats.org/officeDocument/2006/relationships/tags" Target="../tags/tag334.xml"/><Relationship Id="rId111" Type="http://schemas.openxmlformats.org/officeDocument/2006/relationships/tags" Target="../tags/tag357.xml"/><Relationship Id="rId132" Type="http://schemas.openxmlformats.org/officeDocument/2006/relationships/tags" Target="../tags/tag378.xml"/><Relationship Id="rId153" Type="http://schemas.openxmlformats.org/officeDocument/2006/relationships/tags" Target="../tags/tag399.xml"/><Relationship Id="rId174" Type="http://schemas.openxmlformats.org/officeDocument/2006/relationships/tags" Target="../tags/tag420.xml"/><Relationship Id="rId15" Type="http://schemas.openxmlformats.org/officeDocument/2006/relationships/tags" Target="../tags/tag261.xml"/><Relationship Id="rId36" Type="http://schemas.openxmlformats.org/officeDocument/2006/relationships/tags" Target="../tags/tag282.xml"/><Relationship Id="rId57" Type="http://schemas.openxmlformats.org/officeDocument/2006/relationships/tags" Target="../tags/tag303.xml"/><Relationship Id="rId106" Type="http://schemas.openxmlformats.org/officeDocument/2006/relationships/tags" Target="../tags/tag352.xml"/><Relationship Id="rId127" Type="http://schemas.openxmlformats.org/officeDocument/2006/relationships/tags" Target="../tags/tag373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31.xml"/><Relationship Id="rId13" Type="http://schemas.openxmlformats.org/officeDocument/2006/relationships/tags" Target="../tags/tag436.xml"/><Relationship Id="rId18" Type="http://schemas.openxmlformats.org/officeDocument/2006/relationships/tags" Target="../tags/tag441.xml"/><Relationship Id="rId26" Type="http://schemas.openxmlformats.org/officeDocument/2006/relationships/tags" Target="../tags/tag449.xml"/><Relationship Id="rId3" Type="http://schemas.openxmlformats.org/officeDocument/2006/relationships/tags" Target="../tags/tag426.xml"/><Relationship Id="rId21" Type="http://schemas.openxmlformats.org/officeDocument/2006/relationships/tags" Target="../tags/tag444.xml"/><Relationship Id="rId34" Type="http://schemas.openxmlformats.org/officeDocument/2006/relationships/tags" Target="../tags/tag457.xml"/><Relationship Id="rId7" Type="http://schemas.openxmlformats.org/officeDocument/2006/relationships/tags" Target="../tags/tag430.xml"/><Relationship Id="rId12" Type="http://schemas.openxmlformats.org/officeDocument/2006/relationships/tags" Target="../tags/tag435.xml"/><Relationship Id="rId17" Type="http://schemas.openxmlformats.org/officeDocument/2006/relationships/tags" Target="../tags/tag440.xml"/><Relationship Id="rId25" Type="http://schemas.openxmlformats.org/officeDocument/2006/relationships/tags" Target="../tags/tag448.xml"/><Relationship Id="rId33" Type="http://schemas.openxmlformats.org/officeDocument/2006/relationships/tags" Target="../tags/tag456.xml"/><Relationship Id="rId2" Type="http://schemas.openxmlformats.org/officeDocument/2006/relationships/tags" Target="../tags/tag425.xml"/><Relationship Id="rId16" Type="http://schemas.openxmlformats.org/officeDocument/2006/relationships/tags" Target="../tags/tag439.xml"/><Relationship Id="rId20" Type="http://schemas.openxmlformats.org/officeDocument/2006/relationships/tags" Target="../tags/tag443.xml"/><Relationship Id="rId29" Type="http://schemas.openxmlformats.org/officeDocument/2006/relationships/tags" Target="../tags/tag452.xml"/><Relationship Id="rId1" Type="http://schemas.openxmlformats.org/officeDocument/2006/relationships/tags" Target="../tags/tag424.xml"/><Relationship Id="rId6" Type="http://schemas.openxmlformats.org/officeDocument/2006/relationships/tags" Target="../tags/tag429.xml"/><Relationship Id="rId11" Type="http://schemas.openxmlformats.org/officeDocument/2006/relationships/tags" Target="../tags/tag434.xml"/><Relationship Id="rId24" Type="http://schemas.openxmlformats.org/officeDocument/2006/relationships/tags" Target="../tags/tag447.xml"/><Relationship Id="rId32" Type="http://schemas.openxmlformats.org/officeDocument/2006/relationships/tags" Target="../tags/tag455.xml"/><Relationship Id="rId37" Type="http://schemas.openxmlformats.org/officeDocument/2006/relationships/slideMaster" Target="../slideMasters/slideMaster5.xml"/><Relationship Id="rId5" Type="http://schemas.openxmlformats.org/officeDocument/2006/relationships/tags" Target="../tags/tag428.xml"/><Relationship Id="rId15" Type="http://schemas.openxmlformats.org/officeDocument/2006/relationships/tags" Target="../tags/tag438.xml"/><Relationship Id="rId23" Type="http://schemas.openxmlformats.org/officeDocument/2006/relationships/tags" Target="../tags/tag446.xml"/><Relationship Id="rId28" Type="http://schemas.openxmlformats.org/officeDocument/2006/relationships/tags" Target="../tags/tag451.xml"/><Relationship Id="rId36" Type="http://schemas.openxmlformats.org/officeDocument/2006/relationships/tags" Target="../tags/tag459.xml"/><Relationship Id="rId10" Type="http://schemas.openxmlformats.org/officeDocument/2006/relationships/tags" Target="../tags/tag433.xml"/><Relationship Id="rId19" Type="http://schemas.openxmlformats.org/officeDocument/2006/relationships/tags" Target="../tags/tag442.xml"/><Relationship Id="rId31" Type="http://schemas.openxmlformats.org/officeDocument/2006/relationships/tags" Target="../tags/tag454.xml"/><Relationship Id="rId4" Type="http://schemas.openxmlformats.org/officeDocument/2006/relationships/tags" Target="../tags/tag427.xml"/><Relationship Id="rId9" Type="http://schemas.openxmlformats.org/officeDocument/2006/relationships/tags" Target="../tags/tag432.xml"/><Relationship Id="rId14" Type="http://schemas.openxmlformats.org/officeDocument/2006/relationships/tags" Target="../tags/tag437.xml"/><Relationship Id="rId22" Type="http://schemas.openxmlformats.org/officeDocument/2006/relationships/tags" Target="../tags/tag445.xml"/><Relationship Id="rId27" Type="http://schemas.openxmlformats.org/officeDocument/2006/relationships/tags" Target="../tags/tag450.xml"/><Relationship Id="rId30" Type="http://schemas.openxmlformats.org/officeDocument/2006/relationships/tags" Target="../tags/tag453.xml"/><Relationship Id="rId35" Type="http://schemas.openxmlformats.org/officeDocument/2006/relationships/tags" Target="../tags/tag458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image" Target="../media/image7.emf"/><Relationship Id="rId4" Type="http://schemas.openxmlformats.org/officeDocument/2006/relationships/oleObject" Target="../embeddings/oleObject18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21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6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40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49312" y="476672"/>
            <a:ext cx="8208143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791816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8893A750-5C84-0048-BDB0-FD81C2E1C7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006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60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Block arrow"/>
          <p:cNvSpPr>
            <a:spLocks noChangeArrowheads="1"/>
          </p:cNvSpPr>
          <p:nvPr userDrawn="1"/>
        </p:nvSpPr>
        <p:spPr bwMode="gray">
          <a:xfrm rot="19800000">
            <a:off x="3109913" y="2451100"/>
            <a:ext cx="1462087" cy="312738"/>
          </a:xfrm>
          <a:prstGeom prst="rightArrow">
            <a:avLst>
              <a:gd name="adj1" fmla="val 50000"/>
              <a:gd name="adj2" fmla="val 32293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Block arrow"/>
          <p:cNvSpPr>
            <a:spLocks noChangeArrowheads="1"/>
          </p:cNvSpPr>
          <p:nvPr userDrawn="1"/>
        </p:nvSpPr>
        <p:spPr bwMode="gray">
          <a:xfrm>
            <a:off x="3297238" y="3619500"/>
            <a:ext cx="1281112" cy="314325"/>
          </a:xfrm>
          <a:prstGeom prst="rightArrow">
            <a:avLst>
              <a:gd name="adj1" fmla="val 50000"/>
              <a:gd name="adj2" fmla="val 32285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Block arrow"/>
          <p:cNvSpPr>
            <a:spLocks noChangeArrowheads="1"/>
          </p:cNvSpPr>
          <p:nvPr userDrawn="1"/>
        </p:nvSpPr>
        <p:spPr bwMode="gray">
          <a:xfrm rot="1800000">
            <a:off x="3151188" y="4760913"/>
            <a:ext cx="1460500" cy="312737"/>
          </a:xfrm>
          <a:prstGeom prst="rightArrow">
            <a:avLst>
              <a:gd name="adj1" fmla="val 50000"/>
              <a:gd name="adj2" fmla="val 32301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2"/>
          <p:cNvSpPr>
            <a:spLocks noGrp="1"/>
          </p:cNvSpPr>
          <p:nvPr>
            <p:ph type="body" idx="14"/>
          </p:nvPr>
        </p:nvSpPr>
        <p:spPr>
          <a:xfrm>
            <a:off x="4664968" y="1556792"/>
            <a:ext cx="2878832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/>
          </p:nvPr>
        </p:nvSpPr>
        <p:spPr>
          <a:xfrm>
            <a:off x="4664969" y="3212976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4664969" y="4869160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990600" y="2971800"/>
            <a:ext cx="1872208" cy="1512168"/>
          </a:xfrm>
          <a:prstGeom prst="roundRect">
            <a:avLst/>
          </a:prstGeom>
          <a:solidFill>
            <a:srgbClr val="CD202C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82F1448-7CA2-DB41-AB48-1DA8D6DECB1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322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84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800600"/>
            <a:ext cx="5943600" cy="5667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000" b="0">
                <a:solidFill>
                  <a:scrgbClr r="0" g="0" b="0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914400"/>
            <a:ext cx="5943600" cy="4114800"/>
          </a:xfrm>
        </p:spPr>
        <p:txBody>
          <a:bodyPr rtlCol="0">
            <a:noAutofit/>
          </a:bodyPr>
          <a:lstStyle>
            <a:lvl1pPr marL="0" indent="0">
              <a:buNone/>
              <a:defRPr sz="2800"/>
            </a:lvl1pPr>
            <a:lvl2pPr marL="457148" indent="0">
              <a:buNone/>
              <a:defRPr sz="2800"/>
            </a:lvl2pPr>
            <a:lvl3pPr marL="914296" indent="0">
              <a:buNone/>
              <a:defRPr sz="2300"/>
            </a:lvl3pPr>
            <a:lvl4pPr marL="1371445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pPr lvl="0"/>
            <a:r>
              <a:rPr lang="en-GB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5486400"/>
            <a:ext cx="5943600" cy="581025"/>
          </a:xfr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Arial"/>
                <a:cs typeface="Arial"/>
              </a:defRPr>
            </a:lvl1pPr>
            <a:lvl2pPr marL="457148" indent="0">
              <a:buNone/>
              <a:defRPr sz="1200"/>
            </a:lvl2pPr>
            <a:lvl3pPr marL="914296" indent="0">
              <a:buNone/>
              <a:defRPr sz="1100"/>
            </a:lvl3pPr>
            <a:lvl4pPr marL="1371445" indent="0">
              <a:buNone/>
              <a:defRPr sz="900"/>
            </a:lvl4pPr>
            <a:lvl5pPr marL="1828592" indent="0">
              <a:buNone/>
              <a:defRPr sz="900"/>
            </a:lvl5pPr>
            <a:lvl6pPr marL="2285740" indent="0">
              <a:buNone/>
              <a:defRPr sz="900"/>
            </a:lvl6pPr>
            <a:lvl7pPr marL="2742888" indent="0">
              <a:buNone/>
              <a:defRPr sz="900"/>
            </a:lvl7pPr>
            <a:lvl8pPr marL="3200036" indent="0">
              <a:buNone/>
              <a:defRPr sz="900"/>
            </a:lvl8pPr>
            <a:lvl9pPr marL="3657184" indent="0">
              <a:buNone/>
              <a:defRPr sz="9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CF667B3-90EE-234A-9DBF-6E6EDDA4C8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3225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833116" y="1772816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3276600" y="1772816"/>
            <a:ext cx="5867400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6"/>
          </p:nvPr>
        </p:nvSpPr>
        <p:spPr>
          <a:xfrm>
            <a:off x="838200" y="2819400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3276600" y="28194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8"/>
          </p:nvPr>
        </p:nvSpPr>
        <p:spPr>
          <a:xfrm>
            <a:off x="838200" y="3886200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3276600" y="38862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A74B-5B1C-6B40-AA90-EB7F895F24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279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833116" y="1772816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3276600" y="1772816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6"/>
          </p:nvPr>
        </p:nvSpPr>
        <p:spPr>
          <a:xfrm>
            <a:off x="838200" y="26670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3281684" y="26670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8"/>
          </p:nvPr>
        </p:nvSpPr>
        <p:spPr>
          <a:xfrm>
            <a:off x="838200" y="35814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19"/>
          </p:nvPr>
        </p:nvSpPr>
        <p:spPr>
          <a:xfrm>
            <a:off x="3281684" y="35814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0"/>
          </p:nvPr>
        </p:nvSpPr>
        <p:spPr>
          <a:xfrm>
            <a:off x="838200" y="44958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1"/>
          </p:nvPr>
        </p:nvSpPr>
        <p:spPr>
          <a:xfrm>
            <a:off x="3281684" y="44958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F2A542-C784-5E43-B364-D4CA67C522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9130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849288" y="1484784"/>
            <a:ext cx="2808312" cy="792088"/>
          </a:xfrm>
          <a:prstGeom prst="homePlate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3440832" y="1484784"/>
            <a:ext cx="2879428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6096892" y="1484784"/>
            <a:ext cx="2807420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849288" y="2276872"/>
            <a:ext cx="2369514" cy="3671491"/>
          </a:xfrm>
        </p:spPr>
        <p:txBody>
          <a:bodyPr>
            <a:noAutofit/>
          </a:bodyPr>
          <a:lstStyle>
            <a:lvl1pPr marL="180000" indent="-180000">
              <a:buClr>
                <a:srgbClr val="E1202C"/>
              </a:buClr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9"/>
          </p:nvPr>
        </p:nvSpPr>
        <p:spPr>
          <a:xfrm>
            <a:off x="3441129" y="2276872"/>
            <a:ext cx="2519984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6096000" y="2276872"/>
            <a:ext cx="2448272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2D9B2-FA28-3D4B-A4F5-428B0C0543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542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208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Isosceles Triangle 9"/>
          <p:cNvSpPr/>
          <p:nvPr userDrawn="1"/>
        </p:nvSpPr>
        <p:spPr>
          <a:xfrm rot="5400000">
            <a:off x="3471863" y="3578225"/>
            <a:ext cx="3322638" cy="503237"/>
          </a:xfrm>
          <a:prstGeom prst="triangle">
            <a:avLst/>
          </a:prstGeom>
          <a:solidFill>
            <a:srgbClr val="7F7F7F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838200" y="1524000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2163763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5562600" y="1524000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5562600" y="2163763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D19B05-7875-6E42-8DD2-982EA2CFA64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270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1484314"/>
            <a:ext cx="514672" cy="4464050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400" b="0" i="0">
                <a:latin typeface="Arial"/>
                <a:cs typeface="Arial"/>
              </a:defRPr>
            </a:lvl1pPr>
            <a:lvl2pPr>
              <a:defRPr sz="1400">
                <a:latin typeface="Helvetica Neue"/>
                <a:cs typeface="Helvetica Neue"/>
              </a:defRPr>
            </a:lvl2pPr>
            <a:lvl3pPr>
              <a:defRPr sz="1400">
                <a:latin typeface="Helvetica Neue"/>
                <a:cs typeface="Helvetica Neue"/>
              </a:defRPr>
            </a:lvl3pPr>
            <a:lvl4pPr>
              <a:defRPr sz="1400">
                <a:latin typeface="Helvetica Neue"/>
                <a:cs typeface="Helvetica Neue"/>
              </a:defRPr>
            </a:lvl4pPr>
            <a:lvl5pPr>
              <a:defRPr sz="14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5"/>
          </p:nvPr>
        </p:nvSpPr>
        <p:spPr>
          <a:xfrm rot="5400000">
            <a:off x="2608324" y="460904"/>
            <a:ext cx="4463579" cy="6479828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B8B0B-CA2B-984A-ABC9-88DAB902706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4113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2A21FA-3A64-B748-8CBD-68DF574328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205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15925" y="6524625"/>
            <a:ext cx="6049963" cy="2174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73050" y="6453188"/>
            <a:ext cx="64087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The University of Melbourne and The Myer Found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1600200"/>
            <a:ext cx="6298282" cy="1524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AU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3657600"/>
            <a:ext cx="5555332" cy="91095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 i="0" u="none" cap="none" baseline="0">
                <a:solidFill>
                  <a:srgbClr val="FFFFFF"/>
                </a:solidFill>
                <a:latin typeface="Arial"/>
                <a:cs typeface="Arial"/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82498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fld id="{BE6D5805-8940-46C8-8597-EF4B8606F733}" type="datetimeFigureOut">
              <a:rPr lang="en-AU" smtClean="0"/>
              <a:t>5/03/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3B157-221D-4442-B861-127A3760FB7F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9700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64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905000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468016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3480668-BAF1-1546-A4EF-3ACF2BAC9BA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025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7"/>
          <p:cNvSpPr>
            <a:spLocks noChangeArrowheads="1"/>
          </p:cNvSpPr>
          <p:nvPr userDrawn="1"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381877" y="1443362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381877" y="2002627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381877" y="2566329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381877" y="3153282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381877" y="3733626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381877" y="4307960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2381877" y="4882294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050487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ext slide.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301048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61083" y="1233271"/>
            <a:ext cx="449191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5301" y="1523427"/>
            <a:ext cx="44576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145825" y="1233271"/>
            <a:ext cx="445770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145825" y="1523427"/>
            <a:ext cx="4486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461083" y="1644001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5183149" y="1643999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682875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ext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841028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>
          <a:xfrm>
            <a:off x="384574" y="1226409"/>
            <a:ext cx="4457700" cy="4742235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99DEF9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373518" y="1573103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8" name="Rectangle 27"/>
          <p:cNvSpPr>
            <a:spLocks/>
          </p:cNvSpPr>
          <p:nvPr userDrawn="1"/>
        </p:nvSpPr>
        <p:spPr>
          <a:xfrm>
            <a:off x="364674" y="1223958"/>
            <a:ext cx="4457700" cy="335605"/>
          </a:xfrm>
          <a:prstGeom prst="rect">
            <a:avLst/>
          </a:prstGeom>
          <a:solidFill>
            <a:srgbClr val="D9D9D9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370202" y="1235047"/>
            <a:ext cx="4462122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Rectangle 29"/>
          <p:cNvSpPr>
            <a:spLocks/>
          </p:cNvSpPr>
          <p:nvPr userDrawn="1"/>
        </p:nvSpPr>
        <p:spPr>
          <a:xfrm>
            <a:off x="5070023" y="1243836"/>
            <a:ext cx="4457700" cy="4742235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99DEF9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070023" y="1580045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Rectangle 31"/>
          <p:cNvSpPr>
            <a:spLocks/>
          </p:cNvSpPr>
          <p:nvPr userDrawn="1"/>
        </p:nvSpPr>
        <p:spPr>
          <a:xfrm>
            <a:off x="5052334" y="1223957"/>
            <a:ext cx="4457700" cy="335605"/>
          </a:xfrm>
          <a:prstGeom prst="rect">
            <a:avLst/>
          </a:prstGeom>
          <a:solidFill>
            <a:srgbClr val="D9D9D9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5052334" y="1224999"/>
            <a:ext cx="4462122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68232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>
          <a:xfrm>
            <a:off x="457025" y="915685"/>
            <a:ext cx="8957554" cy="48149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531412" y="1111382"/>
            <a:ext cx="3528275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31411" y="1412875"/>
            <a:ext cx="3528275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6"/>
          </p:nvPr>
        </p:nvSpPr>
        <p:spPr>
          <a:xfrm>
            <a:off x="531411" y="1787947"/>
            <a:ext cx="8543925" cy="1387559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566582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hart slide.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 userDrawn="1">
            <p:extLst/>
          </p:nvPr>
        </p:nvGraphicFramePr>
        <p:xfrm>
          <a:off x="195150" y="1357314"/>
          <a:ext cx="4445420" cy="4544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5" name="AutoShape 249"/>
          <p:cNvCxnSpPr>
            <a:cxnSpLocks noChangeShapeType="1"/>
          </p:cNvCxnSpPr>
          <p:nvPr/>
        </p:nvCxnSpPr>
        <p:spPr bwMode="auto">
          <a:xfrm>
            <a:off x="304404" y="-355812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 Placeholder 35"/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8607558" y="1628776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3" name="Text Placeholder 34"/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8607559" y="1357314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195151" y="1022722"/>
            <a:ext cx="444542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5" name="AutoShape 249"/>
          <p:cNvCxnSpPr>
            <a:cxnSpLocks noChangeShapeType="1"/>
          </p:cNvCxnSpPr>
          <p:nvPr userDrawn="1"/>
        </p:nvCxnSpPr>
        <p:spPr bwMode="auto">
          <a:xfrm>
            <a:off x="249777" y="1309200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5041690" y="1021189"/>
            <a:ext cx="444542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AutoShape 249"/>
          <p:cNvCxnSpPr>
            <a:cxnSpLocks noChangeShapeType="1"/>
          </p:cNvCxnSpPr>
          <p:nvPr userDrawn="1"/>
        </p:nvCxnSpPr>
        <p:spPr bwMode="auto">
          <a:xfrm>
            <a:off x="5057908" y="1307667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9" name="Chart 38"/>
          <p:cNvGraphicFramePr>
            <a:graphicFrameLocks/>
          </p:cNvGraphicFramePr>
          <p:nvPr userDrawn="1">
            <p:extLst/>
          </p:nvPr>
        </p:nvGraphicFramePr>
        <p:xfrm>
          <a:off x="5001226" y="1377281"/>
          <a:ext cx="4336167" cy="4523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1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078867" y="1955856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256411" y="1961725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52781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hart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299711" y="987269"/>
            <a:ext cx="9318137" cy="4946516"/>
            <a:chOff x="282095" y="1172182"/>
            <a:chExt cx="8350731" cy="4946516"/>
          </a:xfrm>
        </p:grpSpPr>
        <p:sp>
          <p:nvSpPr>
            <p:cNvPr id="25" name="Rectangle 24"/>
            <p:cNvSpPr>
              <a:spLocks/>
            </p:cNvSpPr>
            <p:nvPr/>
          </p:nvSpPr>
          <p:spPr>
            <a:xfrm>
              <a:off x="282096" y="1172182"/>
              <a:ext cx="4114800" cy="494651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99DEF9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" name="Rectangle 25"/>
            <p:cNvSpPr>
              <a:spLocks/>
            </p:cNvSpPr>
            <p:nvPr/>
          </p:nvSpPr>
          <p:spPr>
            <a:xfrm>
              <a:off x="4518026" y="1172182"/>
              <a:ext cx="4114800" cy="494651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99DEF9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angle 26"/>
            <p:cNvSpPr>
              <a:spLocks/>
            </p:cNvSpPr>
            <p:nvPr/>
          </p:nvSpPr>
          <p:spPr>
            <a:xfrm>
              <a:off x="282095" y="1180203"/>
              <a:ext cx="4114800" cy="433387"/>
            </a:xfrm>
            <a:prstGeom prst="rect">
              <a:avLst/>
            </a:prstGeom>
            <a:solidFill>
              <a:srgbClr val="D9D9D9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" name="Rectangle 27"/>
            <p:cNvSpPr>
              <a:spLocks/>
            </p:cNvSpPr>
            <p:nvPr/>
          </p:nvSpPr>
          <p:spPr>
            <a:xfrm>
              <a:off x="4518026" y="1172182"/>
              <a:ext cx="4114800" cy="433387"/>
            </a:xfrm>
            <a:prstGeom prst="rect">
              <a:avLst/>
            </a:prstGeom>
            <a:solidFill>
              <a:srgbClr val="D9D9D9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sp>
        <p:nvSpPr>
          <p:cNvPr id="30" name="Text Placeholder 10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3338117" y="2635251"/>
            <a:ext cx="177139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A6A6A6"/>
              </a:buClr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1" name="Text Placeholder 9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41438" y="2635251"/>
            <a:ext cx="177139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A6A6A6"/>
              </a:buClr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2" name="Text Placeholder 7"/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3962400" y="1765301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3" name="Text Placeholder 6"/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3962401" y="1493839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5" name="Text Placeholder 35"/>
          <p:cNvSpPr>
            <a:spLocks noGrp="1"/>
          </p:cNvSpPr>
          <p:nvPr userDrawn="1">
            <p:custDataLst>
              <p:tags r:id="rId5"/>
            </p:custDataLst>
          </p:nvPr>
        </p:nvSpPr>
        <p:spPr bwMode="auto">
          <a:xfrm>
            <a:off x="8757179" y="1765301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6" name="Text Placeholder 34"/>
          <p:cNvSpPr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8757180" y="1493839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314723" y="1046997"/>
            <a:ext cx="4591844" cy="31393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051850" y="1058192"/>
            <a:ext cx="4591844" cy="31393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6"/>
          </p:nvPr>
        </p:nvSpPr>
        <p:spPr>
          <a:xfrm>
            <a:off x="314366" y="1886225"/>
            <a:ext cx="4419865" cy="1429109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27"/>
          </p:nvPr>
        </p:nvSpPr>
        <p:spPr>
          <a:xfrm>
            <a:off x="5049702" y="1886225"/>
            <a:ext cx="4459420" cy="126291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14366" y="1431234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5049702" y="1445421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322695" y="1642370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055229" y="1641751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0010878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286642" y="845179"/>
          <a:ext cx="9226118" cy="5205125"/>
        </p:xfrm>
        <a:graphic>
          <a:graphicData uri="http://schemas.openxmlformats.org/drawingml/2006/table">
            <a:tbl>
              <a:tblPr firstRow="1" bandRow="1"/>
              <a:tblGrid>
                <a:gridCol w="2081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93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352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0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8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85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232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4"/>
          </p:nvPr>
        </p:nvSpPr>
        <p:spPr>
          <a:xfrm>
            <a:off x="2307411" y="946716"/>
            <a:ext cx="3441607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2pPr>
            <a:lvl3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3pPr>
            <a:lvl4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4pPr>
            <a:lvl5pPr>
              <a:defRPr lang="en-AU" sz="1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5"/>
          </p:nvPr>
        </p:nvSpPr>
        <p:spPr>
          <a:xfrm>
            <a:off x="5976184" y="937640"/>
            <a:ext cx="343196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2pPr>
            <a:lvl3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3pPr>
            <a:lvl4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4pPr>
            <a:lvl5pPr>
              <a:defRPr lang="en-AU" sz="1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6"/>
          </p:nvPr>
        </p:nvSpPr>
        <p:spPr>
          <a:xfrm>
            <a:off x="2431785" y="1519239"/>
            <a:ext cx="3317479" cy="117981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7"/>
          </p:nvPr>
        </p:nvSpPr>
        <p:spPr>
          <a:xfrm>
            <a:off x="6090671" y="1519238"/>
            <a:ext cx="3317479" cy="117981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00250" indent="-1714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8"/>
          </p:nvPr>
        </p:nvSpPr>
        <p:spPr>
          <a:xfrm>
            <a:off x="365768" y="1952271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3"/>
          <p:cNvSpPr>
            <a:spLocks noGrp="1"/>
          </p:cNvSpPr>
          <p:nvPr>
            <p:ph sz="quarter" idx="29"/>
          </p:nvPr>
        </p:nvSpPr>
        <p:spPr>
          <a:xfrm>
            <a:off x="365768" y="3397475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3"/>
          <p:cNvSpPr>
            <a:spLocks noGrp="1"/>
          </p:cNvSpPr>
          <p:nvPr>
            <p:ph sz="quarter" idx="30"/>
          </p:nvPr>
        </p:nvSpPr>
        <p:spPr>
          <a:xfrm>
            <a:off x="365768" y="4950356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028127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cK 5. Source"/>
          <p:cNvSpPr>
            <a:spLocks noChangeArrowheads="1"/>
          </p:cNvSpPr>
          <p:nvPr userDrawn="1"/>
        </p:nvSpPr>
        <p:spPr bwMode="auto">
          <a:xfrm>
            <a:off x="131613" y="6566447"/>
            <a:ext cx="7586118" cy="155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SOURCE: Source</a:t>
            </a:r>
          </a:p>
        </p:txBody>
      </p:sp>
      <p:graphicFrame>
        <p:nvGraphicFramePr>
          <p:cNvPr id="28" name="Table 27"/>
          <p:cNvGraphicFramePr>
            <a:graphicFrameLocks noGrp="1"/>
          </p:cNvGraphicFramePr>
          <p:nvPr userDrawn="1">
            <p:extLst/>
          </p:nvPr>
        </p:nvGraphicFramePr>
        <p:xfrm>
          <a:off x="495301" y="857655"/>
          <a:ext cx="9076073" cy="5257797"/>
        </p:xfrm>
        <a:graphic>
          <a:graphicData uri="http://schemas.openxmlformats.org/drawingml/2006/table">
            <a:tbl>
              <a:tblPr firstRow="1" bandRow="1"/>
              <a:tblGrid>
                <a:gridCol w="1853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6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5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89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l" defTabSz="932962" rtl="0" eaLnBrk="1" latinLnBrk="0" hangingPunct="1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AU" sz="14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530" marR="4953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l" defTabSz="932962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AU" sz="14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AU" sz="1400" b="1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</a:t>
                      </a:r>
                      <a:r>
                        <a:rPr lang="en-AU" sz="14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move</a:t>
                      </a:r>
                      <a:endParaRPr lang="en-AU" sz="1400" b="1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941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ctr" defTabSz="932962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To edit this page, please edit through Slide Master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936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4941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/Medium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9" name="Oval 28"/>
          <p:cNvSpPr/>
          <p:nvPr userDrawn="1"/>
        </p:nvSpPr>
        <p:spPr>
          <a:xfrm>
            <a:off x="313561" y="1977985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1</a:t>
            </a:r>
          </a:p>
        </p:txBody>
      </p:sp>
      <p:sp>
        <p:nvSpPr>
          <p:cNvPr id="30" name="Oval 29"/>
          <p:cNvSpPr/>
          <p:nvPr userDrawn="1"/>
        </p:nvSpPr>
        <p:spPr>
          <a:xfrm>
            <a:off x="313561" y="3547376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2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313561" y="5157305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3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</p:nvPr>
        </p:nvSpPr>
        <p:spPr>
          <a:xfrm>
            <a:off x="866776" y="1795463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5"/>
          </p:nvPr>
        </p:nvSpPr>
        <p:spPr>
          <a:xfrm>
            <a:off x="866775" y="3409384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26"/>
          </p:nvPr>
        </p:nvSpPr>
        <p:spPr>
          <a:xfrm>
            <a:off x="866773" y="4984014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98430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>
            <a:spLocks/>
          </p:cNvSpPr>
          <p:nvPr userDrawn="1"/>
        </p:nvSpPr>
        <p:spPr bwMode="auto">
          <a:xfrm>
            <a:off x="321012" y="980526"/>
            <a:ext cx="9306129" cy="5091524"/>
          </a:xfrm>
          <a:prstGeom prst="rect">
            <a:avLst/>
          </a:prstGeom>
          <a:solidFill>
            <a:srgbClr val="A6A6A6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65102" y="6484721"/>
            <a:ext cx="8071157" cy="248075"/>
          </a:xfrm>
          <a:prstGeom prst="rect">
            <a:avLst/>
          </a:prstGeom>
          <a:noFill/>
        </p:spPr>
        <p:txBody>
          <a:bodyPr wrap="square" lIns="93276" tIns="46638" rIns="93276" bIns="46638" rtlCol="0">
            <a:spAutoFit/>
          </a:bodyPr>
          <a:lstStyle/>
          <a:p>
            <a:pPr defTabSz="914400"/>
            <a:r>
              <a:rPr lang="en-AU" sz="1000" dirty="0">
                <a:solidFill>
                  <a:srgbClr val="000000"/>
                </a:solidFill>
                <a:latin typeface="Arial"/>
                <a:ea typeface="ＭＳ Ｐゴシック"/>
                <a:cs typeface="Arial" panose="020B0604020202020204" pitchFamily="34" charset="0"/>
              </a:rPr>
              <a:t>SOURCE: </a:t>
            </a: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Arial" panose="020B0604020202020204" pitchFamily="34" charset="0"/>
              </a:rPr>
              <a:t>XXX</a:t>
            </a:r>
          </a:p>
        </p:txBody>
      </p:sp>
      <p:pic>
        <p:nvPicPr>
          <p:cNvPr id="20" name="Picture 4" descr="Papier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5301" y="1957581"/>
            <a:ext cx="4478776" cy="3120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Papier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4077" y="1957581"/>
            <a:ext cx="4478776" cy="3120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</p:nvPr>
        </p:nvSpPr>
        <p:spPr>
          <a:xfrm>
            <a:off x="381081" y="1073042"/>
            <a:ext cx="340469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 dirty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quarter" idx="25"/>
          </p:nvPr>
        </p:nvSpPr>
        <p:spPr>
          <a:xfrm>
            <a:off x="5264106" y="2392997"/>
            <a:ext cx="3789208" cy="2585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cap="none" spc="0">
                <a:ln w="0"/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quarter" idx="26"/>
          </p:nvPr>
        </p:nvSpPr>
        <p:spPr>
          <a:xfrm>
            <a:off x="830045" y="2392997"/>
            <a:ext cx="3744493" cy="2585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cap="none" spc="0">
                <a:ln w="0"/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74490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lide Number Placeholder 15"/>
          <p:cNvSpPr txBox="1">
            <a:spLocks/>
          </p:cNvSpPr>
          <p:nvPr userDrawn="1"/>
        </p:nvSpPr>
        <p:spPr>
          <a:xfrm>
            <a:off x="9414650" y="6560196"/>
            <a:ext cx="230760" cy="157014"/>
          </a:xfrm>
          <a:prstGeom prst="rect">
            <a:avLst/>
          </a:prstGeom>
        </p:spPr>
        <p:txBody>
          <a:bodyPr lIns="93296" tIns="46648" rIns="93296" bIns="46648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lang="en-GB" sz="1600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94" name="Group 193"/>
          <p:cNvGrpSpPr/>
          <p:nvPr userDrawn="1"/>
        </p:nvGrpSpPr>
        <p:grpSpPr>
          <a:xfrm>
            <a:off x="42186" y="1300657"/>
            <a:ext cx="9781337" cy="4611413"/>
            <a:chOff x="38941" y="1300656"/>
            <a:chExt cx="9028926" cy="4611413"/>
          </a:xfrm>
          <a:solidFill>
            <a:srgbClr val="A6A6A6"/>
          </a:solidFill>
        </p:grpSpPr>
        <p:sp>
          <p:nvSpPr>
            <p:cNvPr id="195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205108" y="3313998"/>
              <a:ext cx="515109" cy="500502"/>
            </a:xfrm>
            <a:custGeom>
              <a:avLst/>
              <a:gdLst>
                <a:gd name="T0" fmla="*/ 192 w 313"/>
                <a:gd name="T1" fmla="*/ 306 h 309"/>
                <a:gd name="T2" fmla="*/ 171 w 313"/>
                <a:gd name="T3" fmla="*/ 294 h 309"/>
                <a:gd name="T4" fmla="*/ 131 w 313"/>
                <a:gd name="T5" fmla="*/ 264 h 309"/>
                <a:gd name="T6" fmla="*/ 102 w 313"/>
                <a:gd name="T7" fmla="*/ 246 h 309"/>
                <a:gd name="T8" fmla="*/ 86 w 313"/>
                <a:gd name="T9" fmla="*/ 231 h 309"/>
                <a:gd name="T10" fmla="*/ 45 w 313"/>
                <a:gd name="T11" fmla="*/ 205 h 309"/>
                <a:gd name="T12" fmla="*/ 17 w 313"/>
                <a:gd name="T13" fmla="*/ 187 h 309"/>
                <a:gd name="T14" fmla="*/ 15 w 313"/>
                <a:gd name="T15" fmla="*/ 180 h 309"/>
                <a:gd name="T16" fmla="*/ 0 w 313"/>
                <a:gd name="T17" fmla="*/ 165 h 309"/>
                <a:gd name="T18" fmla="*/ 14 w 313"/>
                <a:gd name="T19" fmla="*/ 147 h 309"/>
                <a:gd name="T20" fmla="*/ 24 w 313"/>
                <a:gd name="T21" fmla="*/ 139 h 309"/>
                <a:gd name="T22" fmla="*/ 38 w 313"/>
                <a:gd name="T23" fmla="*/ 138 h 309"/>
                <a:gd name="T24" fmla="*/ 53 w 313"/>
                <a:gd name="T25" fmla="*/ 129 h 309"/>
                <a:gd name="T26" fmla="*/ 62 w 313"/>
                <a:gd name="T27" fmla="*/ 120 h 309"/>
                <a:gd name="T28" fmla="*/ 77 w 313"/>
                <a:gd name="T29" fmla="*/ 114 h 309"/>
                <a:gd name="T30" fmla="*/ 89 w 313"/>
                <a:gd name="T31" fmla="*/ 102 h 309"/>
                <a:gd name="T32" fmla="*/ 92 w 313"/>
                <a:gd name="T33" fmla="*/ 91 h 309"/>
                <a:gd name="T34" fmla="*/ 108 w 313"/>
                <a:gd name="T35" fmla="*/ 90 h 309"/>
                <a:gd name="T36" fmla="*/ 110 w 313"/>
                <a:gd name="T37" fmla="*/ 73 h 309"/>
                <a:gd name="T38" fmla="*/ 110 w 313"/>
                <a:gd name="T39" fmla="*/ 44 h 309"/>
                <a:gd name="T40" fmla="*/ 116 w 313"/>
                <a:gd name="T41" fmla="*/ 33 h 309"/>
                <a:gd name="T42" fmla="*/ 131 w 313"/>
                <a:gd name="T43" fmla="*/ 28 h 309"/>
                <a:gd name="T44" fmla="*/ 149 w 313"/>
                <a:gd name="T45" fmla="*/ 18 h 309"/>
                <a:gd name="T46" fmla="*/ 188 w 313"/>
                <a:gd name="T47" fmla="*/ 12 h 309"/>
                <a:gd name="T48" fmla="*/ 228 w 313"/>
                <a:gd name="T49" fmla="*/ 19 h 309"/>
                <a:gd name="T50" fmla="*/ 222 w 313"/>
                <a:gd name="T51" fmla="*/ 9 h 309"/>
                <a:gd name="T52" fmla="*/ 258 w 313"/>
                <a:gd name="T53" fmla="*/ 18 h 309"/>
                <a:gd name="T54" fmla="*/ 251 w 313"/>
                <a:gd name="T55" fmla="*/ 52 h 309"/>
                <a:gd name="T56" fmla="*/ 254 w 313"/>
                <a:gd name="T57" fmla="*/ 84 h 309"/>
                <a:gd name="T58" fmla="*/ 255 w 313"/>
                <a:gd name="T59" fmla="*/ 90 h 309"/>
                <a:gd name="T60" fmla="*/ 260 w 313"/>
                <a:gd name="T61" fmla="*/ 91 h 309"/>
                <a:gd name="T62" fmla="*/ 270 w 313"/>
                <a:gd name="T63" fmla="*/ 102 h 309"/>
                <a:gd name="T64" fmla="*/ 281 w 313"/>
                <a:gd name="T65" fmla="*/ 111 h 309"/>
                <a:gd name="T66" fmla="*/ 279 w 313"/>
                <a:gd name="T67" fmla="*/ 142 h 309"/>
                <a:gd name="T68" fmla="*/ 279 w 313"/>
                <a:gd name="T69" fmla="*/ 154 h 309"/>
                <a:gd name="T70" fmla="*/ 288 w 313"/>
                <a:gd name="T71" fmla="*/ 181 h 309"/>
                <a:gd name="T72" fmla="*/ 272 w 313"/>
                <a:gd name="T73" fmla="*/ 198 h 309"/>
                <a:gd name="T74" fmla="*/ 281 w 313"/>
                <a:gd name="T75" fmla="*/ 211 h 309"/>
                <a:gd name="T76" fmla="*/ 296 w 313"/>
                <a:gd name="T77" fmla="*/ 226 h 309"/>
                <a:gd name="T78" fmla="*/ 305 w 313"/>
                <a:gd name="T79" fmla="*/ 232 h 309"/>
                <a:gd name="T80" fmla="*/ 290 w 313"/>
                <a:gd name="T81" fmla="*/ 250 h 309"/>
                <a:gd name="T82" fmla="*/ 273 w 313"/>
                <a:gd name="T83" fmla="*/ 256 h 309"/>
                <a:gd name="T84" fmla="*/ 258 w 313"/>
                <a:gd name="T85" fmla="*/ 265 h 309"/>
                <a:gd name="T86" fmla="*/ 246 w 313"/>
                <a:gd name="T87" fmla="*/ 280 h 309"/>
                <a:gd name="T88" fmla="*/ 237 w 313"/>
                <a:gd name="T89" fmla="*/ 286 h 309"/>
                <a:gd name="T90" fmla="*/ 218 w 313"/>
                <a:gd name="T91" fmla="*/ 304 h 309"/>
                <a:gd name="T92" fmla="*/ 192 w 313"/>
                <a:gd name="T93" fmla="*/ 30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3" h="309">
                  <a:moveTo>
                    <a:pt x="192" y="306"/>
                  </a:moveTo>
                  <a:cubicBezTo>
                    <a:pt x="176" y="303"/>
                    <a:pt x="184" y="296"/>
                    <a:pt x="171" y="294"/>
                  </a:cubicBezTo>
                  <a:cubicBezTo>
                    <a:pt x="161" y="287"/>
                    <a:pt x="142" y="272"/>
                    <a:pt x="131" y="264"/>
                  </a:cubicBezTo>
                  <a:cubicBezTo>
                    <a:pt x="123" y="257"/>
                    <a:pt x="109" y="251"/>
                    <a:pt x="102" y="246"/>
                  </a:cubicBezTo>
                  <a:cubicBezTo>
                    <a:pt x="100" y="245"/>
                    <a:pt x="89" y="233"/>
                    <a:pt x="86" y="231"/>
                  </a:cubicBezTo>
                  <a:cubicBezTo>
                    <a:pt x="72" y="222"/>
                    <a:pt x="58" y="215"/>
                    <a:pt x="45" y="205"/>
                  </a:cubicBezTo>
                  <a:cubicBezTo>
                    <a:pt x="37" y="199"/>
                    <a:pt x="28" y="189"/>
                    <a:pt x="17" y="187"/>
                  </a:cubicBezTo>
                  <a:cubicBezTo>
                    <a:pt x="11" y="182"/>
                    <a:pt x="18" y="184"/>
                    <a:pt x="15" y="180"/>
                  </a:cubicBezTo>
                  <a:cubicBezTo>
                    <a:pt x="12" y="176"/>
                    <a:pt x="0" y="170"/>
                    <a:pt x="0" y="165"/>
                  </a:cubicBezTo>
                  <a:cubicBezTo>
                    <a:pt x="0" y="160"/>
                    <a:pt x="10" y="151"/>
                    <a:pt x="14" y="147"/>
                  </a:cubicBezTo>
                  <a:cubicBezTo>
                    <a:pt x="17" y="141"/>
                    <a:pt x="20" y="140"/>
                    <a:pt x="24" y="139"/>
                  </a:cubicBezTo>
                  <a:cubicBezTo>
                    <a:pt x="28" y="138"/>
                    <a:pt x="33" y="140"/>
                    <a:pt x="38" y="138"/>
                  </a:cubicBezTo>
                  <a:cubicBezTo>
                    <a:pt x="45" y="135"/>
                    <a:pt x="49" y="132"/>
                    <a:pt x="53" y="129"/>
                  </a:cubicBezTo>
                  <a:cubicBezTo>
                    <a:pt x="57" y="126"/>
                    <a:pt x="58" y="123"/>
                    <a:pt x="62" y="120"/>
                  </a:cubicBezTo>
                  <a:cubicBezTo>
                    <a:pt x="64" y="117"/>
                    <a:pt x="75" y="117"/>
                    <a:pt x="77" y="114"/>
                  </a:cubicBezTo>
                  <a:cubicBezTo>
                    <a:pt x="81" y="111"/>
                    <a:pt x="87" y="106"/>
                    <a:pt x="89" y="102"/>
                  </a:cubicBezTo>
                  <a:cubicBezTo>
                    <a:pt x="91" y="98"/>
                    <a:pt x="89" y="93"/>
                    <a:pt x="92" y="91"/>
                  </a:cubicBezTo>
                  <a:cubicBezTo>
                    <a:pt x="97" y="89"/>
                    <a:pt x="101" y="91"/>
                    <a:pt x="108" y="90"/>
                  </a:cubicBezTo>
                  <a:cubicBezTo>
                    <a:pt x="110" y="81"/>
                    <a:pt x="112" y="82"/>
                    <a:pt x="110" y="73"/>
                  </a:cubicBezTo>
                  <a:cubicBezTo>
                    <a:pt x="110" y="65"/>
                    <a:pt x="109" y="51"/>
                    <a:pt x="110" y="44"/>
                  </a:cubicBezTo>
                  <a:cubicBezTo>
                    <a:pt x="111" y="37"/>
                    <a:pt x="112" y="36"/>
                    <a:pt x="116" y="33"/>
                  </a:cubicBezTo>
                  <a:cubicBezTo>
                    <a:pt x="118" y="22"/>
                    <a:pt x="123" y="26"/>
                    <a:pt x="131" y="28"/>
                  </a:cubicBezTo>
                  <a:cubicBezTo>
                    <a:pt x="136" y="21"/>
                    <a:pt x="141" y="20"/>
                    <a:pt x="149" y="18"/>
                  </a:cubicBezTo>
                  <a:cubicBezTo>
                    <a:pt x="161" y="9"/>
                    <a:pt x="169" y="13"/>
                    <a:pt x="188" y="12"/>
                  </a:cubicBezTo>
                  <a:cubicBezTo>
                    <a:pt x="200" y="3"/>
                    <a:pt x="215" y="17"/>
                    <a:pt x="228" y="19"/>
                  </a:cubicBezTo>
                  <a:cubicBezTo>
                    <a:pt x="239" y="23"/>
                    <a:pt x="227" y="15"/>
                    <a:pt x="222" y="9"/>
                  </a:cubicBezTo>
                  <a:cubicBezTo>
                    <a:pt x="237" y="0"/>
                    <a:pt x="282" y="4"/>
                    <a:pt x="258" y="18"/>
                  </a:cubicBezTo>
                  <a:cubicBezTo>
                    <a:pt x="251" y="27"/>
                    <a:pt x="263" y="43"/>
                    <a:pt x="251" y="52"/>
                  </a:cubicBezTo>
                  <a:cubicBezTo>
                    <a:pt x="248" y="64"/>
                    <a:pt x="245" y="75"/>
                    <a:pt x="254" y="84"/>
                  </a:cubicBezTo>
                  <a:cubicBezTo>
                    <a:pt x="254" y="86"/>
                    <a:pt x="254" y="88"/>
                    <a:pt x="255" y="90"/>
                  </a:cubicBezTo>
                  <a:cubicBezTo>
                    <a:pt x="256" y="91"/>
                    <a:pt x="259" y="90"/>
                    <a:pt x="260" y="91"/>
                  </a:cubicBezTo>
                  <a:cubicBezTo>
                    <a:pt x="262" y="93"/>
                    <a:pt x="269" y="99"/>
                    <a:pt x="270" y="102"/>
                  </a:cubicBezTo>
                  <a:cubicBezTo>
                    <a:pt x="271" y="108"/>
                    <a:pt x="278" y="105"/>
                    <a:pt x="281" y="111"/>
                  </a:cubicBezTo>
                  <a:cubicBezTo>
                    <a:pt x="282" y="117"/>
                    <a:pt x="279" y="135"/>
                    <a:pt x="279" y="142"/>
                  </a:cubicBezTo>
                  <a:cubicBezTo>
                    <a:pt x="279" y="149"/>
                    <a:pt x="278" y="148"/>
                    <a:pt x="279" y="154"/>
                  </a:cubicBezTo>
                  <a:cubicBezTo>
                    <a:pt x="280" y="160"/>
                    <a:pt x="289" y="174"/>
                    <a:pt x="288" y="181"/>
                  </a:cubicBezTo>
                  <a:cubicBezTo>
                    <a:pt x="287" y="188"/>
                    <a:pt x="273" y="193"/>
                    <a:pt x="272" y="198"/>
                  </a:cubicBezTo>
                  <a:cubicBezTo>
                    <a:pt x="275" y="202"/>
                    <a:pt x="278" y="207"/>
                    <a:pt x="281" y="211"/>
                  </a:cubicBezTo>
                  <a:cubicBezTo>
                    <a:pt x="283" y="220"/>
                    <a:pt x="288" y="225"/>
                    <a:pt x="296" y="226"/>
                  </a:cubicBezTo>
                  <a:cubicBezTo>
                    <a:pt x="303" y="230"/>
                    <a:pt x="296" y="228"/>
                    <a:pt x="305" y="232"/>
                  </a:cubicBezTo>
                  <a:cubicBezTo>
                    <a:pt x="313" y="242"/>
                    <a:pt x="295" y="250"/>
                    <a:pt x="290" y="250"/>
                  </a:cubicBezTo>
                  <a:cubicBezTo>
                    <a:pt x="283" y="253"/>
                    <a:pt x="280" y="253"/>
                    <a:pt x="273" y="256"/>
                  </a:cubicBezTo>
                  <a:cubicBezTo>
                    <a:pt x="268" y="263"/>
                    <a:pt x="267" y="263"/>
                    <a:pt x="258" y="265"/>
                  </a:cubicBezTo>
                  <a:cubicBezTo>
                    <a:pt x="254" y="268"/>
                    <a:pt x="250" y="277"/>
                    <a:pt x="246" y="280"/>
                  </a:cubicBezTo>
                  <a:cubicBezTo>
                    <a:pt x="243" y="286"/>
                    <a:pt x="244" y="285"/>
                    <a:pt x="237" y="286"/>
                  </a:cubicBezTo>
                  <a:cubicBezTo>
                    <a:pt x="231" y="290"/>
                    <a:pt x="225" y="303"/>
                    <a:pt x="218" y="304"/>
                  </a:cubicBezTo>
                  <a:cubicBezTo>
                    <a:pt x="211" y="309"/>
                    <a:pt x="200" y="306"/>
                    <a:pt x="192" y="30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6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652183" y="3440338"/>
              <a:ext cx="388762" cy="362823"/>
            </a:xfrm>
            <a:custGeom>
              <a:avLst/>
              <a:gdLst>
                <a:gd name="T0" fmla="*/ 6 w 236"/>
                <a:gd name="T1" fmla="*/ 43 h 224"/>
                <a:gd name="T2" fmla="*/ 16 w 236"/>
                <a:gd name="T3" fmla="*/ 22 h 224"/>
                <a:gd name="T4" fmla="*/ 28 w 236"/>
                <a:gd name="T5" fmla="*/ 15 h 224"/>
                <a:gd name="T6" fmla="*/ 48 w 236"/>
                <a:gd name="T7" fmla="*/ 0 h 224"/>
                <a:gd name="T8" fmla="*/ 85 w 236"/>
                <a:gd name="T9" fmla="*/ 6 h 224"/>
                <a:gd name="T10" fmla="*/ 118 w 236"/>
                <a:gd name="T11" fmla="*/ 30 h 224"/>
                <a:gd name="T12" fmla="*/ 142 w 236"/>
                <a:gd name="T13" fmla="*/ 40 h 224"/>
                <a:gd name="T14" fmla="*/ 150 w 236"/>
                <a:gd name="T15" fmla="*/ 43 h 224"/>
                <a:gd name="T16" fmla="*/ 160 w 236"/>
                <a:gd name="T17" fmla="*/ 30 h 224"/>
                <a:gd name="T18" fmla="*/ 156 w 236"/>
                <a:gd name="T19" fmla="*/ 13 h 224"/>
                <a:gd name="T20" fmla="*/ 174 w 236"/>
                <a:gd name="T21" fmla="*/ 3 h 224"/>
                <a:gd name="T22" fmla="*/ 213 w 236"/>
                <a:gd name="T23" fmla="*/ 12 h 224"/>
                <a:gd name="T24" fmla="*/ 226 w 236"/>
                <a:gd name="T25" fmla="*/ 21 h 224"/>
                <a:gd name="T26" fmla="*/ 228 w 236"/>
                <a:gd name="T27" fmla="*/ 34 h 224"/>
                <a:gd name="T28" fmla="*/ 229 w 236"/>
                <a:gd name="T29" fmla="*/ 66 h 224"/>
                <a:gd name="T30" fmla="*/ 231 w 236"/>
                <a:gd name="T31" fmla="*/ 183 h 224"/>
                <a:gd name="T32" fmla="*/ 232 w 236"/>
                <a:gd name="T33" fmla="*/ 217 h 224"/>
                <a:gd name="T34" fmla="*/ 208 w 236"/>
                <a:gd name="T35" fmla="*/ 223 h 224"/>
                <a:gd name="T36" fmla="*/ 186 w 236"/>
                <a:gd name="T37" fmla="*/ 208 h 224"/>
                <a:gd name="T38" fmla="*/ 168 w 236"/>
                <a:gd name="T39" fmla="*/ 198 h 224"/>
                <a:gd name="T40" fmla="*/ 153 w 236"/>
                <a:gd name="T41" fmla="*/ 195 h 224"/>
                <a:gd name="T42" fmla="*/ 145 w 236"/>
                <a:gd name="T43" fmla="*/ 187 h 224"/>
                <a:gd name="T44" fmla="*/ 129 w 236"/>
                <a:gd name="T45" fmla="*/ 175 h 224"/>
                <a:gd name="T46" fmla="*/ 103 w 236"/>
                <a:gd name="T47" fmla="*/ 168 h 224"/>
                <a:gd name="T48" fmla="*/ 78 w 236"/>
                <a:gd name="T49" fmla="*/ 171 h 224"/>
                <a:gd name="T50" fmla="*/ 58 w 236"/>
                <a:gd name="T51" fmla="*/ 163 h 224"/>
                <a:gd name="T52" fmla="*/ 39 w 236"/>
                <a:gd name="T53" fmla="*/ 160 h 224"/>
                <a:gd name="T54" fmla="*/ 12 w 236"/>
                <a:gd name="T55" fmla="*/ 139 h 224"/>
                <a:gd name="T56" fmla="*/ 1 w 236"/>
                <a:gd name="T57" fmla="*/ 127 h 224"/>
                <a:gd name="T58" fmla="*/ 15 w 236"/>
                <a:gd name="T59" fmla="*/ 106 h 224"/>
                <a:gd name="T60" fmla="*/ 7 w 236"/>
                <a:gd name="T61" fmla="*/ 73 h 224"/>
                <a:gd name="T62" fmla="*/ 6 w 236"/>
                <a:gd name="T63" fmla="*/ 4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4">
                  <a:moveTo>
                    <a:pt x="6" y="43"/>
                  </a:moveTo>
                  <a:cubicBezTo>
                    <a:pt x="8" y="35"/>
                    <a:pt x="12" y="27"/>
                    <a:pt x="16" y="22"/>
                  </a:cubicBezTo>
                  <a:cubicBezTo>
                    <a:pt x="20" y="17"/>
                    <a:pt x="23" y="19"/>
                    <a:pt x="28" y="15"/>
                  </a:cubicBezTo>
                  <a:cubicBezTo>
                    <a:pt x="34" y="5"/>
                    <a:pt x="37" y="2"/>
                    <a:pt x="48" y="0"/>
                  </a:cubicBezTo>
                  <a:cubicBezTo>
                    <a:pt x="73" y="1"/>
                    <a:pt x="67" y="2"/>
                    <a:pt x="85" y="6"/>
                  </a:cubicBezTo>
                  <a:cubicBezTo>
                    <a:pt x="103" y="30"/>
                    <a:pt x="74" y="26"/>
                    <a:pt x="118" y="30"/>
                  </a:cubicBezTo>
                  <a:cubicBezTo>
                    <a:pt x="127" y="32"/>
                    <a:pt x="133" y="38"/>
                    <a:pt x="142" y="40"/>
                  </a:cubicBezTo>
                  <a:cubicBezTo>
                    <a:pt x="144" y="44"/>
                    <a:pt x="145" y="48"/>
                    <a:pt x="150" y="43"/>
                  </a:cubicBezTo>
                  <a:cubicBezTo>
                    <a:pt x="154" y="39"/>
                    <a:pt x="160" y="30"/>
                    <a:pt x="160" y="30"/>
                  </a:cubicBezTo>
                  <a:cubicBezTo>
                    <a:pt x="159" y="23"/>
                    <a:pt x="157" y="19"/>
                    <a:pt x="156" y="13"/>
                  </a:cubicBezTo>
                  <a:cubicBezTo>
                    <a:pt x="161" y="9"/>
                    <a:pt x="168" y="7"/>
                    <a:pt x="174" y="3"/>
                  </a:cubicBezTo>
                  <a:cubicBezTo>
                    <a:pt x="197" y="4"/>
                    <a:pt x="194" y="8"/>
                    <a:pt x="213" y="12"/>
                  </a:cubicBezTo>
                  <a:cubicBezTo>
                    <a:pt x="217" y="15"/>
                    <a:pt x="222" y="18"/>
                    <a:pt x="226" y="21"/>
                  </a:cubicBezTo>
                  <a:cubicBezTo>
                    <a:pt x="229" y="27"/>
                    <a:pt x="229" y="28"/>
                    <a:pt x="228" y="34"/>
                  </a:cubicBezTo>
                  <a:cubicBezTo>
                    <a:pt x="230" y="44"/>
                    <a:pt x="227" y="56"/>
                    <a:pt x="229" y="66"/>
                  </a:cubicBezTo>
                  <a:cubicBezTo>
                    <a:pt x="232" y="90"/>
                    <a:pt x="234" y="157"/>
                    <a:pt x="231" y="183"/>
                  </a:cubicBezTo>
                  <a:cubicBezTo>
                    <a:pt x="231" y="208"/>
                    <a:pt x="236" y="210"/>
                    <a:pt x="232" y="217"/>
                  </a:cubicBezTo>
                  <a:cubicBezTo>
                    <a:pt x="228" y="224"/>
                    <a:pt x="216" y="224"/>
                    <a:pt x="208" y="223"/>
                  </a:cubicBezTo>
                  <a:cubicBezTo>
                    <a:pt x="201" y="222"/>
                    <a:pt x="193" y="212"/>
                    <a:pt x="186" y="208"/>
                  </a:cubicBezTo>
                  <a:cubicBezTo>
                    <a:pt x="179" y="204"/>
                    <a:pt x="173" y="200"/>
                    <a:pt x="168" y="198"/>
                  </a:cubicBezTo>
                  <a:cubicBezTo>
                    <a:pt x="163" y="194"/>
                    <a:pt x="155" y="197"/>
                    <a:pt x="153" y="195"/>
                  </a:cubicBezTo>
                  <a:cubicBezTo>
                    <a:pt x="149" y="193"/>
                    <a:pt x="149" y="190"/>
                    <a:pt x="145" y="187"/>
                  </a:cubicBezTo>
                  <a:cubicBezTo>
                    <a:pt x="139" y="183"/>
                    <a:pt x="136" y="178"/>
                    <a:pt x="129" y="175"/>
                  </a:cubicBezTo>
                  <a:cubicBezTo>
                    <a:pt x="122" y="172"/>
                    <a:pt x="111" y="169"/>
                    <a:pt x="103" y="168"/>
                  </a:cubicBezTo>
                  <a:cubicBezTo>
                    <a:pt x="75" y="169"/>
                    <a:pt x="94" y="162"/>
                    <a:pt x="78" y="171"/>
                  </a:cubicBezTo>
                  <a:cubicBezTo>
                    <a:pt x="74" y="170"/>
                    <a:pt x="62" y="164"/>
                    <a:pt x="58" y="163"/>
                  </a:cubicBezTo>
                  <a:cubicBezTo>
                    <a:pt x="52" y="161"/>
                    <a:pt x="39" y="160"/>
                    <a:pt x="39" y="160"/>
                  </a:cubicBezTo>
                  <a:cubicBezTo>
                    <a:pt x="30" y="154"/>
                    <a:pt x="20" y="147"/>
                    <a:pt x="12" y="139"/>
                  </a:cubicBezTo>
                  <a:cubicBezTo>
                    <a:pt x="7" y="134"/>
                    <a:pt x="7" y="131"/>
                    <a:pt x="1" y="127"/>
                  </a:cubicBezTo>
                  <a:cubicBezTo>
                    <a:pt x="0" y="119"/>
                    <a:pt x="10" y="112"/>
                    <a:pt x="15" y="106"/>
                  </a:cubicBezTo>
                  <a:cubicBezTo>
                    <a:pt x="17" y="94"/>
                    <a:pt x="11" y="84"/>
                    <a:pt x="7" y="73"/>
                  </a:cubicBezTo>
                  <a:cubicBezTo>
                    <a:pt x="6" y="61"/>
                    <a:pt x="6" y="54"/>
                    <a:pt x="6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7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61572" y="2805399"/>
              <a:ext cx="472993" cy="288315"/>
            </a:xfrm>
            <a:custGeom>
              <a:avLst/>
              <a:gdLst>
                <a:gd name="T0" fmla="*/ 107 w 287"/>
                <a:gd name="T1" fmla="*/ 158 h 178"/>
                <a:gd name="T2" fmla="*/ 131 w 287"/>
                <a:gd name="T3" fmla="*/ 137 h 178"/>
                <a:gd name="T4" fmla="*/ 151 w 287"/>
                <a:gd name="T5" fmla="*/ 132 h 178"/>
                <a:gd name="T6" fmla="*/ 152 w 287"/>
                <a:gd name="T7" fmla="*/ 149 h 178"/>
                <a:gd name="T8" fmla="*/ 163 w 287"/>
                <a:gd name="T9" fmla="*/ 156 h 178"/>
                <a:gd name="T10" fmla="*/ 176 w 287"/>
                <a:gd name="T11" fmla="*/ 176 h 178"/>
                <a:gd name="T12" fmla="*/ 211 w 287"/>
                <a:gd name="T13" fmla="*/ 164 h 178"/>
                <a:gd name="T14" fmla="*/ 194 w 287"/>
                <a:gd name="T15" fmla="*/ 149 h 178"/>
                <a:gd name="T16" fmla="*/ 185 w 287"/>
                <a:gd name="T17" fmla="*/ 143 h 178"/>
                <a:gd name="T18" fmla="*/ 199 w 287"/>
                <a:gd name="T19" fmla="*/ 134 h 178"/>
                <a:gd name="T20" fmla="*/ 217 w 287"/>
                <a:gd name="T21" fmla="*/ 125 h 178"/>
                <a:gd name="T22" fmla="*/ 251 w 287"/>
                <a:gd name="T23" fmla="*/ 114 h 178"/>
                <a:gd name="T24" fmla="*/ 263 w 287"/>
                <a:gd name="T25" fmla="*/ 104 h 178"/>
                <a:gd name="T26" fmla="*/ 263 w 287"/>
                <a:gd name="T27" fmla="*/ 63 h 178"/>
                <a:gd name="T28" fmla="*/ 225 w 287"/>
                <a:gd name="T29" fmla="*/ 52 h 178"/>
                <a:gd name="T30" fmla="*/ 214 w 287"/>
                <a:gd name="T31" fmla="*/ 45 h 178"/>
                <a:gd name="T32" fmla="*/ 187 w 287"/>
                <a:gd name="T33" fmla="*/ 29 h 178"/>
                <a:gd name="T34" fmla="*/ 179 w 287"/>
                <a:gd name="T35" fmla="*/ 11 h 178"/>
                <a:gd name="T36" fmla="*/ 142 w 287"/>
                <a:gd name="T37" fmla="*/ 8 h 178"/>
                <a:gd name="T38" fmla="*/ 122 w 287"/>
                <a:gd name="T39" fmla="*/ 12 h 178"/>
                <a:gd name="T40" fmla="*/ 109 w 287"/>
                <a:gd name="T41" fmla="*/ 18 h 178"/>
                <a:gd name="T42" fmla="*/ 92 w 287"/>
                <a:gd name="T43" fmla="*/ 17 h 178"/>
                <a:gd name="T44" fmla="*/ 31 w 287"/>
                <a:gd name="T45" fmla="*/ 15 h 178"/>
                <a:gd name="T46" fmla="*/ 28 w 287"/>
                <a:gd name="T47" fmla="*/ 32 h 178"/>
                <a:gd name="T48" fmla="*/ 14 w 287"/>
                <a:gd name="T49" fmla="*/ 53 h 178"/>
                <a:gd name="T50" fmla="*/ 5 w 287"/>
                <a:gd name="T51" fmla="*/ 63 h 178"/>
                <a:gd name="T52" fmla="*/ 7 w 287"/>
                <a:gd name="T53" fmla="*/ 72 h 178"/>
                <a:gd name="T54" fmla="*/ 5 w 287"/>
                <a:gd name="T55" fmla="*/ 84 h 178"/>
                <a:gd name="T56" fmla="*/ 7 w 287"/>
                <a:gd name="T57" fmla="*/ 96 h 178"/>
                <a:gd name="T58" fmla="*/ 47 w 287"/>
                <a:gd name="T59" fmla="*/ 98 h 178"/>
                <a:gd name="T60" fmla="*/ 65 w 287"/>
                <a:gd name="T61" fmla="*/ 95 h 178"/>
                <a:gd name="T62" fmla="*/ 73 w 287"/>
                <a:gd name="T63" fmla="*/ 89 h 178"/>
                <a:gd name="T64" fmla="*/ 91 w 287"/>
                <a:gd name="T65" fmla="*/ 90 h 178"/>
                <a:gd name="T66" fmla="*/ 103 w 287"/>
                <a:gd name="T67" fmla="*/ 99 h 178"/>
                <a:gd name="T68" fmla="*/ 109 w 287"/>
                <a:gd name="T69" fmla="*/ 117 h 178"/>
                <a:gd name="T70" fmla="*/ 110 w 287"/>
                <a:gd name="T71" fmla="*/ 132 h 178"/>
                <a:gd name="T72" fmla="*/ 104 w 287"/>
                <a:gd name="T73" fmla="*/ 144 h 178"/>
                <a:gd name="T74" fmla="*/ 98 w 287"/>
                <a:gd name="T75" fmla="*/ 150 h 178"/>
                <a:gd name="T76" fmla="*/ 107 w 287"/>
                <a:gd name="T77" fmla="*/ 1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7" h="178">
                  <a:moveTo>
                    <a:pt x="107" y="158"/>
                  </a:moveTo>
                  <a:cubicBezTo>
                    <a:pt x="117" y="154"/>
                    <a:pt x="123" y="143"/>
                    <a:pt x="131" y="137"/>
                  </a:cubicBezTo>
                  <a:cubicBezTo>
                    <a:pt x="135" y="126"/>
                    <a:pt x="141" y="130"/>
                    <a:pt x="151" y="132"/>
                  </a:cubicBezTo>
                  <a:cubicBezTo>
                    <a:pt x="155" y="139"/>
                    <a:pt x="156" y="142"/>
                    <a:pt x="152" y="149"/>
                  </a:cubicBezTo>
                  <a:cubicBezTo>
                    <a:pt x="155" y="155"/>
                    <a:pt x="157" y="155"/>
                    <a:pt x="163" y="156"/>
                  </a:cubicBezTo>
                  <a:cubicBezTo>
                    <a:pt x="170" y="168"/>
                    <a:pt x="159" y="178"/>
                    <a:pt x="176" y="176"/>
                  </a:cubicBezTo>
                  <a:cubicBezTo>
                    <a:pt x="190" y="162"/>
                    <a:pt x="186" y="165"/>
                    <a:pt x="211" y="164"/>
                  </a:cubicBezTo>
                  <a:cubicBezTo>
                    <a:pt x="217" y="154"/>
                    <a:pt x="202" y="150"/>
                    <a:pt x="194" y="149"/>
                  </a:cubicBezTo>
                  <a:cubicBezTo>
                    <a:pt x="191" y="147"/>
                    <a:pt x="185" y="147"/>
                    <a:pt x="185" y="143"/>
                  </a:cubicBezTo>
                  <a:cubicBezTo>
                    <a:pt x="185" y="138"/>
                    <a:pt x="196" y="135"/>
                    <a:pt x="199" y="134"/>
                  </a:cubicBezTo>
                  <a:cubicBezTo>
                    <a:pt x="205" y="131"/>
                    <a:pt x="211" y="129"/>
                    <a:pt x="217" y="125"/>
                  </a:cubicBezTo>
                  <a:cubicBezTo>
                    <a:pt x="223" y="115"/>
                    <a:pt x="240" y="116"/>
                    <a:pt x="251" y="114"/>
                  </a:cubicBezTo>
                  <a:cubicBezTo>
                    <a:pt x="256" y="111"/>
                    <a:pt x="259" y="109"/>
                    <a:pt x="263" y="104"/>
                  </a:cubicBezTo>
                  <a:cubicBezTo>
                    <a:pt x="266" y="84"/>
                    <a:pt x="287" y="67"/>
                    <a:pt x="263" y="63"/>
                  </a:cubicBezTo>
                  <a:cubicBezTo>
                    <a:pt x="257" y="54"/>
                    <a:pt x="234" y="54"/>
                    <a:pt x="225" y="52"/>
                  </a:cubicBezTo>
                  <a:cubicBezTo>
                    <a:pt x="217" y="49"/>
                    <a:pt x="220" y="49"/>
                    <a:pt x="214" y="45"/>
                  </a:cubicBezTo>
                  <a:cubicBezTo>
                    <a:pt x="209" y="38"/>
                    <a:pt x="195" y="34"/>
                    <a:pt x="187" y="29"/>
                  </a:cubicBezTo>
                  <a:cubicBezTo>
                    <a:pt x="183" y="24"/>
                    <a:pt x="183" y="16"/>
                    <a:pt x="179" y="11"/>
                  </a:cubicBezTo>
                  <a:cubicBezTo>
                    <a:pt x="177" y="0"/>
                    <a:pt x="151" y="9"/>
                    <a:pt x="142" y="8"/>
                  </a:cubicBezTo>
                  <a:cubicBezTo>
                    <a:pt x="133" y="9"/>
                    <a:pt x="130" y="10"/>
                    <a:pt x="122" y="12"/>
                  </a:cubicBezTo>
                  <a:cubicBezTo>
                    <a:pt x="117" y="14"/>
                    <a:pt x="114" y="17"/>
                    <a:pt x="109" y="18"/>
                  </a:cubicBezTo>
                  <a:cubicBezTo>
                    <a:pt x="104" y="19"/>
                    <a:pt x="105" y="17"/>
                    <a:pt x="92" y="17"/>
                  </a:cubicBezTo>
                  <a:cubicBezTo>
                    <a:pt x="74" y="8"/>
                    <a:pt x="46" y="15"/>
                    <a:pt x="31" y="15"/>
                  </a:cubicBezTo>
                  <a:cubicBezTo>
                    <a:pt x="21" y="19"/>
                    <a:pt x="23" y="24"/>
                    <a:pt x="28" y="32"/>
                  </a:cubicBezTo>
                  <a:cubicBezTo>
                    <a:pt x="26" y="41"/>
                    <a:pt x="22" y="48"/>
                    <a:pt x="14" y="53"/>
                  </a:cubicBezTo>
                  <a:cubicBezTo>
                    <a:pt x="11" y="58"/>
                    <a:pt x="6" y="60"/>
                    <a:pt x="5" y="63"/>
                  </a:cubicBezTo>
                  <a:cubicBezTo>
                    <a:pt x="4" y="66"/>
                    <a:pt x="7" y="69"/>
                    <a:pt x="7" y="72"/>
                  </a:cubicBezTo>
                  <a:cubicBezTo>
                    <a:pt x="7" y="75"/>
                    <a:pt x="5" y="80"/>
                    <a:pt x="5" y="84"/>
                  </a:cubicBezTo>
                  <a:cubicBezTo>
                    <a:pt x="6" y="88"/>
                    <a:pt x="0" y="94"/>
                    <a:pt x="7" y="96"/>
                  </a:cubicBezTo>
                  <a:cubicBezTo>
                    <a:pt x="14" y="98"/>
                    <a:pt x="37" y="98"/>
                    <a:pt x="47" y="98"/>
                  </a:cubicBezTo>
                  <a:cubicBezTo>
                    <a:pt x="56" y="97"/>
                    <a:pt x="61" y="96"/>
                    <a:pt x="65" y="95"/>
                  </a:cubicBezTo>
                  <a:cubicBezTo>
                    <a:pt x="69" y="94"/>
                    <a:pt x="69" y="90"/>
                    <a:pt x="73" y="89"/>
                  </a:cubicBezTo>
                  <a:cubicBezTo>
                    <a:pt x="79" y="86"/>
                    <a:pt x="84" y="89"/>
                    <a:pt x="91" y="90"/>
                  </a:cubicBezTo>
                  <a:cubicBezTo>
                    <a:pt x="96" y="93"/>
                    <a:pt x="99" y="94"/>
                    <a:pt x="103" y="99"/>
                  </a:cubicBezTo>
                  <a:cubicBezTo>
                    <a:pt x="104" y="107"/>
                    <a:pt x="104" y="111"/>
                    <a:pt x="109" y="117"/>
                  </a:cubicBezTo>
                  <a:cubicBezTo>
                    <a:pt x="111" y="125"/>
                    <a:pt x="114" y="124"/>
                    <a:pt x="110" y="132"/>
                  </a:cubicBezTo>
                  <a:cubicBezTo>
                    <a:pt x="110" y="136"/>
                    <a:pt x="106" y="141"/>
                    <a:pt x="104" y="144"/>
                  </a:cubicBezTo>
                  <a:cubicBezTo>
                    <a:pt x="102" y="147"/>
                    <a:pt x="98" y="148"/>
                    <a:pt x="98" y="150"/>
                  </a:cubicBezTo>
                  <a:cubicBezTo>
                    <a:pt x="96" y="159"/>
                    <a:pt x="99" y="159"/>
                    <a:pt x="107" y="15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8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789311" y="3061318"/>
              <a:ext cx="401720" cy="264019"/>
            </a:xfrm>
            <a:custGeom>
              <a:avLst/>
              <a:gdLst>
                <a:gd name="T0" fmla="*/ 174 w 244"/>
                <a:gd name="T1" fmla="*/ 93 h 163"/>
                <a:gd name="T2" fmla="*/ 189 w 244"/>
                <a:gd name="T3" fmla="*/ 82 h 163"/>
                <a:gd name="T4" fmla="*/ 219 w 244"/>
                <a:gd name="T5" fmla="*/ 61 h 163"/>
                <a:gd name="T6" fmla="*/ 237 w 244"/>
                <a:gd name="T7" fmla="*/ 73 h 163"/>
                <a:gd name="T8" fmla="*/ 244 w 244"/>
                <a:gd name="T9" fmla="*/ 84 h 163"/>
                <a:gd name="T10" fmla="*/ 196 w 244"/>
                <a:gd name="T11" fmla="*/ 97 h 163"/>
                <a:gd name="T12" fmla="*/ 183 w 244"/>
                <a:gd name="T13" fmla="*/ 106 h 163"/>
                <a:gd name="T14" fmla="*/ 172 w 244"/>
                <a:gd name="T15" fmla="*/ 115 h 163"/>
                <a:gd name="T16" fmla="*/ 177 w 244"/>
                <a:gd name="T17" fmla="*/ 142 h 163"/>
                <a:gd name="T18" fmla="*/ 153 w 244"/>
                <a:gd name="T19" fmla="*/ 157 h 163"/>
                <a:gd name="T20" fmla="*/ 150 w 244"/>
                <a:gd name="T21" fmla="*/ 153 h 163"/>
                <a:gd name="T22" fmla="*/ 148 w 244"/>
                <a:gd name="T23" fmla="*/ 147 h 163"/>
                <a:gd name="T24" fmla="*/ 121 w 244"/>
                <a:gd name="T25" fmla="*/ 129 h 163"/>
                <a:gd name="T26" fmla="*/ 99 w 244"/>
                <a:gd name="T27" fmla="*/ 112 h 163"/>
                <a:gd name="T28" fmla="*/ 91 w 244"/>
                <a:gd name="T29" fmla="*/ 93 h 163"/>
                <a:gd name="T30" fmla="*/ 76 w 244"/>
                <a:gd name="T31" fmla="*/ 78 h 163"/>
                <a:gd name="T32" fmla="*/ 58 w 244"/>
                <a:gd name="T33" fmla="*/ 73 h 163"/>
                <a:gd name="T34" fmla="*/ 49 w 244"/>
                <a:gd name="T35" fmla="*/ 57 h 163"/>
                <a:gd name="T36" fmla="*/ 18 w 244"/>
                <a:gd name="T37" fmla="*/ 72 h 163"/>
                <a:gd name="T38" fmla="*/ 4 w 244"/>
                <a:gd name="T39" fmla="*/ 79 h 163"/>
                <a:gd name="T40" fmla="*/ 4 w 244"/>
                <a:gd name="T41" fmla="*/ 19 h 163"/>
                <a:gd name="T42" fmla="*/ 30 w 244"/>
                <a:gd name="T43" fmla="*/ 9 h 163"/>
                <a:gd name="T44" fmla="*/ 43 w 244"/>
                <a:gd name="T45" fmla="*/ 0 h 163"/>
                <a:gd name="T46" fmla="*/ 51 w 244"/>
                <a:gd name="T47" fmla="*/ 9 h 163"/>
                <a:gd name="T48" fmla="*/ 61 w 244"/>
                <a:gd name="T49" fmla="*/ 12 h 163"/>
                <a:gd name="T50" fmla="*/ 69 w 244"/>
                <a:gd name="T51" fmla="*/ 25 h 163"/>
                <a:gd name="T52" fmla="*/ 90 w 244"/>
                <a:gd name="T53" fmla="*/ 34 h 163"/>
                <a:gd name="T54" fmla="*/ 105 w 244"/>
                <a:gd name="T55" fmla="*/ 46 h 163"/>
                <a:gd name="T56" fmla="*/ 139 w 244"/>
                <a:gd name="T57" fmla="*/ 46 h 163"/>
                <a:gd name="T58" fmla="*/ 150 w 244"/>
                <a:gd name="T59" fmla="*/ 63 h 163"/>
                <a:gd name="T60" fmla="*/ 156 w 244"/>
                <a:gd name="T61" fmla="*/ 75 h 163"/>
                <a:gd name="T62" fmla="*/ 165 w 244"/>
                <a:gd name="T63" fmla="*/ 81 h 163"/>
                <a:gd name="T64" fmla="*/ 174 w 244"/>
                <a:gd name="T65" fmla="*/ 9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4" h="163">
                  <a:moveTo>
                    <a:pt x="174" y="93"/>
                  </a:moveTo>
                  <a:cubicBezTo>
                    <a:pt x="186" y="84"/>
                    <a:pt x="180" y="87"/>
                    <a:pt x="189" y="82"/>
                  </a:cubicBezTo>
                  <a:cubicBezTo>
                    <a:pt x="196" y="73"/>
                    <a:pt x="209" y="65"/>
                    <a:pt x="219" y="61"/>
                  </a:cubicBezTo>
                  <a:cubicBezTo>
                    <a:pt x="227" y="64"/>
                    <a:pt x="229" y="71"/>
                    <a:pt x="237" y="73"/>
                  </a:cubicBezTo>
                  <a:cubicBezTo>
                    <a:pt x="243" y="76"/>
                    <a:pt x="243" y="78"/>
                    <a:pt x="244" y="84"/>
                  </a:cubicBezTo>
                  <a:cubicBezTo>
                    <a:pt x="242" y="101"/>
                    <a:pt x="211" y="95"/>
                    <a:pt x="196" y="97"/>
                  </a:cubicBezTo>
                  <a:cubicBezTo>
                    <a:pt x="192" y="100"/>
                    <a:pt x="187" y="103"/>
                    <a:pt x="183" y="106"/>
                  </a:cubicBezTo>
                  <a:cubicBezTo>
                    <a:pt x="180" y="112"/>
                    <a:pt x="179" y="114"/>
                    <a:pt x="172" y="115"/>
                  </a:cubicBezTo>
                  <a:cubicBezTo>
                    <a:pt x="174" y="124"/>
                    <a:pt x="173" y="134"/>
                    <a:pt x="177" y="142"/>
                  </a:cubicBezTo>
                  <a:cubicBezTo>
                    <a:pt x="174" y="163"/>
                    <a:pt x="175" y="159"/>
                    <a:pt x="153" y="157"/>
                  </a:cubicBezTo>
                  <a:cubicBezTo>
                    <a:pt x="152" y="156"/>
                    <a:pt x="151" y="154"/>
                    <a:pt x="150" y="153"/>
                  </a:cubicBezTo>
                  <a:cubicBezTo>
                    <a:pt x="149" y="151"/>
                    <a:pt x="149" y="149"/>
                    <a:pt x="148" y="147"/>
                  </a:cubicBezTo>
                  <a:cubicBezTo>
                    <a:pt x="143" y="140"/>
                    <a:pt x="128" y="133"/>
                    <a:pt x="121" y="129"/>
                  </a:cubicBezTo>
                  <a:cubicBezTo>
                    <a:pt x="116" y="121"/>
                    <a:pt x="106" y="118"/>
                    <a:pt x="99" y="112"/>
                  </a:cubicBezTo>
                  <a:cubicBezTo>
                    <a:pt x="95" y="106"/>
                    <a:pt x="94" y="99"/>
                    <a:pt x="91" y="93"/>
                  </a:cubicBezTo>
                  <a:cubicBezTo>
                    <a:pt x="90" y="86"/>
                    <a:pt x="83" y="79"/>
                    <a:pt x="76" y="78"/>
                  </a:cubicBezTo>
                  <a:cubicBezTo>
                    <a:pt x="72" y="74"/>
                    <a:pt x="62" y="76"/>
                    <a:pt x="58" y="73"/>
                  </a:cubicBezTo>
                  <a:cubicBezTo>
                    <a:pt x="54" y="70"/>
                    <a:pt x="56" y="57"/>
                    <a:pt x="49" y="57"/>
                  </a:cubicBezTo>
                  <a:cubicBezTo>
                    <a:pt x="31" y="58"/>
                    <a:pt x="24" y="58"/>
                    <a:pt x="18" y="72"/>
                  </a:cubicBezTo>
                  <a:cubicBezTo>
                    <a:pt x="17" y="79"/>
                    <a:pt x="9" y="75"/>
                    <a:pt x="4" y="79"/>
                  </a:cubicBezTo>
                  <a:cubicBezTo>
                    <a:pt x="5" y="72"/>
                    <a:pt x="0" y="30"/>
                    <a:pt x="4" y="19"/>
                  </a:cubicBezTo>
                  <a:cubicBezTo>
                    <a:pt x="8" y="8"/>
                    <a:pt x="24" y="12"/>
                    <a:pt x="30" y="9"/>
                  </a:cubicBezTo>
                  <a:cubicBezTo>
                    <a:pt x="34" y="6"/>
                    <a:pt x="39" y="3"/>
                    <a:pt x="43" y="0"/>
                  </a:cubicBezTo>
                  <a:cubicBezTo>
                    <a:pt x="46" y="0"/>
                    <a:pt x="48" y="7"/>
                    <a:pt x="51" y="9"/>
                  </a:cubicBezTo>
                  <a:cubicBezTo>
                    <a:pt x="54" y="11"/>
                    <a:pt x="58" y="9"/>
                    <a:pt x="61" y="12"/>
                  </a:cubicBezTo>
                  <a:cubicBezTo>
                    <a:pt x="64" y="14"/>
                    <a:pt x="66" y="22"/>
                    <a:pt x="69" y="25"/>
                  </a:cubicBezTo>
                  <a:cubicBezTo>
                    <a:pt x="74" y="29"/>
                    <a:pt x="73" y="31"/>
                    <a:pt x="90" y="34"/>
                  </a:cubicBezTo>
                  <a:cubicBezTo>
                    <a:pt x="95" y="37"/>
                    <a:pt x="97" y="44"/>
                    <a:pt x="105" y="46"/>
                  </a:cubicBezTo>
                  <a:cubicBezTo>
                    <a:pt x="113" y="48"/>
                    <a:pt x="132" y="43"/>
                    <a:pt x="139" y="46"/>
                  </a:cubicBezTo>
                  <a:cubicBezTo>
                    <a:pt x="148" y="51"/>
                    <a:pt x="141" y="56"/>
                    <a:pt x="150" y="63"/>
                  </a:cubicBezTo>
                  <a:cubicBezTo>
                    <a:pt x="152" y="68"/>
                    <a:pt x="154" y="72"/>
                    <a:pt x="156" y="75"/>
                  </a:cubicBezTo>
                  <a:cubicBezTo>
                    <a:pt x="158" y="78"/>
                    <a:pt x="162" y="78"/>
                    <a:pt x="165" y="81"/>
                  </a:cubicBezTo>
                  <a:cubicBezTo>
                    <a:pt x="172" y="76"/>
                    <a:pt x="165" y="87"/>
                    <a:pt x="174" y="9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9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5520418" y="3168222"/>
              <a:ext cx="119868" cy="106903"/>
            </a:xfrm>
            <a:custGeom>
              <a:avLst/>
              <a:gdLst>
                <a:gd name="T0" fmla="*/ 44 w 73"/>
                <a:gd name="T1" fmla="*/ 22 h 66"/>
                <a:gd name="T2" fmla="*/ 31 w 73"/>
                <a:gd name="T3" fmla="*/ 18 h 66"/>
                <a:gd name="T4" fmla="*/ 20 w 73"/>
                <a:gd name="T5" fmla="*/ 0 h 66"/>
                <a:gd name="T6" fmla="*/ 4 w 73"/>
                <a:gd name="T7" fmla="*/ 7 h 66"/>
                <a:gd name="T8" fmla="*/ 7 w 73"/>
                <a:gd name="T9" fmla="*/ 28 h 66"/>
                <a:gd name="T10" fmla="*/ 13 w 73"/>
                <a:gd name="T11" fmla="*/ 36 h 66"/>
                <a:gd name="T12" fmla="*/ 16 w 73"/>
                <a:gd name="T13" fmla="*/ 46 h 66"/>
                <a:gd name="T14" fmla="*/ 28 w 73"/>
                <a:gd name="T15" fmla="*/ 51 h 66"/>
                <a:gd name="T16" fmla="*/ 41 w 73"/>
                <a:gd name="T17" fmla="*/ 48 h 66"/>
                <a:gd name="T18" fmla="*/ 56 w 73"/>
                <a:gd name="T19" fmla="*/ 66 h 66"/>
                <a:gd name="T20" fmla="*/ 62 w 73"/>
                <a:gd name="T21" fmla="*/ 45 h 66"/>
                <a:gd name="T22" fmla="*/ 73 w 73"/>
                <a:gd name="T23" fmla="*/ 31 h 66"/>
                <a:gd name="T24" fmla="*/ 61 w 73"/>
                <a:gd name="T25" fmla="*/ 18 h 66"/>
                <a:gd name="T26" fmla="*/ 49 w 73"/>
                <a:gd name="T27" fmla="*/ 4 h 66"/>
                <a:gd name="T28" fmla="*/ 44 w 73"/>
                <a:gd name="T29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66">
                  <a:moveTo>
                    <a:pt x="44" y="22"/>
                  </a:moveTo>
                  <a:cubicBezTo>
                    <a:pt x="39" y="21"/>
                    <a:pt x="36" y="19"/>
                    <a:pt x="31" y="18"/>
                  </a:cubicBezTo>
                  <a:cubicBezTo>
                    <a:pt x="24" y="13"/>
                    <a:pt x="28" y="5"/>
                    <a:pt x="20" y="0"/>
                  </a:cubicBezTo>
                  <a:cubicBezTo>
                    <a:pt x="15" y="2"/>
                    <a:pt x="8" y="4"/>
                    <a:pt x="4" y="7"/>
                  </a:cubicBezTo>
                  <a:cubicBezTo>
                    <a:pt x="0" y="16"/>
                    <a:pt x="1" y="20"/>
                    <a:pt x="7" y="28"/>
                  </a:cubicBezTo>
                  <a:cubicBezTo>
                    <a:pt x="10" y="42"/>
                    <a:pt x="5" y="24"/>
                    <a:pt x="13" y="36"/>
                  </a:cubicBezTo>
                  <a:cubicBezTo>
                    <a:pt x="15" y="39"/>
                    <a:pt x="14" y="43"/>
                    <a:pt x="16" y="46"/>
                  </a:cubicBezTo>
                  <a:cubicBezTo>
                    <a:pt x="18" y="54"/>
                    <a:pt x="21" y="52"/>
                    <a:pt x="28" y="51"/>
                  </a:cubicBezTo>
                  <a:cubicBezTo>
                    <a:pt x="32" y="44"/>
                    <a:pt x="35" y="43"/>
                    <a:pt x="41" y="48"/>
                  </a:cubicBezTo>
                  <a:cubicBezTo>
                    <a:pt x="46" y="57"/>
                    <a:pt x="46" y="61"/>
                    <a:pt x="56" y="66"/>
                  </a:cubicBezTo>
                  <a:cubicBezTo>
                    <a:pt x="68" y="62"/>
                    <a:pt x="58" y="55"/>
                    <a:pt x="62" y="45"/>
                  </a:cubicBezTo>
                  <a:cubicBezTo>
                    <a:pt x="63" y="41"/>
                    <a:pt x="71" y="35"/>
                    <a:pt x="73" y="31"/>
                  </a:cubicBezTo>
                  <a:cubicBezTo>
                    <a:pt x="71" y="26"/>
                    <a:pt x="65" y="21"/>
                    <a:pt x="61" y="18"/>
                  </a:cubicBezTo>
                  <a:cubicBezTo>
                    <a:pt x="59" y="12"/>
                    <a:pt x="54" y="7"/>
                    <a:pt x="49" y="4"/>
                  </a:cubicBezTo>
                  <a:cubicBezTo>
                    <a:pt x="47" y="10"/>
                    <a:pt x="47" y="16"/>
                    <a:pt x="44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0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062002" y="2943077"/>
              <a:ext cx="85852" cy="110143"/>
            </a:xfrm>
            <a:custGeom>
              <a:avLst/>
              <a:gdLst>
                <a:gd name="T0" fmla="*/ 0 w 52"/>
                <a:gd name="T1" fmla="*/ 11 h 68"/>
                <a:gd name="T2" fmla="*/ 25 w 52"/>
                <a:gd name="T3" fmla="*/ 1 h 68"/>
                <a:gd name="T4" fmla="*/ 42 w 52"/>
                <a:gd name="T5" fmla="*/ 11 h 68"/>
                <a:gd name="T6" fmla="*/ 45 w 52"/>
                <a:gd name="T7" fmla="*/ 29 h 68"/>
                <a:gd name="T8" fmla="*/ 52 w 52"/>
                <a:gd name="T9" fmla="*/ 43 h 68"/>
                <a:gd name="T10" fmla="*/ 46 w 52"/>
                <a:gd name="T11" fmla="*/ 55 h 68"/>
                <a:gd name="T12" fmla="*/ 34 w 52"/>
                <a:gd name="T13" fmla="*/ 68 h 68"/>
                <a:gd name="T14" fmla="*/ 18 w 52"/>
                <a:gd name="T15" fmla="*/ 28 h 68"/>
                <a:gd name="T16" fmla="*/ 0 w 52"/>
                <a:gd name="T17" fmla="*/ 1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68">
                  <a:moveTo>
                    <a:pt x="0" y="11"/>
                  </a:moveTo>
                  <a:cubicBezTo>
                    <a:pt x="2" y="1"/>
                    <a:pt x="14" y="0"/>
                    <a:pt x="25" y="1"/>
                  </a:cubicBezTo>
                  <a:cubicBezTo>
                    <a:pt x="34" y="4"/>
                    <a:pt x="31" y="10"/>
                    <a:pt x="42" y="11"/>
                  </a:cubicBezTo>
                  <a:cubicBezTo>
                    <a:pt x="46" y="15"/>
                    <a:pt x="43" y="24"/>
                    <a:pt x="45" y="29"/>
                  </a:cubicBezTo>
                  <a:cubicBezTo>
                    <a:pt x="47" y="34"/>
                    <a:pt x="52" y="39"/>
                    <a:pt x="52" y="43"/>
                  </a:cubicBezTo>
                  <a:cubicBezTo>
                    <a:pt x="48" y="46"/>
                    <a:pt x="50" y="52"/>
                    <a:pt x="46" y="55"/>
                  </a:cubicBezTo>
                  <a:cubicBezTo>
                    <a:pt x="43" y="62"/>
                    <a:pt x="40" y="63"/>
                    <a:pt x="34" y="68"/>
                  </a:cubicBezTo>
                  <a:cubicBezTo>
                    <a:pt x="14" y="66"/>
                    <a:pt x="37" y="42"/>
                    <a:pt x="18" y="28"/>
                  </a:cubicBezTo>
                  <a:cubicBezTo>
                    <a:pt x="16" y="24"/>
                    <a:pt x="2" y="4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1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413508" y="3134208"/>
              <a:ext cx="127968" cy="68029"/>
            </a:xfrm>
            <a:custGeom>
              <a:avLst/>
              <a:gdLst>
                <a:gd name="T0" fmla="*/ 34 w 78"/>
                <a:gd name="T1" fmla="*/ 31 h 42"/>
                <a:gd name="T2" fmla="*/ 12 w 78"/>
                <a:gd name="T3" fmla="*/ 13 h 42"/>
                <a:gd name="T4" fmla="*/ 37 w 78"/>
                <a:gd name="T5" fmla="*/ 7 h 42"/>
                <a:gd name="T6" fmla="*/ 57 w 78"/>
                <a:gd name="T7" fmla="*/ 10 h 42"/>
                <a:gd name="T8" fmla="*/ 78 w 78"/>
                <a:gd name="T9" fmla="*/ 19 h 42"/>
                <a:gd name="T10" fmla="*/ 64 w 78"/>
                <a:gd name="T11" fmla="*/ 36 h 42"/>
                <a:gd name="T12" fmla="*/ 34 w 78"/>
                <a:gd name="T13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2">
                  <a:moveTo>
                    <a:pt x="34" y="31"/>
                  </a:moveTo>
                  <a:cubicBezTo>
                    <a:pt x="0" y="25"/>
                    <a:pt x="34" y="30"/>
                    <a:pt x="12" y="13"/>
                  </a:cubicBezTo>
                  <a:cubicBezTo>
                    <a:pt x="6" y="0"/>
                    <a:pt x="35" y="7"/>
                    <a:pt x="37" y="7"/>
                  </a:cubicBezTo>
                  <a:cubicBezTo>
                    <a:pt x="51" y="13"/>
                    <a:pt x="27" y="4"/>
                    <a:pt x="57" y="10"/>
                  </a:cubicBezTo>
                  <a:cubicBezTo>
                    <a:pt x="64" y="11"/>
                    <a:pt x="70" y="18"/>
                    <a:pt x="78" y="19"/>
                  </a:cubicBezTo>
                  <a:cubicBezTo>
                    <a:pt x="67" y="23"/>
                    <a:pt x="73" y="32"/>
                    <a:pt x="64" y="36"/>
                  </a:cubicBezTo>
                  <a:cubicBezTo>
                    <a:pt x="35" y="34"/>
                    <a:pt x="41" y="42"/>
                    <a:pt x="34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2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883820" y="3155263"/>
              <a:ext cx="66414" cy="76129"/>
            </a:xfrm>
            <a:custGeom>
              <a:avLst/>
              <a:gdLst>
                <a:gd name="T0" fmla="*/ 8 w 41"/>
                <a:gd name="T1" fmla="*/ 3 h 47"/>
                <a:gd name="T2" fmla="*/ 23 w 41"/>
                <a:gd name="T3" fmla="*/ 6 h 47"/>
                <a:gd name="T4" fmla="*/ 40 w 41"/>
                <a:gd name="T5" fmla="*/ 32 h 47"/>
                <a:gd name="T6" fmla="*/ 26 w 41"/>
                <a:gd name="T7" fmla="*/ 42 h 47"/>
                <a:gd name="T8" fmla="*/ 10 w 41"/>
                <a:gd name="T9" fmla="*/ 45 h 47"/>
                <a:gd name="T10" fmla="*/ 5 w 41"/>
                <a:gd name="T11" fmla="*/ 18 h 47"/>
                <a:gd name="T12" fmla="*/ 8 w 41"/>
                <a:gd name="T1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7">
                  <a:moveTo>
                    <a:pt x="8" y="3"/>
                  </a:moveTo>
                  <a:cubicBezTo>
                    <a:pt x="15" y="2"/>
                    <a:pt x="20" y="0"/>
                    <a:pt x="23" y="6"/>
                  </a:cubicBezTo>
                  <a:cubicBezTo>
                    <a:pt x="25" y="17"/>
                    <a:pt x="31" y="26"/>
                    <a:pt x="40" y="32"/>
                  </a:cubicBezTo>
                  <a:cubicBezTo>
                    <a:pt x="41" y="39"/>
                    <a:pt x="33" y="41"/>
                    <a:pt x="26" y="42"/>
                  </a:cubicBezTo>
                  <a:cubicBezTo>
                    <a:pt x="20" y="47"/>
                    <a:pt x="18" y="47"/>
                    <a:pt x="10" y="45"/>
                  </a:cubicBezTo>
                  <a:cubicBezTo>
                    <a:pt x="0" y="39"/>
                    <a:pt x="4" y="30"/>
                    <a:pt x="5" y="18"/>
                  </a:cubicBezTo>
                  <a:cubicBezTo>
                    <a:pt x="5" y="14"/>
                    <a:pt x="1" y="3"/>
                    <a:pt x="8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3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914597" y="3158503"/>
              <a:ext cx="90711" cy="45353"/>
            </a:xfrm>
            <a:custGeom>
              <a:avLst/>
              <a:gdLst>
                <a:gd name="T0" fmla="*/ 4 w 55"/>
                <a:gd name="T1" fmla="*/ 7 h 28"/>
                <a:gd name="T2" fmla="*/ 21 w 55"/>
                <a:gd name="T3" fmla="*/ 0 h 28"/>
                <a:gd name="T4" fmla="*/ 46 w 55"/>
                <a:gd name="T5" fmla="*/ 15 h 28"/>
                <a:gd name="T6" fmla="*/ 31 w 55"/>
                <a:gd name="T7" fmla="*/ 19 h 28"/>
                <a:gd name="T8" fmla="*/ 19 w 55"/>
                <a:gd name="T9" fmla="*/ 28 h 28"/>
                <a:gd name="T10" fmla="*/ 4 w 55"/>
                <a:gd name="T11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28">
                  <a:moveTo>
                    <a:pt x="4" y="7"/>
                  </a:moveTo>
                  <a:cubicBezTo>
                    <a:pt x="17" y="6"/>
                    <a:pt x="10" y="2"/>
                    <a:pt x="21" y="0"/>
                  </a:cubicBezTo>
                  <a:cubicBezTo>
                    <a:pt x="55" y="2"/>
                    <a:pt x="28" y="2"/>
                    <a:pt x="46" y="15"/>
                  </a:cubicBezTo>
                  <a:cubicBezTo>
                    <a:pt x="41" y="16"/>
                    <a:pt x="36" y="18"/>
                    <a:pt x="31" y="19"/>
                  </a:cubicBezTo>
                  <a:cubicBezTo>
                    <a:pt x="26" y="22"/>
                    <a:pt x="22" y="23"/>
                    <a:pt x="19" y="28"/>
                  </a:cubicBezTo>
                  <a:cubicBezTo>
                    <a:pt x="14" y="26"/>
                    <a:pt x="0" y="7"/>
                    <a:pt x="4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4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969672" y="3098573"/>
              <a:ext cx="153885" cy="93945"/>
            </a:xfrm>
            <a:custGeom>
              <a:avLst/>
              <a:gdLst>
                <a:gd name="T0" fmla="*/ 6 w 94"/>
                <a:gd name="T1" fmla="*/ 34 h 58"/>
                <a:gd name="T2" fmla="*/ 7 w 94"/>
                <a:gd name="T3" fmla="*/ 29 h 58"/>
                <a:gd name="T4" fmla="*/ 12 w 94"/>
                <a:gd name="T5" fmla="*/ 25 h 58"/>
                <a:gd name="T6" fmla="*/ 0 w 94"/>
                <a:gd name="T7" fmla="*/ 8 h 58"/>
                <a:gd name="T8" fmla="*/ 36 w 94"/>
                <a:gd name="T9" fmla="*/ 8 h 58"/>
                <a:gd name="T10" fmla="*/ 66 w 94"/>
                <a:gd name="T11" fmla="*/ 1 h 58"/>
                <a:gd name="T12" fmla="*/ 84 w 94"/>
                <a:gd name="T13" fmla="*/ 8 h 58"/>
                <a:gd name="T14" fmla="*/ 63 w 94"/>
                <a:gd name="T15" fmla="*/ 34 h 58"/>
                <a:gd name="T16" fmla="*/ 52 w 94"/>
                <a:gd name="T17" fmla="*/ 52 h 58"/>
                <a:gd name="T18" fmla="*/ 34 w 94"/>
                <a:gd name="T19" fmla="*/ 55 h 58"/>
                <a:gd name="T20" fmla="*/ 12 w 94"/>
                <a:gd name="T21" fmla="*/ 49 h 58"/>
                <a:gd name="T22" fmla="*/ 6 w 94"/>
                <a:gd name="T23" fmla="*/ 3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58">
                  <a:moveTo>
                    <a:pt x="6" y="34"/>
                  </a:moveTo>
                  <a:cubicBezTo>
                    <a:pt x="6" y="32"/>
                    <a:pt x="6" y="30"/>
                    <a:pt x="7" y="29"/>
                  </a:cubicBezTo>
                  <a:cubicBezTo>
                    <a:pt x="8" y="27"/>
                    <a:pt x="11" y="27"/>
                    <a:pt x="12" y="25"/>
                  </a:cubicBezTo>
                  <a:cubicBezTo>
                    <a:pt x="14" y="17"/>
                    <a:pt x="5" y="12"/>
                    <a:pt x="0" y="8"/>
                  </a:cubicBezTo>
                  <a:cubicBezTo>
                    <a:pt x="10" y="0"/>
                    <a:pt x="24" y="6"/>
                    <a:pt x="36" y="8"/>
                  </a:cubicBezTo>
                  <a:cubicBezTo>
                    <a:pt x="49" y="7"/>
                    <a:pt x="54" y="3"/>
                    <a:pt x="66" y="1"/>
                  </a:cubicBezTo>
                  <a:cubicBezTo>
                    <a:pt x="75" y="2"/>
                    <a:pt x="77" y="2"/>
                    <a:pt x="84" y="8"/>
                  </a:cubicBezTo>
                  <a:cubicBezTo>
                    <a:pt x="94" y="25"/>
                    <a:pt x="75" y="32"/>
                    <a:pt x="63" y="34"/>
                  </a:cubicBezTo>
                  <a:cubicBezTo>
                    <a:pt x="60" y="43"/>
                    <a:pt x="62" y="49"/>
                    <a:pt x="52" y="52"/>
                  </a:cubicBezTo>
                  <a:cubicBezTo>
                    <a:pt x="44" y="58"/>
                    <a:pt x="43" y="57"/>
                    <a:pt x="34" y="55"/>
                  </a:cubicBezTo>
                  <a:cubicBezTo>
                    <a:pt x="26" y="49"/>
                    <a:pt x="23" y="50"/>
                    <a:pt x="12" y="49"/>
                  </a:cubicBezTo>
                  <a:cubicBezTo>
                    <a:pt x="8" y="43"/>
                    <a:pt x="6" y="41"/>
                    <a:pt x="6" y="3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5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927556" y="2947936"/>
              <a:ext cx="220298" cy="176553"/>
            </a:xfrm>
            <a:custGeom>
              <a:avLst/>
              <a:gdLst>
                <a:gd name="T0" fmla="*/ 116 w 134"/>
                <a:gd name="T1" fmla="*/ 109 h 109"/>
                <a:gd name="T2" fmla="*/ 124 w 134"/>
                <a:gd name="T3" fmla="*/ 85 h 109"/>
                <a:gd name="T4" fmla="*/ 134 w 134"/>
                <a:gd name="T5" fmla="*/ 74 h 109"/>
                <a:gd name="T6" fmla="*/ 113 w 134"/>
                <a:gd name="T7" fmla="*/ 67 h 109"/>
                <a:gd name="T8" fmla="*/ 109 w 134"/>
                <a:gd name="T9" fmla="*/ 53 h 109"/>
                <a:gd name="T10" fmla="*/ 101 w 134"/>
                <a:gd name="T11" fmla="*/ 22 h 109"/>
                <a:gd name="T12" fmla="*/ 88 w 134"/>
                <a:gd name="T13" fmla="*/ 8 h 109"/>
                <a:gd name="T14" fmla="*/ 23 w 134"/>
                <a:gd name="T15" fmla="*/ 14 h 109"/>
                <a:gd name="T16" fmla="*/ 5 w 134"/>
                <a:gd name="T17" fmla="*/ 40 h 109"/>
                <a:gd name="T18" fmla="*/ 10 w 134"/>
                <a:gd name="T19" fmla="*/ 70 h 109"/>
                <a:gd name="T20" fmla="*/ 22 w 134"/>
                <a:gd name="T21" fmla="*/ 88 h 109"/>
                <a:gd name="T22" fmla="*/ 28 w 134"/>
                <a:gd name="T23" fmla="*/ 100 h 109"/>
                <a:gd name="T24" fmla="*/ 43 w 134"/>
                <a:gd name="T25" fmla="*/ 97 h 109"/>
                <a:gd name="T26" fmla="*/ 67 w 134"/>
                <a:gd name="T27" fmla="*/ 103 h 109"/>
                <a:gd name="T28" fmla="*/ 85 w 134"/>
                <a:gd name="T29" fmla="*/ 94 h 109"/>
                <a:gd name="T30" fmla="*/ 86 w 134"/>
                <a:gd name="T31" fmla="*/ 107 h 109"/>
                <a:gd name="T32" fmla="*/ 110 w 134"/>
                <a:gd name="T33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" h="109">
                  <a:moveTo>
                    <a:pt x="116" y="109"/>
                  </a:moveTo>
                  <a:cubicBezTo>
                    <a:pt x="117" y="99"/>
                    <a:pt x="115" y="90"/>
                    <a:pt x="124" y="85"/>
                  </a:cubicBezTo>
                  <a:cubicBezTo>
                    <a:pt x="128" y="78"/>
                    <a:pt x="132" y="82"/>
                    <a:pt x="134" y="74"/>
                  </a:cubicBezTo>
                  <a:cubicBezTo>
                    <a:pt x="133" y="70"/>
                    <a:pt x="117" y="70"/>
                    <a:pt x="113" y="67"/>
                  </a:cubicBezTo>
                  <a:cubicBezTo>
                    <a:pt x="109" y="64"/>
                    <a:pt x="111" y="60"/>
                    <a:pt x="109" y="53"/>
                  </a:cubicBezTo>
                  <a:cubicBezTo>
                    <a:pt x="107" y="39"/>
                    <a:pt x="109" y="32"/>
                    <a:pt x="101" y="22"/>
                  </a:cubicBezTo>
                  <a:cubicBezTo>
                    <a:pt x="100" y="16"/>
                    <a:pt x="94" y="11"/>
                    <a:pt x="88" y="8"/>
                  </a:cubicBezTo>
                  <a:cubicBezTo>
                    <a:pt x="48" y="9"/>
                    <a:pt x="47" y="0"/>
                    <a:pt x="23" y="14"/>
                  </a:cubicBezTo>
                  <a:cubicBezTo>
                    <a:pt x="22" y="26"/>
                    <a:pt x="16" y="35"/>
                    <a:pt x="5" y="40"/>
                  </a:cubicBezTo>
                  <a:cubicBezTo>
                    <a:pt x="4" y="50"/>
                    <a:pt x="0" y="64"/>
                    <a:pt x="10" y="70"/>
                  </a:cubicBezTo>
                  <a:cubicBezTo>
                    <a:pt x="14" y="76"/>
                    <a:pt x="18" y="82"/>
                    <a:pt x="22" y="88"/>
                  </a:cubicBezTo>
                  <a:cubicBezTo>
                    <a:pt x="25" y="91"/>
                    <a:pt x="21" y="98"/>
                    <a:pt x="28" y="100"/>
                  </a:cubicBezTo>
                  <a:cubicBezTo>
                    <a:pt x="31" y="101"/>
                    <a:pt x="37" y="97"/>
                    <a:pt x="43" y="97"/>
                  </a:cubicBezTo>
                  <a:cubicBezTo>
                    <a:pt x="49" y="97"/>
                    <a:pt x="60" y="103"/>
                    <a:pt x="67" y="103"/>
                  </a:cubicBezTo>
                  <a:cubicBezTo>
                    <a:pt x="74" y="103"/>
                    <a:pt x="82" y="93"/>
                    <a:pt x="85" y="94"/>
                  </a:cubicBezTo>
                  <a:cubicBezTo>
                    <a:pt x="88" y="95"/>
                    <a:pt x="82" y="105"/>
                    <a:pt x="86" y="107"/>
                  </a:cubicBezTo>
                  <a:cubicBezTo>
                    <a:pt x="90" y="109"/>
                    <a:pt x="105" y="106"/>
                    <a:pt x="110" y="106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6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4874101" y="3116389"/>
              <a:ext cx="48595" cy="53452"/>
            </a:xfrm>
            <a:custGeom>
              <a:avLst/>
              <a:gdLst>
                <a:gd name="T0" fmla="*/ 13 w 30"/>
                <a:gd name="T1" fmla="*/ 33 h 33"/>
                <a:gd name="T2" fmla="*/ 2 w 30"/>
                <a:gd name="T3" fmla="*/ 15 h 33"/>
                <a:gd name="T4" fmla="*/ 7 w 30"/>
                <a:gd name="T5" fmla="*/ 0 h 33"/>
                <a:gd name="T6" fmla="*/ 28 w 30"/>
                <a:gd name="T7" fmla="*/ 15 h 33"/>
                <a:gd name="T8" fmla="*/ 17 w 30"/>
                <a:gd name="T9" fmla="*/ 27 h 33"/>
                <a:gd name="T10" fmla="*/ 13 w 30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3">
                  <a:moveTo>
                    <a:pt x="13" y="33"/>
                  </a:moveTo>
                  <a:cubicBezTo>
                    <a:pt x="9" y="27"/>
                    <a:pt x="6" y="21"/>
                    <a:pt x="2" y="15"/>
                  </a:cubicBezTo>
                  <a:cubicBezTo>
                    <a:pt x="1" y="7"/>
                    <a:pt x="0" y="4"/>
                    <a:pt x="7" y="0"/>
                  </a:cubicBezTo>
                  <a:cubicBezTo>
                    <a:pt x="18" y="3"/>
                    <a:pt x="17" y="13"/>
                    <a:pt x="28" y="15"/>
                  </a:cubicBezTo>
                  <a:cubicBezTo>
                    <a:pt x="30" y="24"/>
                    <a:pt x="25" y="25"/>
                    <a:pt x="17" y="27"/>
                  </a:cubicBezTo>
                  <a:cubicBezTo>
                    <a:pt x="12" y="30"/>
                    <a:pt x="13" y="28"/>
                    <a:pt x="13" y="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7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809308" y="3059699"/>
              <a:ext cx="87471" cy="79368"/>
            </a:xfrm>
            <a:custGeom>
              <a:avLst/>
              <a:gdLst>
                <a:gd name="T0" fmla="*/ 53 w 53"/>
                <a:gd name="T1" fmla="*/ 40 h 49"/>
                <a:gd name="T2" fmla="*/ 37 w 53"/>
                <a:gd name="T3" fmla="*/ 5 h 49"/>
                <a:gd name="T4" fmla="*/ 2 w 53"/>
                <a:gd name="T5" fmla="*/ 16 h 49"/>
                <a:gd name="T6" fmla="*/ 17 w 53"/>
                <a:gd name="T7" fmla="*/ 25 h 49"/>
                <a:gd name="T8" fmla="*/ 26 w 53"/>
                <a:gd name="T9" fmla="*/ 37 h 49"/>
                <a:gd name="T10" fmla="*/ 35 w 53"/>
                <a:gd name="T11" fmla="*/ 49 h 49"/>
                <a:gd name="T12" fmla="*/ 53 w 53"/>
                <a:gd name="T13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9">
                  <a:moveTo>
                    <a:pt x="53" y="40"/>
                  </a:moveTo>
                  <a:cubicBezTo>
                    <a:pt x="51" y="23"/>
                    <a:pt x="50" y="15"/>
                    <a:pt x="37" y="5"/>
                  </a:cubicBezTo>
                  <a:cubicBezTo>
                    <a:pt x="3" y="7"/>
                    <a:pt x="12" y="0"/>
                    <a:pt x="2" y="16"/>
                  </a:cubicBezTo>
                  <a:cubicBezTo>
                    <a:pt x="0" y="26"/>
                    <a:pt x="8" y="23"/>
                    <a:pt x="17" y="25"/>
                  </a:cubicBezTo>
                  <a:cubicBezTo>
                    <a:pt x="20" y="30"/>
                    <a:pt x="21" y="33"/>
                    <a:pt x="26" y="37"/>
                  </a:cubicBezTo>
                  <a:cubicBezTo>
                    <a:pt x="28" y="42"/>
                    <a:pt x="32" y="44"/>
                    <a:pt x="35" y="49"/>
                  </a:cubicBezTo>
                  <a:cubicBezTo>
                    <a:pt x="42" y="46"/>
                    <a:pt x="45" y="26"/>
                    <a:pt x="53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8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752613" y="3017585"/>
              <a:ext cx="132827" cy="137679"/>
            </a:xfrm>
            <a:custGeom>
              <a:avLst/>
              <a:gdLst>
                <a:gd name="T0" fmla="*/ 72 w 80"/>
                <a:gd name="T1" fmla="*/ 15 h 85"/>
                <a:gd name="T2" fmla="*/ 54 w 80"/>
                <a:gd name="T3" fmla="*/ 7 h 85"/>
                <a:gd name="T4" fmla="*/ 39 w 80"/>
                <a:gd name="T5" fmla="*/ 1 h 85"/>
                <a:gd name="T6" fmla="*/ 21 w 80"/>
                <a:gd name="T7" fmla="*/ 15 h 85"/>
                <a:gd name="T8" fmla="*/ 9 w 80"/>
                <a:gd name="T9" fmla="*/ 21 h 85"/>
                <a:gd name="T10" fmla="*/ 8 w 80"/>
                <a:gd name="T11" fmla="*/ 31 h 85"/>
                <a:gd name="T12" fmla="*/ 18 w 80"/>
                <a:gd name="T13" fmla="*/ 49 h 85"/>
                <a:gd name="T14" fmla="*/ 27 w 80"/>
                <a:gd name="T15" fmla="*/ 61 h 85"/>
                <a:gd name="T16" fmla="*/ 44 w 80"/>
                <a:gd name="T17" fmla="*/ 73 h 85"/>
                <a:gd name="T18" fmla="*/ 72 w 80"/>
                <a:gd name="T19" fmla="*/ 85 h 85"/>
                <a:gd name="T20" fmla="*/ 68 w 80"/>
                <a:gd name="T21" fmla="*/ 76 h 85"/>
                <a:gd name="T22" fmla="*/ 56 w 80"/>
                <a:gd name="T23" fmla="*/ 58 h 85"/>
                <a:gd name="T24" fmla="*/ 39 w 80"/>
                <a:gd name="T25" fmla="*/ 48 h 85"/>
                <a:gd name="T26" fmla="*/ 42 w 80"/>
                <a:gd name="T27" fmla="*/ 30 h 85"/>
                <a:gd name="T28" fmla="*/ 80 w 80"/>
                <a:gd name="T29" fmla="*/ 31 h 85"/>
                <a:gd name="T30" fmla="*/ 77 w 80"/>
                <a:gd name="T31" fmla="*/ 1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85">
                  <a:moveTo>
                    <a:pt x="72" y="15"/>
                  </a:moveTo>
                  <a:cubicBezTo>
                    <a:pt x="66" y="12"/>
                    <a:pt x="60" y="9"/>
                    <a:pt x="54" y="7"/>
                  </a:cubicBezTo>
                  <a:cubicBezTo>
                    <a:pt x="49" y="2"/>
                    <a:pt x="47" y="0"/>
                    <a:pt x="39" y="1"/>
                  </a:cubicBezTo>
                  <a:cubicBezTo>
                    <a:pt x="36" y="7"/>
                    <a:pt x="27" y="11"/>
                    <a:pt x="21" y="15"/>
                  </a:cubicBezTo>
                  <a:cubicBezTo>
                    <a:pt x="20" y="24"/>
                    <a:pt x="17" y="22"/>
                    <a:pt x="9" y="21"/>
                  </a:cubicBezTo>
                  <a:cubicBezTo>
                    <a:pt x="0" y="23"/>
                    <a:pt x="4" y="25"/>
                    <a:pt x="8" y="31"/>
                  </a:cubicBezTo>
                  <a:cubicBezTo>
                    <a:pt x="9" y="45"/>
                    <a:pt x="9" y="42"/>
                    <a:pt x="18" y="49"/>
                  </a:cubicBezTo>
                  <a:cubicBezTo>
                    <a:pt x="20" y="55"/>
                    <a:pt x="22" y="57"/>
                    <a:pt x="27" y="61"/>
                  </a:cubicBezTo>
                  <a:cubicBezTo>
                    <a:pt x="31" y="67"/>
                    <a:pt x="37" y="72"/>
                    <a:pt x="44" y="73"/>
                  </a:cubicBezTo>
                  <a:cubicBezTo>
                    <a:pt x="53" y="80"/>
                    <a:pt x="61" y="84"/>
                    <a:pt x="72" y="85"/>
                  </a:cubicBezTo>
                  <a:cubicBezTo>
                    <a:pt x="76" y="84"/>
                    <a:pt x="71" y="80"/>
                    <a:pt x="68" y="76"/>
                  </a:cubicBezTo>
                  <a:cubicBezTo>
                    <a:pt x="65" y="72"/>
                    <a:pt x="61" y="63"/>
                    <a:pt x="56" y="58"/>
                  </a:cubicBezTo>
                  <a:cubicBezTo>
                    <a:pt x="52" y="52"/>
                    <a:pt x="46" y="49"/>
                    <a:pt x="39" y="48"/>
                  </a:cubicBezTo>
                  <a:cubicBezTo>
                    <a:pt x="35" y="41"/>
                    <a:pt x="35" y="35"/>
                    <a:pt x="42" y="30"/>
                  </a:cubicBezTo>
                  <a:cubicBezTo>
                    <a:pt x="49" y="27"/>
                    <a:pt x="74" y="33"/>
                    <a:pt x="80" y="31"/>
                  </a:cubicBezTo>
                  <a:cubicBezTo>
                    <a:pt x="78" y="20"/>
                    <a:pt x="79" y="24"/>
                    <a:pt x="77" y="18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9" name="Freeform 19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880580" y="3022445"/>
              <a:ext cx="108530" cy="147397"/>
            </a:xfrm>
            <a:custGeom>
              <a:avLst/>
              <a:gdLst>
                <a:gd name="T0" fmla="*/ 1 w 66"/>
                <a:gd name="T1" fmla="*/ 13 h 91"/>
                <a:gd name="T2" fmla="*/ 34 w 66"/>
                <a:gd name="T3" fmla="*/ 3 h 91"/>
                <a:gd name="T4" fmla="*/ 33 w 66"/>
                <a:gd name="T5" fmla="*/ 18 h 91"/>
                <a:gd name="T6" fmla="*/ 43 w 66"/>
                <a:gd name="T7" fmla="*/ 31 h 91"/>
                <a:gd name="T8" fmla="*/ 52 w 66"/>
                <a:gd name="T9" fmla="*/ 43 h 91"/>
                <a:gd name="T10" fmla="*/ 66 w 66"/>
                <a:gd name="T11" fmla="*/ 67 h 91"/>
                <a:gd name="T12" fmla="*/ 58 w 66"/>
                <a:gd name="T13" fmla="*/ 81 h 91"/>
                <a:gd name="T14" fmla="*/ 27 w 66"/>
                <a:gd name="T15" fmla="*/ 90 h 91"/>
                <a:gd name="T16" fmla="*/ 21 w 66"/>
                <a:gd name="T17" fmla="*/ 75 h 91"/>
                <a:gd name="T18" fmla="*/ 6 w 66"/>
                <a:gd name="T19" fmla="*/ 58 h 91"/>
                <a:gd name="T20" fmla="*/ 9 w 66"/>
                <a:gd name="T21" fmla="*/ 48 h 91"/>
                <a:gd name="T22" fmla="*/ 6 w 66"/>
                <a:gd name="T23" fmla="*/ 39 h 91"/>
                <a:gd name="T24" fmla="*/ 1 w 66"/>
                <a:gd name="T25" fmla="*/ 33 h 91"/>
                <a:gd name="T26" fmla="*/ 1 w 66"/>
                <a:gd name="T27" fmla="*/ 21 h 91"/>
                <a:gd name="T28" fmla="*/ 1 w 66"/>
                <a:gd name="T29" fmla="*/ 12 h 91"/>
                <a:gd name="T30" fmla="*/ 1 w 6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91">
                  <a:moveTo>
                    <a:pt x="1" y="13"/>
                  </a:moveTo>
                  <a:cubicBezTo>
                    <a:pt x="8" y="0"/>
                    <a:pt x="14" y="1"/>
                    <a:pt x="34" y="3"/>
                  </a:cubicBezTo>
                  <a:cubicBezTo>
                    <a:pt x="40" y="4"/>
                    <a:pt x="32" y="13"/>
                    <a:pt x="33" y="18"/>
                  </a:cubicBezTo>
                  <a:cubicBezTo>
                    <a:pt x="34" y="23"/>
                    <a:pt x="40" y="27"/>
                    <a:pt x="43" y="31"/>
                  </a:cubicBezTo>
                  <a:cubicBezTo>
                    <a:pt x="46" y="36"/>
                    <a:pt x="47" y="39"/>
                    <a:pt x="52" y="43"/>
                  </a:cubicBezTo>
                  <a:cubicBezTo>
                    <a:pt x="56" y="53"/>
                    <a:pt x="61" y="58"/>
                    <a:pt x="66" y="67"/>
                  </a:cubicBezTo>
                  <a:cubicBezTo>
                    <a:pt x="66" y="73"/>
                    <a:pt x="65" y="77"/>
                    <a:pt x="58" y="81"/>
                  </a:cubicBezTo>
                  <a:cubicBezTo>
                    <a:pt x="51" y="85"/>
                    <a:pt x="33" y="91"/>
                    <a:pt x="27" y="90"/>
                  </a:cubicBezTo>
                  <a:cubicBezTo>
                    <a:pt x="25" y="85"/>
                    <a:pt x="23" y="80"/>
                    <a:pt x="21" y="75"/>
                  </a:cubicBezTo>
                  <a:cubicBezTo>
                    <a:pt x="20" y="68"/>
                    <a:pt x="9" y="64"/>
                    <a:pt x="6" y="58"/>
                  </a:cubicBezTo>
                  <a:cubicBezTo>
                    <a:pt x="3" y="53"/>
                    <a:pt x="9" y="52"/>
                    <a:pt x="9" y="48"/>
                  </a:cubicBezTo>
                  <a:cubicBezTo>
                    <a:pt x="9" y="45"/>
                    <a:pt x="7" y="41"/>
                    <a:pt x="6" y="39"/>
                  </a:cubicBezTo>
                  <a:cubicBezTo>
                    <a:pt x="5" y="37"/>
                    <a:pt x="2" y="36"/>
                    <a:pt x="1" y="33"/>
                  </a:cubicBezTo>
                  <a:cubicBezTo>
                    <a:pt x="0" y="27"/>
                    <a:pt x="1" y="24"/>
                    <a:pt x="1" y="21"/>
                  </a:cubicBezTo>
                  <a:cubicBezTo>
                    <a:pt x="1" y="18"/>
                    <a:pt x="1" y="13"/>
                    <a:pt x="1" y="12"/>
                  </a:cubicBezTo>
                  <a:cubicBezTo>
                    <a:pt x="0" y="5"/>
                    <a:pt x="0" y="5"/>
                    <a:pt x="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0" name="Freeform 20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817407" y="2941458"/>
              <a:ext cx="152265" cy="102044"/>
            </a:xfrm>
            <a:custGeom>
              <a:avLst/>
              <a:gdLst>
                <a:gd name="T0" fmla="*/ 21 w 92"/>
                <a:gd name="T1" fmla="*/ 57 h 63"/>
                <a:gd name="T2" fmla="*/ 12 w 92"/>
                <a:gd name="T3" fmla="*/ 53 h 63"/>
                <a:gd name="T4" fmla="*/ 5 w 92"/>
                <a:gd name="T5" fmla="*/ 44 h 63"/>
                <a:gd name="T6" fmla="*/ 0 w 92"/>
                <a:gd name="T7" fmla="*/ 41 h 63"/>
                <a:gd name="T8" fmla="*/ 11 w 92"/>
                <a:gd name="T9" fmla="*/ 23 h 63"/>
                <a:gd name="T10" fmla="*/ 26 w 92"/>
                <a:gd name="T11" fmla="*/ 11 h 63"/>
                <a:gd name="T12" fmla="*/ 51 w 92"/>
                <a:gd name="T13" fmla="*/ 8 h 63"/>
                <a:gd name="T14" fmla="*/ 66 w 92"/>
                <a:gd name="T15" fmla="*/ 0 h 63"/>
                <a:gd name="T16" fmla="*/ 92 w 92"/>
                <a:gd name="T17" fmla="*/ 5 h 63"/>
                <a:gd name="T18" fmla="*/ 84 w 92"/>
                <a:gd name="T19" fmla="*/ 33 h 63"/>
                <a:gd name="T20" fmla="*/ 72 w 92"/>
                <a:gd name="T21" fmla="*/ 50 h 63"/>
                <a:gd name="T22" fmla="*/ 45 w 92"/>
                <a:gd name="T23" fmla="*/ 54 h 63"/>
                <a:gd name="T24" fmla="*/ 32 w 92"/>
                <a:gd name="T25" fmla="*/ 62 h 63"/>
                <a:gd name="T26" fmla="*/ 21 w 92"/>
                <a:gd name="T27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63">
                  <a:moveTo>
                    <a:pt x="21" y="57"/>
                  </a:moveTo>
                  <a:cubicBezTo>
                    <a:pt x="18" y="55"/>
                    <a:pt x="15" y="55"/>
                    <a:pt x="12" y="53"/>
                  </a:cubicBezTo>
                  <a:cubicBezTo>
                    <a:pt x="9" y="51"/>
                    <a:pt x="8" y="46"/>
                    <a:pt x="5" y="44"/>
                  </a:cubicBezTo>
                  <a:cubicBezTo>
                    <a:pt x="3" y="43"/>
                    <a:pt x="2" y="42"/>
                    <a:pt x="0" y="41"/>
                  </a:cubicBezTo>
                  <a:cubicBezTo>
                    <a:pt x="2" y="31"/>
                    <a:pt x="1" y="25"/>
                    <a:pt x="11" y="23"/>
                  </a:cubicBezTo>
                  <a:cubicBezTo>
                    <a:pt x="19" y="17"/>
                    <a:pt x="17" y="13"/>
                    <a:pt x="26" y="11"/>
                  </a:cubicBezTo>
                  <a:cubicBezTo>
                    <a:pt x="31" y="2"/>
                    <a:pt x="39" y="6"/>
                    <a:pt x="51" y="8"/>
                  </a:cubicBezTo>
                  <a:cubicBezTo>
                    <a:pt x="60" y="6"/>
                    <a:pt x="59" y="3"/>
                    <a:pt x="66" y="0"/>
                  </a:cubicBezTo>
                  <a:cubicBezTo>
                    <a:pt x="75" y="2"/>
                    <a:pt x="92" y="5"/>
                    <a:pt x="92" y="5"/>
                  </a:cubicBezTo>
                  <a:cubicBezTo>
                    <a:pt x="91" y="16"/>
                    <a:pt x="89" y="24"/>
                    <a:pt x="84" y="33"/>
                  </a:cubicBezTo>
                  <a:cubicBezTo>
                    <a:pt x="80" y="40"/>
                    <a:pt x="78" y="47"/>
                    <a:pt x="72" y="50"/>
                  </a:cubicBezTo>
                  <a:cubicBezTo>
                    <a:pt x="66" y="53"/>
                    <a:pt x="52" y="52"/>
                    <a:pt x="45" y="54"/>
                  </a:cubicBezTo>
                  <a:cubicBezTo>
                    <a:pt x="40" y="60"/>
                    <a:pt x="38" y="59"/>
                    <a:pt x="32" y="62"/>
                  </a:cubicBezTo>
                  <a:cubicBezTo>
                    <a:pt x="22" y="60"/>
                    <a:pt x="25" y="63"/>
                    <a:pt x="21" y="5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1" name="Freeform 21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825505" y="2892864"/>
              <a:ext cx="150646" cy="77748"/>
            </a:xfrm>
            <a:custGeom>
              <a:avLst/>
              <a:gdLst>
                <a:gd name="T0" fmla="*/ 90 w 91"/>
                <a:gd name="T1" fmla="*/ 35 h 48"/>
                <a:gd name="T2" fmla="*/ 91 w 91"/>
                <a:gd name="T3" fmla="*/ 18 h 48"/>
                <a:gd name="T4" fmla="*/ 51 w 91"/>
                <a:gd name="T5" fmla="*/ 11 h 48"/>
                <a:gd name="T6" fmla="*/ 25 w 91"/>
                <a:gd name="T7" fmla="*/ 12 h 48"/>
                <a:gd name="T8" fmla="*/ 4 w 91"/>
                <a:gd name="T9" fmla="*/ 24 h 48"/>
                <a:gd name="T10" fmla="*/ 10 w 91"/>
                <a:gd name="T11" fmla="*/ 45 h 48"/>
                <a:gd name="T12" fmla="*/ 25 w 91"/>
                <a:gd name="T13" fmla="*/ 36 h 48"/>
                <a:gd name="T14" fmla="*/ 49 w 91"/>
                <a:gd name="T15" fmla="*/ 35 h 48"/>
                <a:gd name="T16" fmla="*/ 90 w 91"/>
                <a:gd name="T17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8">
                  <a:moveTo>
                    <a:pt x="90" y="35"/>
                  </a:moveTo>
                  <a:cubicBezTo>
                    <a:pt x="91" y="27"/>
                    <a:pt x="90" y="26"/>
                    <a:pt x="91" y="18"/>
                  </a:cubicBezTo>
                  <a:cubicBezTo>
                    <a:pt x="88" y="0"/>
                    <a:pt x="66" y="10"/>
                    <a:pt x="51" y="11"/>
                  </a:cubicBezTo>
                  <a:cubicBezTo>
                    <a:pt x="42" y="8"/>
                    <a:pt x="34" y="10"/>
                    <a:pt x="25" y="12"/>
                  </a:cubicBezTo>
                  <a:cubicBezTo>
                    <a:pt x="16" y="19"/>
                    <a:pt x="17" y="23"/>
                    <a:pt x="4" y="24"/>
                  </a:cubicBezTo>
                  <a:cubicBezTo>
                    <a:pt x="0" y="30"/>
                    <a:pt x="4" y="40"/>
                    <a:pt x="10" y="45"/>
                  </a:cubicBezTo>
                  <a:cubicBezTo>
                    <a:pt x="13" y="48"/>
                    <a:pt x="19" y="38"/>
                    <a:pt x="25" y="36"/>
                  </a:cubicBezTo>
                  <a:cubicBezTo>
                    <a:pt x="31" y="34"/>
                    <a:pt x="38" y="35"/>
                    <a:pt x="49" y="35"/>
                  </a:cubicBezTo>
                  <a:cubicBezTo>
                    <a:pt x="63" y="27"/>
                    <a:pt x="66" y="32"/>
                    <a:pt x="9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2" name="Freeform 22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4720217" y="2849132"/>
              <a:ext cx="165224" cy="90706"/>
            </a:xfrm>
            <a:custGeom>
              <a:avLst/>
              <a:gdLst>
                <a:gd name="T0" fmla="*/ 100 w 100"/>
                <a:gd name="T1" fmla="*/ 35 h 56"/>
                <a:gd name="T2" fmla="*/ 86 w 100"/>
                <a:gd name="T3" fmla="*/ 26 h 56"/>
                <a:gd name="T4" fmla="*/ 55 w 100"/>
                <a:gd name="T5" fmla="*/ 3 h 56"/>
                <a:gd name="T6" fmla="*/ 35 w 100"/>
                <a:gd name="T7" fmla="*/ 2 h 56"/>
                <a:gd name="T8" fmla="*/ 20 w 100"/>
                <a:gd name="T9" fmla="*/ 12 h 56"/>
                <a:gd name="T10" fmla="*/ 2 w 100"/>
                <a:gd name="T11" fmla="*/ 23 h 56"/>
                <a:gd name="T12" fmla="*/ 11 w 100"/>
                <a:gd name="T13" fmla="*/ 38 h 56"/>
                <a:gd name="T14" fmla="*/ 23 w 100"/>
                <a:gd name="T15" fmla="*/ 56 h 56"/>
                <a:gd name="T16" fmla="*/ 41 w 100"/>
                <a:gd name="T17" fmla="*/ 45 h 56"/>
                <a:gd name="T18" fmla="*/ 59 w 100"/>
                <a:gd name="T19" fmla="*/ 56 h 56"/>
                <a:gd name="T20" fmla="*/ 64 w 100"/>
                <a:gd name="T21" fmla="*/ 54 h 56"/>
                <a:gd name="T22" fmla="*/ 68 w 100"/>
                <a:gd name="T23" fmla="*/ 56 h 56"/>
                <a:gd name="T24" fmla="*/ 88 w 100"/>
                <a:gd name="T25" fmla="*/ 42 h 56"/>
                <a:gd name="T26" fmla="*/ 100 w 100"/>
                <a:gd name="T27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" h="56">
                  <a:moveTo>
                    <a:pt x="100" y="35"/>
                  </a:moveTo>
                  <a:cubicBezTo>
                    <a:pt x="94" y="32"/>
                    <a:pt x="93" y="27"/>
                    <a:pt x="86" y="26"/>
                  </a:cubicBezTo>
                  <a:cubicBezTo>
                    <a:pt x="75" y="18"/>
                    <a:pt x="66" y="11"/>
                    <a:pt x="55" y="3"/>
                  </a:cubicBezTo>
                  <a:cubicBezTo>
                    <a:pt x="47" y="0"/>
                    <a:pt x="41" y="1"/>
                    <a:pt x="35" y="2"/>
                  </a:cubicBezTo>
                  <a:cubicBezTo>
                    <a:pt x="29" y="3"/>
                    <a:pt x="25" y="9"/>
                    <a:pt x="20" y="12"/>
                  </a:cubicBezTo>
                  <a:cubicBezTo>
                    <a:pt x="13" y="20"/>
                    <a:pt x="6" y="13"/>
                    <a:pt x="2" y="23"/>
                  </a:cubicBezTo>
                  <a:cubicBezTo>
                    <a:pt x="6" y="41"/>
                    <a:pt x="0" y="29"/>
                    <a:pt x="11" y="38"/>
                  </a:cubicBezTo>
                  <a:cubicBezTo>
                    <a:pt x="13" y="43"/>
                    <a:pt x="20" y="51"/>
                    <a:pt x="23" y="56"/>
                  </a:cubicBezTo>
                  <a:cubicBezTo>
                    <a:pt x="30" y="53"/>
                    <a:pt x="35" y="49"/>
                    <a:pt x="41" y="45"/>
                  </a:cubicBezTo>
                  <a:cubicBezTo>
                    <a:pt x="47" y="49"/>
                    <a:pt x="53" y="52"/>
                    <a:pt x="59" y="56"/>
                  </a:cubicBezTo>
                  <a:cubicBezTo>
                    <a:pt x="61" y="55"/>
                    <a:pt x="62" y="54"/>
                    <a:pt x="64" y="54"/>
                  </a:cubicBezTo>
                  <a:cubicBezTo>
                    <a:pt x="65" y="54"/>
                    <a:pt x="67" y="56"/>
                    <a:pt x="68" y="56"/>
                  </a:cubicBezTo>
                  <a:cubicBezTo>
                    <a:pt x="75" y="55"/>
                    <a:pt x="80" y="43"/>
                    <a:pt x="88" y="42"/>
                  </a:cubicBezTo>
                  <a:cubicBezTo>
                    <a:pt x="91" y="37"/>
                    <a:pt x="94" y="31"/>
                    <a:pt x="10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3" name="Freeform 23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5288780" y="3313998"/>
              <a:ext cx="145786" cy="149017"/>
            </a:xfrm>
            <a:custGeom>
              <a:avLst/>
              <a:gdLst>
                <a:gd name="T0" fmla="*/ 89 w 89"/>
                <a:gd name="T1" fmla="*/ 6 h 92"/>
                <a:gd name="T2" fmla="*/ 62 w 89"/>
                <a:gd name="T3" fmla="*/ 12 h 92"/>
                <a:gd name="T4" fmla="*/ 50 w 89"/>
                <a:gd name="T5" fmla="*/ 15 h 92"/>
                <a:gd name="T6" fmla="*/ 8 w 89"/>
                <a:gd name="T7" fmla="*/ 16 h 92"/>
                <a:gd name="T8" fmla="*/ 10 w 89"/>
                <a:gd name="T9" fmla="*/ 54 h 92"/>
                <a:gd name="T10" fmla="*/ 5 w 89"/>
                <a:gd name="T11" fmla="*/ 78 h 92"/>
                <a:gd name="T12" fmla="*/ 19 w 89"/>
                <a:gd name="T13" fmla="*/ 85 h 92"/>
                <a:gd name="T14" fmla="*/ 28 w 89"/>
                <a:gd name="T15" fmla="*/ 82 h 92"/>
                <a:gd name="T16" fmla="*/ 55 w 89"/>
                <a:gd name="T17" fmla="*/ 70 h 92"/>
                <a:gd name="T18" fmla="*/ 73 w 89"/>
                <a:gd name="T19" fmla="*/ 52 h 92"/>
                <a:gd name="T20" fmla="*/ 82 w 89"/>
                <a:gd name="T21" fmla="*/ 39 h 92"/>
                <a:gd name="T22" fmla="*/ 89 w 89"/>
                <a:gd name="T23" fmla="*/ 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92">
                  <a:moveTo>
                    <a:pt x="89" y="6"/>
                  </a:moveTo>
                  <a:cubicBezTo>
                    <a:pt x="77" y="4"/>
                    <a:pt x="69" y="0"/>
                    <a:pt x="62" y="12"/>
                  </a:cubicBezTo>
                  <a:cubicBezTo>
                    <a:pt x="60" y="21"/>
                    <a:pt x="58" y="16"/>
                    <a:pt x="50" y="15"/>
                  </a:cubicBezTo>
                  <a:cubicBezTo>
                    <a:pt x="36" y="15"/>
                    <a:pt x="22" y="14"/>
                    <a:pt x="8" y="16"/>
                  </a:cubicBezTo>
                  <a:cubicBezTo>
                    <a:pt x="3" y="17"/>
                    <a:pt x="0" y="48"/>
                    <a:pt x="10" y="54"/>
                  </a:cubicBezTo>
                  <a:cubicBezTo>
                    <a:pt x="17" y="63"/>
                    <a:pt x="12" y="71"/>
                    <a:pt x="5" y="78"/>
                  </a:cubicBezTo>
                  <a:cubicBezTo>
                    <a:pt x="8" y="84"/>
                    <a:pt x="13" y="84"/>
                    <a:pt x="19" y="85"/>
                  </a:cubicBezTo>
                  <a:cubicBezTo>
                    <a:pt x="23" y="92"/>
                    <a:pt x="21" y="86"/>
                    <a:pt x="28" y="82"/>
                  </a:cubicBezTo>
                  <a:cubicBezTo>
                    <a:pt x="30" y="68"/>
                    <a:pt x="42" y="72"/>
                    <a:pt x="55" y="70"/>
                  </a:cubicBezTo>
                  <a:cubicBezTo>
                    <a:pt x="65" y="63"/>
                    <a:pt x="58" y="59"/>
                    <a:pt x="73" y="52"/>
                  </a:cubicBezTo>
                  <a:cubicBezTo>
                    <a:pt x="76" y="48"/>
                    <a:pt x="79" y="43"/>
                    <a:pt x="82" y="39"/>
                  </a:cubicBezTo>
                  <a:cubicBezTo>
                    <a:pt x="84" y="27"/>
                    <a:pt x="78" y="14"/>
                    <a:pt x="89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4" name="Freeform 24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5207787" y="3359351"/>
              <a:ext cx="64794" cy="40494"/>
            </a:xfrm>
            <a:custGeom>
              <a:avLst/>
              <a:gdLst>
                <a:gd name="T0" fmla="*/ 0 w 39"/>
                <a:gd name="T1" fmla="*/ 12 h 25"/>
                <a:gd name="T2" fmla="*/ 30 w 39"/>
                <a:gd name="T3" fmla="*/ 0 h 25"/>
                <a:gd name="T4" fmla="*/ 29 w 39"/>
                <a:gd name="T5" fmla="*/ 8 h 25"/>
                <a:gd name="T6" fmla="*/ 21 w 39"/>
                <a:gd name="T7" fmla="*/ 21 h 25"/>
                <a:gd name="T8" fmla="*/ 2 w 39"/>
                <a:gd name="T9" fmla="*/ 23 h 25"/>
                <a:gd name="T10" fmla="*/ 0 w 39"/>
                <a:gd name="T11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5">
                  <a:moveTo>
                    <a:pt x="0" y="12"/>
                  </a:moveTo>
                  <a:cubicBezTo>
                    <a:pt x="17" y="9"/>
                    <a:pt x="18" y="9"/>
                    <a:pt x="30" y="0"/>
                  </a:cubicBezTo>
                  <a:cubicBezTo>
                    <a:pt x="39" y="3"/>
                    <a:pt x="35" y="5"/>
                    <a:pt x="29" y="8"/>
                  </a:cubicBezTo>
                  <a:cubicBezTo>
                    <a:pt x="35" y="16"/>
                    <a:pt x="29" y="19"/>
                    <a:pt x="21" y="21"/>
                  </a:cubicBezTo>
                  <a:cubicBezTo>
                    <a:pt x="14" y="25"/>
                    <a:pt x="10" y="24"/>
                    <a:pt x="2" y="23"/>
                  </a:cubicBezTo>
                  <a:cubicBezTo>
                    <a:pt x="0" y="14"/>
                    <a:pt x="0" y="18"/>
                    <a:pt x="0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5" name="Freeform 25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036085" y="3153644"/>
              <a:ext cx="489192" cy="194369"/>
            </a:xfrm>
            <a:custGeom>
              <a:avLst/>
              <a:gdLst>
                <a:gd name="T0" fmla="*/ 61 w 297"/>
                <a:gd name="T1" fmla="*/ 24 h 120"/>
                <a:gd name="T2" fmla="*/ 44 w 297"/>
                <a:gd name="T3" fmla="*/ 9 h 120"/>
                <a:gd name="T4" fmla="*/ 29 w 297"/>
                <a:gd name="T5" fmla="*/ 0 h 120"/>
                <a:gd name="T6" fmla="*/ 19 w 297"/>
                <a:gd name="T7" fmla="*/ 10 h 120"/>
                <a:gd name="T8" fmla="*/ 2 w 297"/>
                <a:gd name="T9" fmla="*/ 42 h 120"/>
                <a:gd name="T10" fmla="*/ 5 w 297"/>
                <a:gd name="T11" fmla="*/ 64 h 120"/>
                <a:gd name="T12" fmla="*/ 20 w 297"/>
                <a:gd name="T13" fmla="*/ 63 h 120"/>
                <a:gd name="T14" fmla="*/ 22 w 297"/>
                <a:gd name="T15" fmla="*/ 85 h 120"/>
                <a:gd name="T16" fmla="*/ 53 w 297"/>
                <a:gd name="T17" fmla="*/ 115 h 120"/>
                <a:gd name="T18" fmla="*/ 68 w 297"/>
                <a:gd name="T19" fmla="*/ 120 h 120"/>
                <a:gd name="T20" fmla="*/ 82 w 297"/>
                <a:gd name="T21" fmla="*/ 109 h 120"/>
                <a:gd name="T22" fmla="*/ 109 w 297"/>
                <a:gd name="T23" fmla="*/ 115 h 120"/>
                <a:gd name="T24" fmla="*/ 133 w 297"/>
                <a:gd name="T25" fmla="*/ 111 h 120"/>
                <a:gd name="T26" fmla="*/ 167 w 297"/>
                <a:gd name="T27" fmla="*/ 114 h 120"/>
                <a:gd name="T28" fmla="*/ 182 w 297"/>
                <a:gd name="T29" fmla="*/ 114 h 120"/>
                <a:gd name="T30" fmla="*/ 211 w 297"/>
                <a:gd name="T31" fmla="*/ 114 h 120"/>
                <a:gd name="T32" fmla="*/ 222 w 297"/>
                <a:gd name="T33" fmla="*/ 103 h 120"/>
                <a:gd name="T34" fmla="*/ 232 w 297"/>
                <a:gd name="T35" fmla="*/ 102 h 120"/>
                <a:gd name="T36" fmla="*/ 248 w 297"/>
                <a:gd name="T37" fmla="*/ 103 h 120"/>
                <a:gd name="T38" fmla="*/ 269 w 297"/>
                <a:gd name="T39" fmla="*/ 108 h 120"/>
                <a:gd name="T40" fmla="*/ 272 w 297"/>
                <a:gd name="T41" fmla="*/ 103 h 120"/>
                <a:gd name="T42" fmla="*/ 284 w 297"/>
                <a:gd name="T43" fmla="*/ 105 h 120"/>
                <a:gd name="T44" fmla="*/ 274 w 297"/>
                <a:gd name="T45" fmla="*/ 45 h 120"/>
                <a:gd name="T46" fmla="*/ 262 w 297"/>
                <a:gd name="T47" fmla="*/ 21 h 120"/>
                <a:gd name="T48" fmla="*/ 230 w 297"/>
                <a:gd name="T49" fmla="*/ 28 h 120"/>
                <a:gd name="T50" fmla="*/ 193 w 297"/>
                <a:gd name="T51" fmla="*/ 30 h 120"/>
                <a:gd name="T52" fmla="*/ 164 w 297"/>
                <a:gd name="T53" fmla="*/ 15 h 120"/>
                <a:gd name="T54" fmla="*/ 146 w 297"/>
                <a:gd name="T55" fmla="*/ 6 h 120"/>
                <a:gd name="T56" fmla="*/ 98 w 297"/>
                <a:gd name="T57" fmla="*/ 15 h 120"/>
                <a:gd name="T58" fmla="*/ 86 w 297"/>
                <a:gd name="T59" fmla="*/ 22 h 120"/>
                <a:gd name="T60" fmla="*/ 61 w 297"/>
                <a:gd name="T61" fmla="*/ 2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7" h="120">
                  <a:moveTo>
                    <a:pt x="61" y="24"/>
                  </a:moveTo>
                  <a:cubicBezTo>
                    <a:pt x="46" y="21"/>
                    <a:pt x="50" y="20"/>
                    <a:pt x="44" y="9"/>
                  </a:cubicBezTo>
                  <a:cubicBezTo>
                    <a:pt x="39" y="5"/>
                    <a:pt x="33" y="0"/>
                    <a:pt x="29" y="0"/>
                  </a:cubicBezTo>
                  <a:cubicBezTo>
                    <a:pt x="25" y="0"/>
                    <a:pt x="23" y="3"/>
                    <a:pt x="19" y="10"/>
                  </a:cubicBezTo>
                  <a:cubicBezTo>
                    <a:pt x="22" y="30"/>
                    <a:pt x="17" y="33"/>
                    <a:pt x="2" y="42"/>
                  </a:cubicBezTo>
                  <a:cubicBezTo>
                    <a:pt x="1" y="50"/>
                    <a:pt x="0" y="57"/>
                    <a:pt x="5" y="64"/>
                  </a:cubicBezTo>
                  <a:cubicBezTo>
                    <a:pt x="12" y="63"/>
                    <a:pt x="14" y="59"/>
                    <a:pt x="20" y="63"/>
                  </a:cubicBezTo>
                  <a:cubicBezTo>
                    <a:pt x="19" y="71"/>
                    <a:pt x="11" y="83"/>
                    <a:pt x="22" y="85"/>
                  </a:cubicBezTo>
                  <a:cubicBezTo>
                    <a:pt x="27" y="108"/>
                    <a:pt x="27" y="113"/>
                    <a:pt x="53" y="115"/>
                  </a:cubicBezTo>
                  <a:cubicBezTo>
                    <a:pt x="58" y="117"/>
                    <a:pt x="63" y="118"/>
                    <a:pt x="68" y="120"/>
                  </a:cubicBezTo>
                  <a:cubicBezTo>
                    <a:pt x="74" y="117"/>
                    <a:pt x="77" y="114"/>
                    <a:pt x="82" y="109"/>
                  </a:cubicBezTo>
                  <a:cubicBezTo>
                    <a:pt x="90" y="113"/>
                    <a:pt x="109" y="115"/>
                    <a:pt x="109" y="115"/>
                  </a:cubicBezTo>
                  <a:cubicBezTo>
                    <a:pt x="118" y="114"/>
                    <a:pt x="124" y="112"/>
                    <a:pt x="133" y="111"/>
                  </a:cubicBezTo>
                  <a:cubicBezTo>
                    <a:pt x="143" y="110"/>
                    <a:pt x="159" y="114"/>
                    <a:pt x="167" y="114"/>
                  </a:cubicBezTo>
                  <a:cubicBezTo>
                    <a:pt x="175" y="114"/>
                    <a:pt x="175" y="114"/>
                    <a:pt x="182" y="114"/>
                  </a:cubicBezTo>
                  <a:cubicBezTo>
                    <a:pt x="189" y="114"/>
                    <a:pt x="204" y="116"/>
                    <a:pt x="211" y="114"/>
                  </a:cubicBezTo>
                  <a:cubicBezTo>
                    <a:pt x="218" y="112"/>
                    <a:pt x="219" y="105"/>
                    <a:pt x="222" y="103"/>
                  </a:cubicBezTo>
                  <a:cubicBezTo>
                    <a:pt x="225" y="101"/>
                    <a:pt x="228" y="102"/>
                    <a:pt x="232" y="102"/>
                  </a:cubicBezTo>
                  <a:cubicBezTo>
                    <a:pt x="236" y="102"/>
                    <a:pt x="242" y="102"/>
                    <a:pt x="248" y="103"/>
                  </a:cubicBezTo>
                  <a:cubicBezTo>
                    <a:pt x="254" y="104"/>
                    <a:pt x="265" y="108"/>
                    <a:pt x="269" y="108"/>
                  </a:cubicBezTo>
                  <a:cubicBezTo>
                    <a:pt x="273" y="108"/>
                    <a:pt x="270" y="103"/>
                    <a:pt x="272" y="103"/>
                  </a:cubicBezTo>
                  <a:cubicBezTo>
                    <a:pt x="274" y="103"/>
                    <a:pt x="284" y="115"/>
                    <a:pt x="284" y="105"/>
                  </a:cubicBezTo>
                  <a:cubicBezTo>
                    <a:pt x="297" y="84"/>
                    <a:pt x="292" y="59"/>
                    <a:pt x="274" y="45"/>
                  </a:cubicBezTo>
                  <a:cubicBezTo>
                    <a:pt x="268" y="29"/>
                    <a:pt x="274" y="33"/>
                    <a:pt x="262" y="21"/>
                  </a:cubicBezTo>
                  <a:cubicBezTo>
                    <a:pt x="246" y="22"/>
                    <a:pt x="243" y="25"/>
                    <a:pt x="230" y="28"/>
                  </a:cubicBezTo>
                  <a:cubicBezTo>
                    <a:pt x="218" y="34"/>
                    <a:pt x="208" y="31"/>
                    <a:pt x="193" y="30"/>
                  </a:cubicBezTo>
                  <a:cubicBezTo>
                    <a:pt x="183" y="26"/>
                    <a:pt x="175" y="17"/>
                    <a:pt x="164" y="15"/>
                  </a:cubicBezTo>
                  <a:cubicBezTo>
                    <a:pt x="158" y="11"/>
                    <a:pt x="153" y="7"/>
                    <a:pt x="146" y="6"/>
                  </a:cubicBezTo>
                  <a:cubicBezTo>
                    <a:pt x="117" y="7"/>
                    <a:pt x="116" y="4"/>
                    <a:pt x="98" y="15"/>
                  </a:cubicBezTo>
                  <a:cubicBezTo>
                    <a:pt x="94" y="20"/>
                    <a:pt x="92" y="21"/>
                    <a:pt x="86" y="22"/>
                  </a:cubicBezTo>
                  <a:cubicBezTo>
                    <a:pt x="76" y="27"/>
                    <a:pt x="83" y="24"/>
                    <a:pt x="61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6" name="Freeform 26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4718597" y="4156266"/>
              <a:ext cx="458415" cy="424373"/>
            </a:xfrm>
            <a:custGeom>
              <a:avLst/>
              <a:gdLst>
                <a:gd name="T0" fmla="*/ 8 w 278"/>
                <a:gd name="T1" fmla="*/ 170 h 262"/>
                <a:gd name="T2" fmla="*/ 0 w 278"/>
                <a:gd name="T3" fmla="*/ 156 h 262"/>
                <a:gd name="T4" fmla="*/ 15 w 278"/>
                <a:gd name="T5" fmla="*/ 141 h 262"/>
                <a:gd name="T6" fmla="*/ 33 w 278"/>
                <a:gd name="T7" fmla="*/ 141 h 262"/>
                <a:gd name="T8" fmla="*/ 53 w 278"/>
                <a:gd name="T9" fmla="*/ 135 h 262"/>
                <a:gd name="T10" fmla="*/ 68 w 278"/>
                <a:gd name="T11" fmla="*/ 107 h 262"/>
                <a:gd name="T12" fmla="*/ 84 w 278"/>
                <a:gd name="T13" fmla="*/ 90 h 262"/>
                <a:gd name="T14" fmla="*/ 84 w 278"/>
                <a:gd name="T15" fmla="*/ 72 h 262"/>
                <a:gd name="T16" fmla="*/ 92 w 278"/>
                <a:gd name="T17" fmla="*/ 53 h 262"/>
                <a:gd name="T18" fmla="*/ 98 w 278"/>
                <a:gd name="T19" fmla="*/ 18 h 262"/>
                <a:gd name="T20" fmla="*/ 108 w 278"/>
                <a:gd name="T21" fmla="*/ 0 h 262"/>
                <a:gd name="T22" fmla="*/ 144 w 278"/>
                <a:gd name="T23" fmla="*/ 14 h 262"/>
                <a:gd name="T24" fmla="*/ 158 w 278"/>
                <a:gd name="T25" fmla="*/ 12 h 262"/>
                <a:gd name="T26" fmla="*/ 188 w 278"/>
                <a:gd name="T27" fmla="*/ 5 h 262"/>
                <a:gd name="T28" fmla="*/ 209 w 278"/>
                <a:gd name="T29" fmla="*/ 0 h 262"/>
                <a:gd name="T30" fmla="*/ 233 w 278"/>
                <a:gd name="T31" fmla="*/ 6 h 262"/>
                <a:gd name="T32" fmla="*/ 261 w 278"/>
                <a:gd name="T33" fmla="*/ 12 h 262"/>
                <a:gd name="T34" fmla="*/ 272 w 278"/>
                <a:gd name="T35" fmla="*/ 24 h 262"/>
                <a:gd name="T36" fmla="*/ 278 w 278"/>
                <a:gd name="T37" fmla="*/ 39 h 262"/>
                <a:gd name="T38" fmla="*/ 264 w 278"/>
                <a:gd name="T39" fmla="*/ 65 h 262"/>
                <a:gd name="T40" fmla="*/ 258 w 278"/>
                <a:gd name="T41" fmla="*/ 90 h 262"/>
                <a:gd name="T42" fmla="*/ 249 w 278"/>
                <a:gd name="T43" fmla="*/ 110 h 262"/>
                <a:gd name="T44" fmla="*/ 257 w 278"/>
                <a:gd name="T45" fmla="*/ 171 h 262"/>
                <a:gd name="T46" fmla="*/ 272 w 278"/>
                <a:gd name="T47" fmla="*/ 182 h 262"/>
                <a:gd name="T48" fmla="*/ 243 w 278"/>
                <a:gd name="T49" fmla="*/ 204 h 262"/>
                <a:gd name="T50" fmla="*/ 237 w 278"/>
                <a:gd name="T51" fmla="*/ 255 h 262"/>
                <a:gd name="T52" fmla="*/ 219 w 278"/>
                <a:gd name="T53" fmla="*/ 249 h 262"/>
                <a:gd name="T54" fmla="*/ 197 w 278"/>
                <a:gd name="T55" fmla="*/ 245 h 262"/>
                <a:gd name="T56" fmla="*/ 169 w 278"/>
                <a:gd name="T57" fmla="*/ 240 h 262"/>
                <a:gd name="T58" fmla="*/ 150 w 278"/>
                <a:gd name="T59" fmla="*/ 236 h 262"/>
                <a:gd name="T60" fmla="*/ 146 w 278"/>
                <a:gd name="T61" fmla="*/ 227 h 262"/>
                <a:gd name="T62" fmla="*/ 148 w 278"/>
                <a:gd name="T63" fmla="*/ 209 h 262"/>
                <a:gd name="T64" fmla="*/ 141 w 278"/>
                <a:gd name="T65" fmla="*/ 195 h 262"/>
                <a:gd name="T66" fmla="*/ 128 w 278"/>
                <a:gd name="T67" fmla="*/ 186 h 262"/>
                <a:gd name="T68" fmla="*/ 109 w 278"/>
                <a:gd name="T69" fmla="*/ 189 h 262"/>
                <a:gd name="T70" fmla="*/ 90 w 278"/>
                <a:gd name="T71" fmla="*/ 194 h 262"/>
                <a:gd name="T72" fmla="*/ 68 w 278"/>
                <a:gd name="T73" fmla="*/ 176 h 262"/>
                <a:gd name="T74" fmla="*/ 63 w 278"/>
                <a:gd name="T75" fmla="*/ 165 h 262"/>
                <a:gd name="T76" fmla="*/ 44 w 278"/>
                <a:gd name="T77" fmla="*/ 164 h 262"/>
                <a:gd name="T78" fmla="*/ 8 w 278"/>
                <a:gd name="T79" fmla="*/ 17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8" h="262">
                  <a:moveTo>
                    <a:pt x="8" y="170"/>
                  </a:moveTo>
                  <a:cubicBezTo>
                    <a:pt x="5" y="163"/>
                    <a:pt x="7" y="160"/>
                    <a:pt x="0" y="156"/>
                  </a:cubicBezTo>
                  <a:cubicBezTo>
                    <a:pt x="1" y="151"/>
                    <a:pt x="10" y="143"/>
                    <a:pt x="15" y="141"/>
                  </a:cubicBezTo>
                  <a:cubicBezTo>
                    <a:pt x="20" y="139"/>
                    <a:pt x="27" y="142"/>
                    <a:pt x="33" y="141"/>
                  </a:cubicBezTo>
                  <a:cubicBezTo>
                    <a:pt x="39" y="137"/>
                    <a:pt x="46" y="137"/>
                    <a:pt x="53" y="135"/>
                  </a:cubicBezTo>
                  <a:cubicBezTo>
                    <a:pt x="62" y="128"/>
                    <a:pt x="52" y="117"/>
                    <a:pt x="68" y="107"/>
                  </a:cubicBezTo>
                  <a:cubicBezTo>
                    <a:pt x="77" y="92"/>
                    <a:pt x="66" y="95"/>
                    <a:pt x="84" y="90"/>
                  </a:cubicBezTo>
                  <a:cubicBezTo>
                    <a:pt x="89" y="84"/>
                    <a:pt x="87" y="79"/>
                    <a:pt x="84" y="72"/>
                  </a:cubicBezTo>
                  <a:cubicBezTo>
                    <a:pt x="86" y="57"/>
                    <a:pt x="87" y="63"/>
                    <a:pt x="92" y="53"/>
                  </a:cubicBezTo>
                  <a:cubicBezTo>
                    <a:pt x="87" y="40"/>
                    <a:pt x="91" y="30"/>
                    <a:pt x="98" y="18"/>
                  </a:cubicBezTo>
                  <a:cubicBezTo>
                    <a:pt x="99" y="10"/>
                    <a:pt x="100" y="4"/>
                    <a:pt x="108" y="0"/>
                  </a:cubicBezTo>
                  <a:cubicBezTo>
                    <a:pt x="122" y="2"/>
                    <a:pt x="130" y="13"/>
                    <a:pt x="144" y="14"/>
                  </a:cubicBezTo>
                  <a:cubicBezTo>
                    <a:pt x="151" y="18"/>
                    <a:pt x="149" y="15"/>
                    <a:pt x="158" y="12"/>
                  </a:cubicBezTo>
                  <a:cubicBezTo>
                    <a:pt x="169" y="4"/>
                    <a:pt x="170" y="6"/>
                    <a:pt x="188" y="5"/>
                  </a:cubicBezTo>
                  <a:cubicBezTo>
                    <a:pt x="196" y="3"/>
                    <a:pt x="202" y="0"/>
                    <a:pt x="209" y="0"/>
                  </a:cubicBezTo>
                  <a:cubicBezTo>
                    <a:pt x="216" y="0"/>
                    <a:pt x="224" y="4"/>
                    <a:pt x="233" y="6"/>
                  </a:cubicBezTo>
                  <a:cubicBezTo>
                    <a:pt x="245" y="12"/>
                    <a:pt x="243" y="11"/>
                    <a:pt x="261" y="12"/>
                  </a:cubicBezTo>
                  <a:cubicBezTo>
                    <a:pt x="267" y="15"/>
                    <a:pt x="268" y="19"/>
                    <a:pt x="272" y="24"/>
                  </a:cubicBezTo>
                  <a:cubicBezTo>
                    <a:pt x="273" y="30"/>
                    <a:pt x="274" y="34"/>
                    <a:pt x="278" y="39"/>
                  </a:cubicBezTo>
                  <a:cubicBezTo>
                    <a:pt x="276" y="50"/>
                    <a:pt x="269" y="57"/>
                    <a:pt x="264" y="65"/>
                  </a:cubicBezTo>
                  <a:cubicBezTo>
                    <a:pt x="262" y="75"/>
                    <a:pt x="267" y="89"/>
                    <a:pt x="258" y="90"/>
                  </a:cubicBezTo>
                  <a:cubicBezTo>
                    <a:pt x="257" y="102"/>
                    <a:pt x="259" y="106"/>
                    <a:pt x="249" y="110"/>
                  </a:cubicBezTo>
                  <a:cubicBezTo>
                    <a:pt x="251" y="130"/>
                    <a:pt x="248" y="153"/>
                    <a:pt x="257" y="171"/>
                  </a:cubicBezTo>
                  <a:cubicBezTo>
                    <a:pt x="258" y="177"/>
                    <a:pt x="266" y="179"/>
                    <a:pt x="272" y="182"/>
                  </a:cubicBezTo>
                  <a:cubicBezTo>
                    <a:pt x="276" y="206"/>
                    <a:pt x="263" y="202"/>
                    <a:pt x="243" y="204"/>
                  </a:cubicBezTo>
                  <a:cubicBezTo>
                    <a:pt x="236" y="216"/>
                    <a:pt x="245" y="248"/>
                    <a:pt x="237" y="255"/>
                  </a:cubicBezTo>
                  <a:cubicBezTo>
                    <a:pt x="233" y="262"/>
                    <a:pt x="226" y="251"/>
                    <a:pt x="219" y="249"/>
                  </a:cubicBezTo>
                  <a:cubicBezTo>
                    <a:pt x="212" y="247"/>
                    <a:pt x="205" y="247"/>
                    <a:pt x="197" y="245"/>
                  </a:cubicBezTo>
                  <a:cubicBezTo>
                    <a:pt x="189" y="243"/>
                    <a:pt x="177" y="242"/>
                    <a:pt x="169" y="240"/>
                  </a:cubicBezTo>
                  <a:cubicBezTo>
                    <a:pt x="162" y="238"/>
                    <a:pt x="154" y="238"/>
                    <a:pt x="150" y="236"/>
                  </a:cubicBezTo>
                  <a:cubicBezTo>
                    <a:pt x="146" y="234"/>
                    <a:pt x="146" y="231"/>
                    <a:pt x="146" y="227"/>
                  </a:cubicBezTo>
                  <a:cubicBezTo>
                    <a:pt x="142" y="222"/>
                    <a:pt x="149" y="214"/>
                    <a:pt x="148" y="209"/>
                  </a:cubicBezTo>
                  <a:cubicBezTo>
                    <a:pt x="147" y="204"/>
                    <a:pt x="144" y="199"/>
                    <a:pt x="141" y="195"/>
                  </a:cubicBezTo>
                  <a:cubicBezTo>
                    <a:pt x="136" y="193"/>
                    <a:pt x="140" y="191"/>
                    <a:pt x="128" y="186"/>
                  </a:cubicBezTo>
                  <a:cubicBezTo>
                    <a:pt x="123" y="185"/>
                    <a:pt x="115" y="188"/>
                    <a:pt x="109" y="189"/>
                  </a:cubicBezTo>
                  <a:cubicBezTo>
                    <a:pt x="103" y="190"/>
                    <a:pt x="97" y="196"/>
                    <a:pt x="90" y="194"/>
                  </a:cubicBezTo>
                  <a:cubicBezTo>
                    <a:pt x="75" y="192"/>
                    <a:pt x="74" y="187"/>
                    <a:pt x="68" y="176"/>
                  </a:cubicBezTo>
                  <a:cubicBezTo>
                    <a:pt x="63" y="172"/>
                    <a:pt x="67" y="167"/>
                    <a:pt x="63" y="165"/>
                  </a:cubicBezTo>
                  <a:cubicBezTo>
                    <a:pt x="59" y="163"/>
                    <a:pt x="53" y="163"/>
                    <a:pt x="44" y="164"/>
                  </a:cubicBezTo>
                  <a:cubicBezTo>
                    <a:pt x="35" y="165"/>
                    <a:pt x="15" y="169"/>
                    <a:pt x="8" y="17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7" name="Freeform 27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245045" y="4164365"/>
              <a:ext cx="186282" cy="223525"/>
            </a:xfrm>
            <a:custGeom>
              <a:avLst/>
              <a:gdLst>
                <a:gd name="T0" fmla="*/ 3 w 113"/>
                <a:gd name="T1" fmla="*/ 88 h 138"/>
                <a:gd name="T2" fmla="*/ 24 w 113"/>
                <a:gd name="T3" fmla="*/ 94 h 138"/>
                <a:gd name="T4" fmla="*/ 37 w 113"/>
                <a:gd name="T5" fmla="*/ 99 h 138"/>
                <a:gd name="T6" fmla="*/ 51 w 113"/>
                <a:gd name="T7" fmla="*/ 117 h 138"/>
                <a:gd name="T8" fmla="*/ 81 w 113"/>
                <a:gd name="T9" fmla="*/ 138 h 138"/>
                <a:gd name="T10" fmla="*/ 99 w 113"/>
                <a:gd name="T11" fmla="*/ 114 h 138"/>
                <a:gd name="T12" fmla="*/ 105 w 113"/>
                <a:gd name="T13" fmla="*/ 99 h 138"/>
                <a:gd name="T14" fmla="*/ 105 w 113"/>
                <a:gd name="T15" fmla="*/ 72 h 138"/>
                <a:gd name="T16" fmla="*/ 105 w 113"/>
                <a:gd name="T17" fmla="*/ 27 h 138"/>
                <a:gd name="T18" fmla="*/ 106 w 113"/>
                <a:gd name="T19" fmla="*/ 15 h 138"/>
                <a:gd name="T20" fmla="*/ 60 w 113"/>
                <a:gd name="T21" fmla="*/ 16 h 138"/>
                <a:gd name="T22" fmla="*/ 34 w 113"/>
                <a:gd name="T23" fmla="*/ 6 h 138"/>
                <a:gd name="T24" fmla="*/ 12 w 113"/>
                <a:gd name="T25" fmla="*/ 3 h 138"/>
                <a:gd name="T26" fmla="*/ 13 w 113"/>
                <a:gd name="T27" fmla="*/ 27 h 138"/>
                <a:gd name="T28" fmla="*/ 18 w 113"/>
                <a:gd name="T29" fmla="*/ 52 h 138"/>
                <a:gd name="T30" fmla="*/ 3 w 113"/>
                <a:gd name="T31" fmla="*/ 66 h 138"/>
                <a:gd name="T32" fmla="*/ 3 w 113"/>
                <a:gd name="T33" fmla="*/ 8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38">
                  <a:moveTo>
                    <a:pt x="3" y="88"/>
                  </a:moveTo>
                  <a:cubicBezTo>
                    <a:pt x="10" y="90"/>
                    <a:pt x="17" y="93"/>
                    <a:pt x="24" y="94"/>
                  </a:cubicBezTo>
                  <a:cubicBezTo>
                    <a:pt x="28" y="96"/>
                    <a:pt x="33" y="97"/>
                    <a:pt x="37" y="99"/>
                  </a:cubicBezTo>
                  <a:cubicBezTo>
                    <a:pt x="40" y="106"/>
                    <a:pt x="44" y="115"/>
                    <a:pt x="51" y="117"/>
                  </a:cubicBezTo>
                  <a:cubicBezTo>
                    <a:pt x="58" y="123"/>
                    <a:pt x="73" y="138"/>
                    <a:pt x="81" y="138"/>
                  </a:cubicBezTo>
                  <a:cubicBezTo>
                    <a:pt x="91" y="135"/>
                    <a:pt x="87" y="116"/>
                    <a:pt x="99" y="114"/>
                  </a:cubicBezTo>
                  <a:cubicBezTo>
                    <a:pt x="100" y="108"/>
                    <a:pt x="101" y="104"/>
                    <a:pt x="105" y="99"/>
                  </a:cubicBezTo>
                  <a:cubicBezTo>
                    <a:pt x="106" y="90"/>
                    <a:pt x="104" y="81"/>
                    <a:pt x="105" y="72"/>
                  </a:cubicBezTo>
                  <a:cubicBezTo>
                    <a:pt x="107" y="60"/>
                    <a:pt x="105" y="36"/>
                    <a:pt x="105" y="27"/>
                  </a:cubicBezTo>
                  <a:cubicBezTo>
                    <a:pt x="105" y="18"/>
                    <a:pt x="113" y="17"/>
                    <a:pt x="106" y="15"/>
                  </a:cubicBezTo>
                  <a:cubicBezTo>
                    <a:pt x="94" y="16"/>
                    <a:pt x="72" y="17"/>
                    <a:pt x="60" y="16"/>
                  </a:cubicBezTo>
                  <a:cubicBezTo>
                    <a:pt x="49" y="7"/>
                    <a:pt x="49" y="7"/>
                    <a:pt x="34" y="6"/>
                  </a:cubicBezTo>
                  <a:cubicBezTo>
                    <a:pt x="28" y="5"/>
                    <a:pt x="15" y="0"/>
                    <a:pt x="12" y="3"/>
                  </a:cubicBezTo>
                  <a:cubicBezTo>
                    <a:pt x="9" y="6"/>
                    <a:pt x="12" y="19"/>
                    <a:pt x="13" y="27"/>
                  </a:cubicBezTo>
                  <a:cubicBezTo>
                    <a:pt x="14" y="34"/>
                    <a:pt x="20" y="46"/>
                    <a:pt x="18" y="52"/>
                  </a:cubicBezTo>
                  <a:cubicBezTo>
                    <a:pt x="16" y="58"/>
                    <a:pt x="5" y="60"/>
                    <a:pt x="3" y="66"/>
                  </a:cubicBezTo>
                  <a:cubicBezTo>
                    <a:pt x="0" y="75"/>
                    <a:pt x="3" y="78"/>
                    <a:pt x="3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8" name="Freeform 28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4946994" y="4480215"/>
              <a:ext cx="298051" cy="238103"/>
            </a:xfrm>
            <a:custGeom>
              <a:avLst/>
              <a:gdLst>
                <a:gd name="T0" fmla="*/ 61 w 181"/>
                <a:gd name="T1" fmla="*/ 46 h 147"/>
                <a:gd name="T2" fmla="*/ 80 w 181"/>
                <a:gd name="T3" fmla="*/ 51 h 147"/>
                <a:gd name="T4" fmla="*/ 95 w 181"/>
                <a:gd name="T5" fmla="*/ 55 h 147"/>
                <a:gd name="T6" fmla="*/ 110 w 181"/>
                <a:gd name="T7" fmla="*/ 67 h 147"/>
                <a:gd name="T8" fmla="*/ 103 w 181"/>
                <a:gd name="T9" fmla="*/ 57 h 147"/>
                <a:gd name="T10" fmla="*/ 100 w 181"/>
                <a:gd name="T11" fmla="*/ 37 h 147"/>
                <a:gd name="T12" fmla="*/ 103 w 181"/>
                <a:gd name="T13" fmla="*/ 10 h 147"/>
                <a:gd name="T14" fmla="*/ 113 w 181"/>
                <a:gd name="T15" fmla="*/ 0 h 147"/>
                <a:gd name="T16" fmla="*/ 139 w 181"/>
                <a:gd name="T17" fmla="*/ 4 h 147"/>
                <a:gd name="T18" fmla="*/ 172 w 181"/>
                <a:gd name="T19" fmla="*/ 15 h 147"/>
                <a:gd name="T20" fmla="*/ 169 w 181"/>
                <a:gd name="T21" fmla="*/ 66 h 147"/>
                <a:gd name="T22" fmla="*/ 152 w 181"/>
                <a:gd name="T23" fmla="*/ 94 h 147"/>
                <a:gd name="T24" fmla="*/ 137 w 181"/>
                <a:gd name="T25" fmla="*/ 100 h 147"/>
                <a:gd name="T26" fmla="*/ 107 w 181"/>
                <a:gd name="T27" fmla="*/ 114 h 147"/>
                <a:gd name="T28" fmla="*/ 88 w 181"/>
                <a:gd name="T29" fmla="*/ 127 h 147"/>
                <a:gd name="T30" fmla="*/ 80 w 181"/>
                <a:gd name="T31" fmla="*/ 142 h 147"/>
                <a:gd name="T32" fmla="*/ 52 w 181"/>
                <a:gd name="T33" fmla="*/ 147 h 147"/>
                <a:gd name="T34" fmla="*/ 17 w 181"/>
                <a:gd name="T35" fmla="*/ 141 h 147"/>
                <a:gd name="T36" fmla="*/ 8 w 181"/>
                <a:gd name="T37" fmla="*/ 129 h 147"/>
                <a:gd name="T38" fmla="*/ 4 w 181"/>
                <a:gd name="T39" fmla="*/ 112 h 147"/>
                <a:gd name="T40" fmla="*/ 4 w 181"/>
                <a:gd name="T41" fmla="*/ 91 h 147"/>
                <a:gd name="T42" fmla="*/ 7 w 181"/>
                <a:gd name="T43" fmla="*/ 70 h 147"/>
                <a:gd name="T44" fmla="*/ 29 w 181"/>
                <a:gd name="T45" fmla="*/ 66 h 147"/>
                <a:gd name="T46" fmla="*/ 40 w 181"/>
                <a:gd name="T47" fmla="*/ 55 h 147"/>
                <a:gd name="T48" fmla="*/ 38 w 181"/>
                <a:gd name="T49" fmla="*/ 43 h 147"/>
                <a:gd name="T50" fmla="*/ 35 w 181"/>
                <a:gd name="T51" fmla="*/ 42 h 147"/>
                <a:gd name="T52" fmla="*/ 61 w 181"/>
                <a:gd name="T53" fmla="*/ 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1" h="147">
                  <a:moveTo>
                    <a:pt x="61" y="46"/>
                  </a:moveTo>
                  <a:cubicBezTo>
                    <a:pt x="68" y="48"/>
                    <a:pt x="74" y="50"/>
                    <a:pt x="80" y="51"/>
                  </a:cubicBezTo>
                  <a:cubicBezTo>
                    <a:pt x="85" y="52"/>
                    <a:pt x="90" y="54"/>
                    <a:pt x="95" y="55"/>
                  </a:cubicBezTo>
                  <a:cubicBezTo>
                    <a:pt x="100" y="58"/>
                    <a:pt x="109" y="67"/>
                    <a:pt x="110" y="67"/>
                  </a:cubicBezTo>
                  <a:cubicBezTo>
                    <a:pt x="107" y="64"/>
                    <a:pt x="105" y="62"/>
                    <a:pt x="103" y="57"/>
                  </a:cubicBezTo>
                  <a:cubicBezTo>
                    <a:pt x="101" y="52"/>
                    <a:pt x="100" y="45"/>
                    <a:pt x="100" y="37"/>
                  </a:cubicBezTo>
                  <a:cubicBezTo>
                    <a:pt x="100" y="29"/>
                    <a:pt x="101" y="16"/>
                    <a:pt x="103" y="10"/>
                  </a:cubicBezTo>
                  <a:cubicBezTo>
                    <a:pt x="106" y="6"/>
                    <a:pt x="110" y="4"/>
                    <a:pt x="113" y="0"/>
                  </a:cubicBezTo>
                  <a:cubicBezTo>
                    <a:pt x="127" y="1"/>
                    <a:pt x="128" y="2"/>
                    <a:pt x="139" y="4"/>
                  </a:cubicBezTo>
                  <a:cubicBezTo>
                    <a:pt x="151" y="16"/>
                    <a:pt x="149" y="13"/>
                    <a:pt x="172" y="15"/>
                  </a:cubicBezTo>
                  <a:cubicBezTo>
                    <a:pt x="173" y="28"/>
                    <a:pt x="181" y="57"/>
                    <a:pt x="169" y="66"/>
                  </a:cubicBezTo>
                  <a:cubicBezTo>
                    <a:pt x="167" y="84"/>
                    <a:pt x="169" y="91"/>
                    <a:pt x="152" y="94"/>
                  </a:cubicBezTo>
                  <a:cubicBezTo>
                    <a:pt x="147" y="97"/>
                    <a:pt x="143" y="99"/>
                    <a:pt x="137" y="100"/>
                  </a:cubicBezTo>
                  <a:cubicBezTo>
                    <a:pt x="127" y="105"/>
                    <a:pt x="117" y="109"/>
                    <a:pt x="107" y="114"/>
                  </a:cubicBezTo>
                  <a:cubicBezTo>
                    <a:pt x="100" y="123"/>
                    <a:pt x="100" y="126"/>
                    <a:pt x="88" y="127"/>
                  </a:cubicBezTo>
                  <a:cubicBezTo>
                    <a:pt x="85" y="134"/>
                    <a:pt x="89" y="140"/>
                    <a:pt x="80" y="142"/>
                  </a:cubicBezTo>
                  <a:cubicBezTo>
                    <a:pt x="71" y="146"/>
                    <a:pt x="61" y="143"/>
                    <a:pt x="52" y="147"/>
                  </a:cubicBezTo>
                  <a:cubicBezTo>
                    <a:pt x="40" y="145"/>
                    <a:pt x="27" y="147"/>
                    <a:pt x="17" y="141"/>
                  </a:cubicBezTo>
                  <a:cubicBezTo>
                    <a:pt x="14" y="136"/>
                    <a:pt x="10" y="134"/>
                    <a:pt x="8" y="129"/>
                  </a:cubicBezTo>
                  <a:cubicBezTo>
                    <a:pt x="7" y="123"/>
                    <a:pt x="5" y="118"/>
                    <a:pt x="4" y="112"/>
                  </a:cubicBezTo>
                  <a:cubicBezTo>
                    <a:pt x="3" y="106"/>
                    <a:pt x="0" y="99"/>
                    <a:pt x="4" y="91"/>
                  </a:cubicBezTo>
                  <a:cubicBezTo>
                    <a:pt x="5" y="84"/>
                    <a:pt x="3" y="74"/>
                    <a:pt x="7" y="70"/>
                  </a:cubicBezTo>
                  <a:cubicBezTo>
                    <a:pt x="11" y="66"/>
                    <a:pt x="24" y="68"/>
                    <a:pt x="29" y="66"/>
                  </a:cubicBezTo>
                  <a:cubicBezTo>
                    <a:pt x="33" y="63"/>
                    <a:pt x="39" y="59"/>
                    <a:pt x="40" y="55"/>
                  </a:cubicBezTo>
                  <a:cubicBezTo>
                    <a:pt x="41" y="51"/>
                    <a:pt x="39" y="45"/>
                    <a:pt x="38" y="43"/>
                  </a:cubicBezTo>
                  <a:cubicBezTo>
                    <a:pt x="36" y="34"/>
                    <a:pt x="32" y="50"/>
                    <a:pt x="35" y="42"/>
                  </a:cubicBezTo>
                  <a:cubicBezTo>
                    <a:pt x="39" y="41"/>
                    <a:pt x="56" y="45"/>
                    <a:pt x="61" y="4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9" name="Freeform 29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5411888" y="3987812"/>
              <a:ext cx="268894" cy="332048"/>
            </a:xfrm>
            <a:custGeom>
              <a:avLst/>
              <a:gdLst>
                <a:gd name="T0" fmla="*/ 7 w 163"/>
                <a:gd name="T1" fmla="*/ 205 h 205"/>
                <a:gd name="T2" fmla="*/ 35 w 163"/>
                <a:gd name="T3" fmla="*/ 179 h 205"/>
                <a:gd name="T4" fmla="*/ 55 w 163"/>
                <a:gd name="T5" fmla="*/ 161 h 205"/>
                <a:gd name="T6" fmla="*/ 75 w 163"/>
                <a:gd name="T7" fmla="*/ 145 h 205"/>
                <a:gd name="T8" fmla="*/ 87 w 163"/>
                <a:gd name="T9" fmla="*/ 137 h 205"/>
                <a:gd name="T10" fmla="*/ 119 w 163"/>
                <a:gd name="T11" fmla="*/ 97 h 205"/>
                <a:gd name="T12" fmla="*/ 127 w 163"/>
                <a:gd name="T13" fmla="*/ 73 h 205"/>
                <a:gd name="T14" fmla="*/ 147 w 163"/>
                <a:gd name="T15" fmla="*/ 43 h 205"/>
                <a:gd name="T16" fmla="*/ 159 w 163"/>
                <a:gd name="T17" fmla="*/ 27 h 205"/>
                <a:gd name="T18" fmla="*/ 157 w 163"/>
                <a:gd name="T19" fmla="*/ 5 h 205"/>
                <a:gd name="T20" fmla="*/ 133 w 163"/>
                <a:gd name="T21" fmla="*/ 7 h 205"/>
                <a:gd name="T22" fmla="*/ 85 w 163"/>
                <a:gd name="T23" fmla="*/ 15 h 205"/>
                <a:gd name="T24" fmla="*/ 39 w 163"/>
                <a:gd name="T25" fmla="*/ 3 h 205"/>
                <a:gd name="T26" fmla="*/ 27 w 163"/>
                <a:gd name="T27" fmla="*/ 9 h 205"/>
                <a:gd name="T28" fmla="*/ 41 w 163"/>
                <a:gd name="T29" fmla="*/ 23 h 205"/>
                <a:gd name="T30" fmla="*/ 67 w 163"/>
                <a:gd name="T31" fmla="*/ 47 h 205"/>
                <a:gd name="T32" fmla="*/ 85 w 163"/>
                <a:gd name="T33" fmla="*/ 53 h 205"/>
                <a:gd name="T34" fmla="*/ 91 w 163"/>
                <a:gd name="T35" fmla="*/ 55 h 205"/>
                <a:gd name="T36" fmla="*/ 107 w 163"/>
                <a:gd name="T37" fmla="*/ 69 h 205"/>
                <a:gd name="T38" fmla="*/ 89 w 163"/>
                <a:gd name="T39" fmla="*/ 81 h 205"/>
                <a:gd name="T40" fmla="*/ 69 w 163"/>
                <a:gd name="T41" fmla="*/ 101 h 205"/>
                <a:gd name="T42" fmla="*/ 51 w 163"/>
                <a:gd name="T43" fmla="*/ 107 h 205"/>
                <a:gd name="T44" fmla="*/ 10 w 163"/>
                <a:gd name="T45" fmla="*/ 122 h 205"/>
                <a:gd name="T46" fmla="*/ 7 w 163"/>
                <a:gd name="T4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3" h="205">
                  <a:moveTo>
                    <a:pt x="7" y="205"/>
                  </a:moveTo>
                  <a:cubicBezTo>
                    <a:pt x="14" y="198"/>
                    <a:pt x="27" y="182"/>
                    <a:pt x="35" y="179"/>
                  </a:cubicBezTo>
                  <a:cubicBezTo>
                    <a:pt x="40" y="172"/>
                    <a:pt x="48" y="166"/>
                    <a:pt x="55" y="161"/>
                  </a:cubicBezTo>
                  <a:cubicBezTo>
                    <a:pt x="58" y="152"/>
                    <a:pt x="67" y="150"/>
                    <a:pt x="75" y="145"/>
                  </a:cubicBezTo>
                  <a:cubicBezTo>
                    <a:pt x="79" y="142"/>
                    <a:pt x="87" y="137"/>
                    <a:pt x="87" y="137"/>
                  </a:cubicBezTo>
                  <a:cubicBezTo>
                    <a:pt x="96" y="123"/>
                    <a:pt x="109" y="112"/>
                    <a:pt x="119" y="97"/>
                  </a:cubicBezTo>
                  <a:cubicBezTo>
                    <a:pt x="124" y="90"/>
                    <a:pt x="122" y="80"/>
                    <a:pt x="127" y="73"/>
                  </a:cubicBezTo>
                  <a:cubicBezTo>
                    <a:pt x="134" y="63"/>
                    <a:pt x="138" y="52"/>
                    <a:pt x="147" y="43"/>
                  </a:cubicBezTo>
                  <a:cubicBezTo>
                    <a:pt x="150" y="35"/>
                    <a:pt x="155" y="34"/>
                    <a:pt x="159" y="27"/>
                  </a:cubicBezTo>
                  <a:cubicBezTo>
                    <a:pt x="158" y="20"/>
                    <a:pt x="163" y="9"/>
                    <a:pt x="157" y="5"/>
                  </a:cubicBezTo>
                  <a:cubicBezTo>
                    <a:pt x="151" y="0"/>
                    <a:pt x="141" y="6"/>
                    <a:pt x="133" y="7"/>
                  </a:cubicBezTo>
                  <a:cubicBezTo>
                    <a:pt x="115" y="10"/>
                    <a:pt x="107" y="13"/>
                    <a:pt x="85" y="15"/>
                  </a:cubicBezTo>
                  <a:cubicBezTo>
                    <a:pt x="53" y="36"/>
                    <a:pt x="57" y="9"/>
                    <a:pt x="39" y="3"/>
                  </a:cubicBezTo>
                  <a:cubicBezTo>
                    <a:pt x="36" y="4"/>
                    <a:pt x="28" y="6"/>
                    <a:pt x="27" y="9"/>
                  </a:cubicBezTo>
                  <a:cubicBezTo>
                    <a:pt x="25" y="15"/>
                    <a:pt x="41" y="23"/>
                    <a:pt x="41" y="23"/>
                  </a:cubicBezTo>
                  <a:cubicBezTo>
                    <a:pt x="48" y="34"/>
                    <a:pt x="55" y="42"/>
                    <a:pt x="67" y="47"/>
                  </a:cubicBezTo>
                  <a:cubicBezTo>
                    <a:pt x="73" y="50"/>
                    <a:pt x="79" y="51"/>
                    <a:pt x="85" y="53"/>
                  </a:cubicBezTo>
                  <a:cubicBezTo>
                    <a:pt x="87" y="54"/>
                    <a:pt x="91" y="55"/>
                    <a:pt x="91" y="55"/>
                  </a:cubicBezTo>
                  <a:cubicBezTo>
                    <a:pt x="94" y="65"/>
                    <a:pt x="101" y="60"/>
                    <a:pt x="107" y="69"/>
                  </a:cubicBezTo>
                  <a:cubicBezTo>
                    <a:pt x="99" y="72"/>
                    <a:pt x="96" y="77"/>
                    <a:pt x="89" y="81"/>
                  </a:cubicBezTo>
                  <a:cubicBezTo>
                    <a:pt x="84" y="88"/>
                    <a:pt x="76" y="96"/>
                    <a:pt x="69" y="101"/>
                  </a:cubicBezTo>
                  <a:cubicBezTo>
                    <a:pt x="63" y="106"/>
                    <a:pt x="60" y="104"/>
                    <a:pt x="51" y="107"/>
                  </a:cubicBezTo>
                  <a:cubicBezTo>
                    <a:pt x="41" y="110"/>
                    <a:pt x="17" y="106"/>
                    <a:pt x="10" y="122"/>
                  </a:cubicBezTo>
                  <a:cubicBezTo>
                    <a:pt x="0" y="139"/>
                    <a:pt x="4" y="195"/>
                    <a:pt x="7" y="20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0" name="Freeform 30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5147854" y="4174084"/>
              <a:ext cx="131208" cy="139298"/>
            </a:xfrm>
            <a:custGeom>
              <a:avLst/>
              <a:gdLst>
                <a:gd name="T0" fmla="*/ 9 w 79"/>
                <a:gd name="T1" fmla="*/ 13 h 86"/>
                <a:gd name="T2" fmla="*/ 48 w 79"/>
                <a:gd name="T3" fmla="*/ 6 h 86"/>
                <a:gd name="T4" fmla="*/ 69 w 79"/>
                <a:gd name="T5" fmla="*/ 1 h 86"/>
                <a:gd name="T6" fmla="*/ 74 w 79"/>
                <a:gd name="T7" fmla="*/ 25 h 86"/>
                <a:gd name="T8" fmla="*/ 77 w 79"/>
                <a:gd name="T9" fmla="*/ 46 h 86"/>
                <a:gd name="T10" fmla="*/ 63 w 79"/>
                <a:gd name="T11" fmla="*/ 60 h 86"/>
                <a:gd name="T12" fmla="*/ 56 w 79"/>
                <a:gd name="T13" fmla="*/ 81 h 86"/>
                <a:gd name="T14" fmla="*/ 3 w 79"/>
                <a:gd name="T15" fmla="*/ 78 h 86"/>
                <a:gd name="T16" fmla="*/ 14 w 79"/>
                <a:gd name="T17" fmla="*/ 40 h 86"/>
                <a:gd name="T18" fmla="*/ 9 w 79"/>
                <a:gd name="T19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86">
                  <a:moveTo>
                    <a:pt x="9" y="13"/>
                  </a:moveTo>
                  <a:cubicBezTo>
                    <a:pt x="21" y="4"/>
                    <a:pt x="27" y="7"/>
                    <a:pt x="48" y="6"/>
                  </a:cubicBezTo>
                  <a:cubicBezTo>
                    <a:pt x="54" y="3"/>
                    <a:pt x="62" y="0"/>
                    <a:pt x="69" y="1"/>
                  </a:cubicBezTo>
                  <a:cubicBezTo>
                    <a:pt x="73" y="8"/>
                    <a:pt x="70" y="18"/>
                    <a:pt x="74" y="25"/>
                  </a:cubicBezTo>
                  <a:cubicBezTo>
                    <a:pt x="75" y="32"/>
                    <a:pt x="79" y="41"/>
                    <a:pt x="77" y="46"/>
                  </a:cubicBezTo>
                  <a:cubicBezTo>
                    <a:pt x="75" y="52"/>
                    <a:pt x="66" y="54"/>
                    <a:pt x="63" y="60"/>
                  </a:cubicBezTo>
                  <a:cubicBezTo>
                    <a:pt x="59" y="67"/>
                    <a:pt x="63" y="79"/>
                    <a:pt x="56" y="81"/>
                  </a:cubicBezTo>
                  <a:cubicBezTo>
                    <a:pt x="39" y="86"/>
                    <a:pt x="3" y="78"/>
                    <a:pt x="3" y="78"/>
                  </a:cubicBezTo>
                  <a:cubicBezTo>
                    <a:pt x="0" y="64"/>
                    <a:pt x="2" y="49"/>
                    <a:pt x="14" y="40"/>
                  </a:cubicBezTo>
                  <a:cubicBezTo>
                    <a:pt x="18" y="31"/>
                    <a:pt x="14" y="20"/>
                    <a:pt x="9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27025" y="3694639"/>
              <a:ext cx="390382" cy="296414"/>
            </a:xfrm>
            <a:custGeom>
              <a:avLst/>
              <a:gdLst>
                <a:gd name="T0" fmla="*/ 219 w 237"/>
                <a:gd name="T1" fmla="*/ 20 h 183"/>
                <a:gd name="T2" fmla="*/ 201 w 237"/>
                <a:gd name="T3" fmla="*/ 8 h 183"/>
                <a:gd name="T4" fmla="*/ 183 w 237"/>
                <a:gd name="T5" fmla="*/ 3 h 183"/>
                <a:gd name="T6" fmla="*/ 156 w 237"/>
                <a:gd name="T7" fmla="*/ 14 h 183"/>
                <a:gd name="T8" fmla="*/ 134 w 237"/>
                <a:gd name="T9" fmla="*/ 24 h 183"/>
                <a:gd name="T10" fmla="*/ 120 w 237"/>
                <a:gd name="T11" fmla="*/ 33 h 183"/>
                <a:gd name="T12" fmla="*/ 111 w 237"/>
                <a:gd name="T13" fmla="*/ 45 h 183"/>
                <a:gd name="T14" fmla="*/ 102 w 237"/>
                <a:gd name="T15" fmla="*/ 53 h 183"/>
                <a:gd name="T16" fmla="*/ 77 w 237"/>
                <a:gd name="T17" fmla="*/ 72 h 183"/>
                <a:gd name="T18" fmla="*/ 57 w 237"/>
                <a:gd name="T19" fmla="*/ 69 h 183"/>
                <a:gd name="T20" fmla="*/ 59 w 237"/>
                <a:gd name="T21" fmla="*/ 80 h 183"/>
                <a:gd name="T22" fmla="*/ 60 w 237"/>
                <a:gd name="T23" fmla="*/ 119 h 183"/>
                <a:gd name="T24" fmla="*/ 44 w 237"/>
                <a:gd name="T25" fmla="*/ 128 h 183"/>
                <a:gd name="T26" fmla="*/ 26 w 237"/>
                <a:gd name="T27" fmla="*/ 128 h 183"/>
                <a:gd name="T28" fmla="*/ 0 w 237"/>
                <a:gd name="T29" fmla="*/ 137 h 183"/>
                <a:gd name="T30" fmla="*/ 6 w 237"/>
                <a:gd name="T31" fmla="*/ 143 h 183"/>
                <a:gd name="T32" fmla="*/ 11 w 237"/>
                <a:gd name="T33" fmla="*/ 159 h 183"/>
                <a:gd name="T34" fmla="*/ 29 w 237"/>
                <a:gd name="T35" fmla="*/ 174 h 183"/>
                <a:gd name="T36" fmla="*/ 47 w 237"/>
                <a:gd name="T37" fmla="*/ 179 h 183"/>
                <a:gd name="T38" fmla="*/ 51 w 237"/>
                <a:gd name="T39" fmla="*/ 182 h 183"/>
                <a:gd name="T40" fmla="*/ 54 w 237"/>
                <a:gd name="T41" fmla="*/ 171 h 183"/>
                <a:gd name="T42" fmla="*/ 69 w 237"/>
                <a:gd name="T43" fmla="*/ 159 h 183"/>
                <a:gd name="T44" fmla="*/ 89 w 237"/>
                <a:gd name="T45" fmla="*/ 158 h 183"/>
                <a:gd name="T46" fmla="*/ 128 w 237"/>
                <a:gd name="T47" fmla="*/ 167 h 183"/>
                <a:gd name="T48" fmla="*/ 146 w 237"/>
                <a:gd name="T49" fmla="*/ 162 h 183"/>
                <a:gd name="T50" fmla="*/ 162 w 237"/>
                <a:gd name="T51" fmla="*/ 164 h 183"/>
                <a:gd name="T52" fmla="*/ 173 w 237"/>
                <a:gd name="T53" fmla="*/ 159 h 183"/>
                <a:gd name="T54" fmla="*/ 177 w 237"/>
                <a:gd name="T55" fmla="*/ 161 h 183"/>
                <a:gd name="T56" fmla="*/ 192 w 237"/>
                <a:gd name="T57" fmla="*/ 164 h 183"/>
                <a:gd name="T58" fmla="*/ 200 w 237"/>
                <a:gd name="T59" fmla="*/ 143 h 183"/>
                <a:gd name="T60" fmla="*/ 209 w 237"/>
                <a:gd name="T61" fmla="*/ 132 h 183"/>
                <a:gd name="T62" fmla="*/ 215 w 237"/>
                <a:gd name="T63" fmla="*/ 122 h 183"/>
                <a:gd name="T64" fmla="*/ 224 w 237"/>
                <a:gd name="T65" fmla="*/ 116 h 183"/>
                <a:gd name="T66" fmla="*/ 230 w 237"/>
                <a:gd name="T67" fmla="*/ 98 h 183"/>
                <a:gd name="T68" fmla="*/ 237 w 237"/>
                <a:gd name="T69" fmla="*/ 78 h 183"/>
                <a:gd name="T70" fmla="*/ 233 w 237"/>
                <a:gd name="T71" fmla="*/ 51 h 183"/>
                <a:gd name="T72" fmla="*/ 222 w 237"/>
                <a:gd name="T73" fmla="*/ 26 h 183"/>
                <a:gd name="T74" fmla="*/ 219 w 237"/>
                <a:gd name="T75" fmla="*/ 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183">
                  <a:moveTo>
                    <a:pt x="219" y="20"/>
                  </a:moveTo>
                  <a:cubicBezTo>
                    <a:pt x="215" y="17"/>
                    <a:pt x="207" y="11"/>
                    <a:pt x="201" y="8"/>
                  </a:cubicBezTo>
                  <a:cubicBezTo>
                    <a:pt x="195" y="5"/>
                    <a:pt x="190" y="2"/>
                    <a:pt x="183" y="3"/>
                  </a:cubicBezTo>
                  <a:cubicBezTo>
                    <a:pt x="175" y="0"/>
                    <a:pt x="156" y="14"/>
                    <a:pt x="156" y="14"/>
                  </a:cubicBezTo>
                  <a:cubicBezTo>
                    <a:pt x="148" y="17"/>
                    <a:pt x="140" y="21"/>
                    <a:pt x="134" y="24"/>
                  </a:cubicBezTo>
                  <a:cubicBezTo>
                    <a:pt x="128" y="27"/>
                    <a:pt x="124" y="30"/>
                    <a:pt x="120" y="33"/>
                  </a:cubicBezTo>
                  <a:cubicBezTo>
                    <a:pt x="116" y="39"/>
                    <a:pt x="119" y="43"/>
                    <a:pt x="111" y="45"/>
                  </a:cubicBezTo>
                  <a:cubicBezTo>
                    <a:pt x="109" y="53"/>
                    <a:pt x="111" y="52"/>
                    <a:pt x="102" y="53"/>
                  </a:cubicBezTo>
                  <a:cubicBezTo>
                    <a:pt x="96" y="56"/>
                    <a:pt x="84" y="69"/>
                    <a:pt x="77" y="72"/>
                  </a:cubicBezTo>
                  <a:cubicBezTo>
                    <a:pt x="70" y="75"/>
                    <a:pt x="60" y="68"/>
                    <a:pt x="57" y="69"/>
                  </a:cubicBezTo>
                  <a:cubicBezTo>
                    <a:pt x="54" y="71"/>
                    <a:pt x="59" y="72"/>
                    <a:pt x="59" y="80"/>
                  </a:cubicBezTo>
                  <a:cubicBezTo>
                    <a:pt x="59" y="88"/>
                    <a:pt x="63" y="111"/>
                    <a:pt x="60" y="119"/>
                  </a:cubicBezTo>
                  <a:cubicBezTo>
                    <a:pt x="57" y="127"/>
                    <a:pt x="50" y="127"/>
                    <a:pt x="44" y="128"/>
                  </a:cubicBezTo>
                  <a:cubicBezTo>
                    <a:pt x="38" y="139"/>
                    <a:pt x="33" y="127"/>
                    <a:pt x="26" y="128"/>
                  </a:cubicBezTo>
                  <a:cubicBezTo>
                    <a:pt x="19" y="129"/>
                    <a:pt x="3" y="135"/>
                    <a:pt x="0" y="137"/>
                  </a:cubicBezTo>
                  <a:cubicBezTo>
                    <a:pt x="1" y="140"/>
                    <a:pt x="5" y="140"/>
                    <a:pt x="6" y="143"/>
                  </a:cubicBezTo>
                  <a:cubicBezTo>
                    <a:pt x="8" y="146"/>
                    <a:pt x="7" y="154"/>
                    <a:pt x="11" y="159"/>
                  </a:cubicBezTo>
                  <a:cubicBezTo>
                    <a:pt x="15" y="164"/>
                    <a:pt x="23" y="171"/>
                    <a:pt x="29" y="174"/>
                  </a:cubicBezTo>
                  <a:cubicBezTo>
                    <a:pt x="35" y="177"/>
                    <a:pt x="41" y="177"/>
                    <a:pt x="47" y="179"/>
                  </a:cubicBezTo>
                  <a:cubicBezTo>
                    <a:pt x="48" y="180"/>
                    <a:pt x="49" y="183"/>
                    <a:pt x="51" y="182"/>
                  </a:cubicBezTo>
                  <a:cubicBezTo>
                    <a:pt x="53" y="181"/>
                    <a:pt x="54" y="172"/>
                    <a:pt x="54" y="171"/>
                  </a:cubicBezTo>
                  <a:cubicBezTo>
                    <a:pt x="56" y="165"/>
                    <a:pt x="63" y="160"/>
                    <a:pt x="69" y="159"/>
                  </a:cubicBezTo>
                  <a:cubicBezTo>
                    <a:pt x="76" y="157"/>
                    <a:pt x="82" y="159"/>
                    <a:pt x="89" y="158"/>
                  </a:cubicBezTo>
                  <a:cubicBezTo>
                    <a:pt x="102" y="160"/>
                    <a:pt x="114" y="166"/>
                    <a:pt x="128" y="167"/>
                  </a:cubicBezTo>
                  <a:cubicBezTo>
                    <a:pt x="137" y="169"/>
                    <a:pt x="139" y="162"/>
                    <a:pt x="146" y="162"/>
                  </a:cubicBezTo>
                  <a:cubicBezTo>
                    <a:pt x="152" y="162"/>
                    <a:pt x="158" y="164"/>
                    <a:pt x="162" y="164"/>
                  </a:cubicBezTo>
                  <a:cubicBezTo>
                    <a:pt x="166" y="164"/>
                    <a:pt x="171" y="159"/>
                    <a:pt x="173" y="159"/>
                  </a:cubicBezTo>
                  <a:cubicBezTo>
                    <a:pt x="174" y="158"/>
                    <a:pt x="175" y="161"/>
                    <a:pt x="177" y="161"/>
                  </a:cubicBezTo>
                  <a:cubicBezTo>
                    <a:pt x="183" y="160"/>
                    <a:pt x="187" y="167"/>
                    <a:pt x="192" y="164"/>
                  </a:cubicBezTo>
                  <a:cubicBezTo>
                    <a:pt x="197" y="161"/>
                    <a:pt x="197" y="147"/>
                    <a:pt x="200" y="143"/>
                  </a:cubicBezTo>
                  <a:cubicBezTo>
                    <a:pt x="202" y="135"/>
                    <a:pt x="205" y="139"/>
                    <a:pt x="209" y="132"/>
                  </a:cubicBezTo>
                  <a:cubicBezTo>
                    <a:pt x="211" y="128"/>
                    <a:pt x="213" y="125"/>
                    <a:pt x="215" y="122"/>
                  </a:cubicBezTo>
                  <a:cubicBezTo>
                    <a:pt x="217" y="119"/>
                    <a:pt x="221" y="120"/>
                    <a:pt x="224" y="116"/>
                  </a:cubicBezTo>
                  <a:cubicBezTo>
                    <a:pt x="225" y="110"/>
                    <a:pt x="227" y="104"/>
                    <a:pt x="230" y="98"/>
                  </a:cubicBezTo>
                  <a:cubicBezTo>
                    <a:pt x="231" y="92"/>
                    <a:pt x="237" y="86"/>
                    <a:pt x="237" y="78"/>
                  </a:cubicBezTo>
                  <a:cubicBezTo>
                    <a:pt x="237" y="70"/>
                    <a:pt x="235" y="60"/>
                    <a:pt x="233" y="51"/>
                  </a:cubicBezTo>
                  <a:cubicBezTo>
                    <a:pt x="231" y="42"/>
                    <a:pt x="224" y="31"/>
                    <a:pt x="222" y="26"/>
                  </a:cubicBezTo>
                  <a:cubicBezTo>
                    <a:pt x="221" y="21"/>
                    <a:pt x="205" y="6"/>
                    <a:pt x="219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4428645" y="3976475"/>
              <a:ext cx="90711" cy="158735"/>
            </a:xfrm>
            <a:custGeom>
              <a:avLst/>
              <a:gdLst>
                <a:gd name="T0" fmla="*/ 32 w 55"/>
                <a:gd name="T1" fmla="*/ 4 h 98"/>
                <a:gd name="T2" fmla="*/ 26 w 55"/>
                <a:gd name="T3" fmla="*/ 12 h 98"/>
                <a:gd name="T4" fmla="*/ 18 w 55"/>
                <a:gd name="T5" fmla="*/ 18 h 98"/>
                <a:gd name="T6" fmla="*/ 18 w 55"/>
                <a:gd name="T7" fmla="*/ 34 h 98"/>
                <a:gd name="T8" fmla="*/ 34 w 55"/>
                <a:gd name="T9" fmla="*/ 92 h 98"/>
                <a:gd name="T10" fmla="*/ 52 w 55"/>
                <a:gd name="T11" fmla="*/ 36 h 98"/>
                <a:gd name="T12" fmla="*/ 50 w 55"/>
                <a:gd name="T13" fmla="*/ 18 h 98"/>
                <a:gd name="T14" fmla="*/ 43 w 55"/>
                <a:gd name="T15" fmla="*/ 7 h 98"/>
                <a:gd name="T16" fmla="*/ 32 w 55"/>
                <a:gd name="T17" fmla="*/ 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98">
                  <a:moveTo>
                    <a:pt x="32" y="4"/>
                  </a:moveTo>
                  <a:cubicBezTo>
                    <a:pt x="28" y="0"/>
                    <a:pt x="28" y="10"/>
                    <a:pt x="26" y="12"/>
                  </a:cubicBezTo>
                  <a:cubicBezTo>
                    <a:pt x="24" y="14"/>
                    <a:pt x="19" y="14"/>
                    <a:pt x="18" y="18"/>
                  </a:cubicBezTo>
                  <a:cubicBezTo>
                    <a:pt x="13" y="26"/>
                    <a:pt x="9" y="28"/>
                    <a:pt x="18" y="34"/>
                  </a:cubicBezTo>
                  <a:cubicBezTo>
                    <a:pt x="27" y="60"/>
                    <a:pt x="0" y="98"/>
                    <a:pt x="34" y="92"/>
                  </a:cubicBezTo>
                  <a:cubicBezTo>
                    <a:pt x="45" y="60"/>
                    <a:pt x="34" y="63"/>
                    <a:pt x="52" y="36"/>
                  </a:cubicBezTo>
                  <a:cubicBezTo>
                    <a:pt x="55" y="24"/>
                    <a:pt x="51" y="23"/>
                    <a:pt x="50" y="18"/>
                  </a:cubicBezTo>
                  <a:cubicBezTo>
                    <a:pt x="49" y="13"/>
                    <a:pt x="46" y="9"/>
                    <a:pt x="43" y="7"/>
                  </a:cubicBezTo>
                  <a:cubicBezTo>
                    <a:pt x="40" y="5"/>
                    <a:pt x="35" y="3"/>
                    <a:pt x="3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4415686" y="4008870"/>
              <a:ext cx="46976" cy="126340"/>
            </a:xfrm>
            <a:custGeom>
              <a:avLst/>
              <a:gdLst>
                <a:gd name="T0" fmla="*/ 18 w 28"/>
                <a:gd name="T1" fmla="*/ 0 h 78"/>
                <a:gd name="T2" fmla="*/ 0 w 28"/>
                <a:gd name="T3" fmla="*/ 21 h 78"/>
                <a:gd name="T4" fmla="*/ 10 w 28"/>
                <a:gd name="T5" fmla="*/ 50 h 78"/>
                <a:gd name="T6" fmla="*/ 10 w 28"/>
                <a:gd name="T7" fmla="*/ 63 h 78"/>
                <a:gd name="T8" fmla="*/ 16 w 28"/>
                <a:gd name="T9" fmla="*/ 76 h 78"/>
                <a:gd name="T10" fmla="*/ 24 w 28"/>
                <a:gd name="T11" fmla="*/ 74 h 78"/>
                <a:gd name="T12" fmla="*/ 27 w 28"/>
                <a:gd name="T13" fmla="*/ 24 h 78"/>
                <a:gd name="T14" fmla="*/ 18 w 28"/>
                <a:gd name="T1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18" y="0"/>
                  </a:moveTo>
                  <a:cubicBezTo>
                    <a:pt x="7" y="4"/>
                    <a:pt x="3" y="11"/>
                    <a:pt x="0" y="21"/>
                  </a:cubicBezTo>
                  <a:cubicBezTo>
                    <a:pt x="1" y="30"/>
                    <a:pt x="8" y="41"/>
                    <a:pt x="10" y="50"/>
                  </a:cubicBezTo>
                  <a:cubicBezTo>
                    <a:pt x="11" y="54"/>
                    <a:pt x="10" y="63"/>
                    <a:pt x="10" y="63"/>
                  </a:cubicBezTo>
                  <a:cubicBezTo>
                    <a:pt x="11" y="68"/>
                    <a:pt x="13" y="72"/>
                    <a:pt x="16" y="76"/>
                  </a:cubicBezTo>
                  <a:cubicBezTo>
                    <a:pt x="18" y="78"/>
                    <a:pt x="24" y="77"/>
                    <a:pt x="24" y="74"/>
                  </a:cubicBezTo>
                  <a:cubicBezTo>
                    <a:pt x="24" y="65"/>
                    <a:pt x="28" y="36"/>
                    <a:pt x="27" y="24"/>
                  </a:cubicBezTo>
                  <a:cubicBezTo>
                    <a:pt x="26" y="12"/>
                    <a:pt x="20" y="5"/>
                    <a:pt x="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4086858" y="4015349"/>
              <a:ext cx="77752" cy="87466"/>
            </a:xfrm>
            <a:custGeom>
              <a:avLst/>
              <a:gdLst>
                <a:gd name="T0" fmla="*/ 16 w 47"/>
                <a:gd name="T1" fmla="*/ 18 h 54"/>
                <a:gd name="T2" fmla="*/ 12 w 47"/>
                <a:gd name="T3" fmla="*/ 50 h 54"/>
                <a:gd name="T4" fmla="*/ 26 w 47"/>
                <a:gd name="T5" fmla="*/ 54 h 54"/>
                <a:gd name="T6" fmla="*/ 44 w 47"/>
                <a:gd name="T7" fmla="*/ 46 h 54"/>
                <a:gd name="T8" fmla="*/ 44 w 47"/>
                <a:gd name="T9" fmla="*/ 30 h 54"/>
                <a:gd name="T10" fmla="*/ 39 w 47"/>
                <a:gd name="T11" fmla="*/ 9 h 54"/>
                <a:gd name="T12" fmla="*/ 16 w 47"/>
                <a:gd name="T13" fmla="*/ 1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54">
                  <a:moveTo>
                    <a:pt x="16" y="18"/>
                  </a:moveTo>
                  <a:cubicBezTo>
                    <a:pt x="3" y="22"/>
                    <a:pt x="0" y="42"/>
                    <a:pt x="12" y="50"/>
                  </a:cubicBezTo>
                  <a:cubicBezTo>
                    <a:pt x="16" y="53"/>
                    <a:pt x="21" y="52"/>
                    <a:pt x="26" y="54"/>
                  </a:cubicBezTo>
                  <a:cubicBezTo>
                    <a:pt x="40" y="49"/>
                    <a:pt x="34" y="52"/>
                    <a:pt x="44" y="46"/>
                  </a:cubicBezTo>
                  <a:cubicBezTo>
                    <a:pt x="47" y="42"/>
                    <a:pt x="45" y="36"/>
                    <a:pt x="44" y="30"/>
                  </a:cubicBezTo>
                  <a:cubicBezTo>
                    <a:pt x="43" y="24"/>
                    <a:pt x="44" y="11"/>
                    <a:pt x="39" y="9"/>
                  </a:cubicBezTo>
                  <a:cubicBezTo>
                    <a:pt x="36" y="0"/>
                    <a:pt x="25" y="15"/>
                    <a:pt x="16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4043123" y="3969996"/>
              <a:ext cx="191141" cy="127960"/>
            </a:xfrm>
            <a:custGeom>
              <a:avLst/>
              <a:gdLst>
                <a:gd name="T0" fmla="*/ 28 w 116"/>
                <a:gd name="T1" fmla="*/ 48 h 79"/>
                <a:gd name="T2" fmla="*/ 6 w 116"/>
                <a:gd name="T3" fmla="*/ 30 h 79"/>
                <a:gd name="T4" fmla="*/ 6 w 116"/>
                <a:gd name="T5" fmla="*/ 24 h 79"/>
                <a:gd name="T6" fmla="*/ 17 w 116"/>
                <a:gd name="T7" fmla="*/ 15 h 79"/>
                <a:gd name="T8" fmla="*/ 30 w 116"/>
                <a:gd name="T9" fmla="*/ 2 h 79"/>
                <a:gd name="T10" fmla="*/ 49 w 116"/>
                <a:gd name="T11" fmla="*/ 7 h 79"/>
                <a:gd name="T12" fmla="*/ 76 w 116"/>
                <a:gd name="T13" fmla="*/ 10 h 79"/>
                <a:gd name="T14" fmla="*/ 102 w 116"/>
                <a:gd name="T15" fmla="*/ 26 h 79"/>
                <a:gd name="T16" fmla="*/ 110 w 116"/>
                <a:gd name="T17" fmla="*/ 38 h 79"/>
                <a:gd name="T18" fmla="*/ 112 w 116"/>
                <a:gd name="T19" fmla="*/ 56 h 79"/>
                <a:gd name="T20" fmla="*/ 113 w 116"/>
                <a:gd name="T21" fmla="*/ 76 h 79"/>
                <a:gd name="T22" fmla="*/ 91 w 116"/>
                <a:gd name="T23" fmla="*/ 79 h 79"/>
                <a:gd name="T24" fmla="*/ 72 w 116"/>
                <a:gd name="T25" fmla="*/ 68 h 79"/>
                <a:gd name="T26" fmla="*/ 69 w 116"/>
                <a:gd name="T27" fmla="*/ 58 h 79"/>
                <a:gd name="T28" fmla="*/ 68 w 116"/>
                <a:gd name="T29" fmla="*/ 49 h 79"/>
                <a:gd name="T30" fmla="*/ 65 w 116"/>
                <a:gd name="T31" fmla="*/ 39 h 79"/>
                <a:gd name="T32" fmla="*/ 46 w 116"/>
                <a:gd name="T33" fmla="*/ 40 h 79"/>
                <a:gd name="T34" fmla="*/ 38 w 116"/>
                <a:gd name="T35" fmla="*/ 46 h 79"/>
                <a:gd name="T36" fmla="*/ 28 w 116"/>
                <a:gd name="T37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79">
                  <a:moveTo>
                    <a:pt x="28" y="48"/>
                  </a:moveTo>
                  <a:cubicBezTo>
                    <a:pt x="25" y="31"/>
                    <a:pt x="23" y="32"/>
                    <a:pt x="6" y="30"/>
                  </a:cubicBezTo>
                  <a:cubicBezTo>
                    <a:pt x="0" y="24"/>
                    <a:pt x="11" y="31"/>
                    <a:pt x="6" y="24"/>
                  </a:cubicBezTo>
                  <a:cubicBezTo>
                    <a:pt x="7" y="21"/>
                    <a:pt x="13" y="19"/>
                    <a:pt x="17" y="15"/>
                  </a:cubicBezTo>
                  <a:cubicBezTo>
                    <a:pt x="21" y="11"/>
                    <a:pt x="25" y="3"/>
                    <a:pt x="30" y="2"/>
                  </a:cubicBezTo>
                  <a:cubicBezTo>
                    <a:pt x="35" y="0"/>
                    <a:pt x="41" y="6"/>
                    <a:pt x="49" y="7"/>
                  </a:cubicBezTo>
                  <a:cubicBezTo>
                    <a:pt x="57" y="8"/>
                    <a:pt x="67" y="7"/>
                    <a:pt x="76" y="10"/>
                  </a:cubicBezTo>
                  <a:cubicBezTo>
                    <a:pt x="85" y="13"/>
                    <a:pt x="96" y="21"/>
                    <a:pt x="102" y="26"/>
                  </a:cubicBezTo>
                  <a:cubicBezTo>
                    <a:pt x="104" y="30"/>
                    <a:pt x="110" y="38"/>
                    <a:pt x="110" y="38"/>
                  </a:cubicBezTo>
                  <a:cubicBezTo>
                    <a:pt x="108" y="44"/>
                    <a:pt x="112" y="56"/>
                    <a:pt x="112" y="56"/>
                  </a:cubicBezTo>
                  <a:cubicBezTo>
                    <a:pt x="111" y="61"/>
                    <a:pt x="116" y="72"/>
                    <a:pt x="113" y="76"/>
                  </a:cubicBezTo>
                  <a:cubicBezTo>
                    <a:pt x="111" y="79"/>
                    <a:pt x="91" y="79"/>
                    <a:pt x="91" y="79"/>
                  </a:cubicBezTo>
                  <a:cubicBezTo>
                    <a:pt x="79" y="77"/>
                    <a:pt x="82" y="71"/>
                    <a:pt x="72" y="68"/>
                  </a:cubicBezTo>
                  <a:cubicBezTo>
                    <a:pt x="68" y="65"/>
                    <a:pt x="71" y="63"/>
                    <a:pt x="69" y="58"/>
                  </a:cubicBezTo>
                  <a:cubicBezTo>
                    <a:pt x="68" y="55"/>
                    <a:pt x="69" y="52"/>
                    <a:pt x="68" y="49"/>
                  </a:cubicBezTo>
                  <a:cubicBezTo>
                    <a:pt x="67" y="46"/>
                    <a:pt x="69" y="41"/>
                    <a:pt x="65" y="39"/>
                  </a:cubicBezTo>
                  <a:cubicBezTo>
                    <a:pt x="61" y="35"/>
                    <a:pt x="50" y="39"/>
                    <a:pt x="46" y="40"/>
                  </a:cubicBezTo>
                  <a:cubicBezTo>
                    <a:pt x="42" y="41"/>
                    <a:pt x="41" y="45"/>
                    <a:pt x="38" y="46"/>
                  </a:cubicBezTo>
                  <a:cubicBezTo>
                    <a:pt x="33" y="53"/>
                    <a:pt x="32" y="52"/>
                    <a:pt x="28" y="4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290958" y="3913304"/>
              <a:ext cx="187901" cy="129580"/>
            </a:xfrm>
            <a:custGeom>
              <a:avLst/>
              <a:gdLst>
                <a:gd name="T0" fmla="*/ 77 w 114"/>
                <a:gd name="T1" fmla="*/ 0 h 80"/>
                <a:gd name="T2" fmla="*/ 34 w 114"/>
                <a:gd name="T3" fmla="*/ 13 h 80"/>
                <a:gd name="T4" fmla="*/ 18 w 114"/>
                <a:gd name="T5" fmla="*/ 27 h 80"/>
                <a:gd name="T6" fmla="*/ 0 w 114"/>
                <a:gd name="T7" fmla="*/ 55 h 80"/>
                <a:gd name="T8" fmla="*/ 12 w 114"/>
                <a:gd name="T9" fmla="*/ 77 h 80"/>
                <a:gd name="T10" fmla="*/ 24 w 114"/>
                <a:gd name="T11" fmla="*/ 75 h 80"/>
                <a:gd name="T12" fmla="*/ 40 w 114"/>
                <a:gd name="T13" fmla="*/ 63 h 80"/>
                <a:gd name="T14" fmla="*/ 80 w 114"/>
                <a:gd name="T15" fmla="*/ 61 h 80"/>
                <a:gd name="T16" fmla="*/ 110 w 114"/>
                <a:gd name="T17" fmla="*/ 55 h 80"/>
                <a:gd name="T18" fmla="*/ 100 w 114"/>
                <a:gd name="T19" fmla="*/ 31 h 80"/>
                <a:gd name="T20" fmla="*/ 86 w 114"/>
                <a:gd name="T21" fmla="*/ 9 h 80"/>
                <a:gd name="T22" fmla="*/ 77 w 114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80">
                  <a:moveTo>
                    <a:pt x="77" y="0"/>
                  </a:moveTo>
                  <a:cubicBezTo>
                    <a:pt x="58" y="2"/>
                    <a:pt x="54" y="11"/>
                    <a:pt x="34" y="13"/>
                  </a:cubicBezTo>
                  <a:cubicBezTo>
                    <a:pt x="31" y="26"/>
                    <a:pt x="30" y="24"/>
                    <a:pt x="18" y="27"/>
                  </a:cubicBezTo>
                  <a:cubicBezTo>
                    <a:pt x="7" y="35"/>
                    <a:pt x="12" y="51"/>
                    <a:pt x="0" y="55"/>
                  </a:cubicBezTo>
                  <a:cubicBezTo>
                    <a:pt x="2" y="67"/>
                    <a:pt x="0" y="73"/>
                    <a:pt x="12" y="77"/>
                  </a:cubicBezTo>
                  <a:cubicBezTo>
                    <a:pt x="15" y="80"/>
                    <a:pt x="19" y="77"/>
                    <a:pt x="24" y="75"/>
                  </a:cubicBezTo>
                  <a:cubicBezTo>
                    <a:pt x="29" y="73"/>
                    <a:pt x="31" y="65"/>
                    <a:pt x="40" y="63"/>
                  </a:cubicBezTo>
                  <a:cubicBezTo>
                    <a:pt x="53" y="62"/>
                    <a:pt x="67" y="62"/>
                    <a:pt x="80" y="61"/>
                  </a:cubicBezTo>
                  <a:cubicBezTo>
                    <a:pt x="98" y="55"/>
                    <a:pt x="88" y="57"/>
                    <a:pt x="110" y="55"/>
                  </a:cubicBezTo>
                  <a:cubicBezTo>
                    <a:pt x="114" y="44"/>
                    <a:pt x="111" y="35"/>
                    <a:pt x="100" y="31"/>
                  </a:cubicBezTo>
                  <a:cubicBezTo>
                    <a:pt x="94" y="22"/>
                    <a:pt x="95" y="15"/>
                    <a:pt x="86" y="9"/>
                  </a:cubicBezTo>
                  <a:cubicBezTo>
                    <a:pt x="81" y="2"/>
                    <a:pt x="71" y="0"/>
                    <a:pt x="7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7" name="Freeform 38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5466963" y="3825838"/>
              <a:ext cx="249455" cy="147397"/>
            </a:xfrm>
            <a:custGeom>
              <a:avLst/>
              <a:gdLst>
                <a:gd name="T0" fmla="*/ 3 w 151"/>
                <a:gd name="T1" fmla="*/ 27 h 91"/>
                <a:gd name="T2" fmla="*/ 17 w 151"/>
                <a:gd name="T3" fmla="*/ 69 h 91"/>
                <a:gd name="T4" fmla="*/ 39 w 151"/>
                <a:gd name="T5" fmla="*/ 89 h 91"/>
                <a:gd name="T6" fmla="*/ 52 w 151"/>
                <a:gd name="T7" fmla="*/ 84 h 91"/>
                <a:gd name="T8" fmla="*/ 84 w 151"/>
                <a:gd name="T9" fmla="*/ 71 h 91"/>
                <a:gd name="T10" fmla="*/ 108 w 151"/>
                <a:gd name="T11" fmla="*/ 60 h 91"/>
                <a:gd name="T12" fmla="*/ 129 w 151"/>
                <a:gd name="T13" fmla="*/ 53 h 91"/>
                <a:gd name="T14" fmla="*/ 138 w 151"/>
                <a:gd name="T15" fmla="*/ 41 h 91"/>
                <a:gd name="T16" fmla="*/ 148 w 151"/>
                <a:gd name="T17" fmla="*/ 24 h 91"/>
                <a:gd name="T18" fmla="*/ 129 w 151"/>
                <a:gd name="T19" fmla="*/ 0 h 91"/>
                <a:gd name="T20" fmla="*/ 115 w 151"/>
                <a:gd name="T21" fmla="*/ 2 h 91"/>
                <a:gd name="T22" fmla="*/ 88 w 151"/>
                <a:gd name="T23" fmla="*/ 3 h 91"/>
                <a:gd name="T24" fmla="*/ 73 w 151"/>
                <a:gd name="T25" fmla="*/ 6 h 91"/>
                <a:gd name="T26" fmla="*/ 54 w 151"/>
                <a:gd name="T27" fmla="*/ 41 h 91"/>
                <a:gd name="T28" fmla="*/ 40 w 151"/>
                <a:gd name="T29" fmla="*/ 33 h 91"/>
                <a:gd name="T30" fmla="*/ 22 w 151"/>
                <a:gd name="T31" fmla="*/ 26 h 91"/>
                <a:gd name="T32" fmla="*/ 10 w 151"/>
                <a:gd name="T33" fmla="*/ 24 h 91"/>
                <a:gd name="T34" fmla="*/ 3 w 151"/>
                <a:gd name="T35" fmla="*/ 2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91">
                  <a:moveTo>
                    <a:pt x="3" y="27"/>
                  </a:moveTo>
                  <a:cubicBezTo>
                    <a:pt x="0" y="42"/>
                    <a:pt x="12" y="55"/>
                    <a:pt x="17" y="69"/>
                  </a:cubicBezTo>
                  <a:cubicBezTo>
                    <a:pt x="17" y="79"/>
                    <a:pt x="33" y="87"/>
                    <a:pt x="39" y="89"/>
                  </a:cubicBezTo>
                  <a:cubicBezTo>
                    <a:pt x="45" y="91"/>
                    <a:pt x="45" y="87"/>
                    <a:pt x="52" y="84"/>
                  </a:cubicBezTo>
                  <a:cubicBezTo>
                    <a:pt x="68" y="74"/>
                    <a:pt x="60" y="76"/>
                    <a:pt x="84" y="71"/>
                  </a:cubicBezTo>
                  <a:cubicBezTo>
                    <a:pt x="90" y="61"/>
                    <a:pt x="97" y="62"/>
                    <a:pt x="108" y="60"/>
                  </a:cubicBezTo>
                  <a:cubicBezTo>
                    <a:pt x="114" y="56"/>
                    <a:pt x="122" y="54"/>
                    <a:pt x="129" y="53"/>
                  </a:cubicBezTo>
                  <a:cubicBezTo>
                    <a:pt x="134" y="49"/>
                    <a:pt x="135" y="46"/>
                    <a:pt x="138" y="41"/>
                  </a:cubicBezTo>
                  <a:cubicBezTo>
                    <a:pt x="140" y="31"/>
                    <a:pt x="151" y="35"/>
                    <a:pt x="148" y="24"/>
                  </a:cubicBezTo>
                  <a:cubicBezTo>
                    <a:pt x="147" y="14"/>
                    <a:pt x="139" y="5"/>
                    <a:pt x="129" y="0"/>
                  </a:cubicBezTo>
                  <a:cubicBezTo>
                    <a:pt x="124" y="1"/>
                    <a:pt x="120" y="2"/>
                    <a:pt x="115" y="2"/>
                  </a:cubicBezTo>
                  <a:cubicBezTo>
                    <a:pt x="106" y="3"/>
                    <a:pt x="97" y="2"/>
                    <a:pt x="88" y="3"/>
                  </a:cubicBezTo>
                  <a:cubicBezTo>
                    <a:pt x="83" y="3"/>
                    <a:pt x="73" y="6"/>
                    <a:pt x="73" y="6"/>
                  </a:cubicBezTo>
                  <a:cubicBezTo>
                    <a:pt x="67" y="16"/>
                    <a:pt x="64" y="33"/>
                    <a:pt x="54" y="41"/>
                  </a:cubicBezTo>
                  <a:cubicBezTo>
                    <a:pt x="48" y="40"/>
                    <a:pt x="45" y="35"/>
                    <a:pt x="40" y="33"/>
                  </a:cubicBezTo>
                  <a:cubicBezTo>
                    <a:pt x="36" y="32"/>
                    <a:pt x="22" y="26"/>
                    <a:pt x="22" y="26"/>
                  </a:cubicBezTo>
                  <a:cubicBezTo>
                    <a:pt x="17" y="17"/>
                    <a:pt x="19" y="22"/>
                    <a:pt x="10" y="24"/>
                  </a:cubicBezTo>
                  <a:cubicBezTo>
                    <a:pt x="5" y="26"/>
                    <a:pt x="7" y="26"/>
                    <a:pt x="3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8" name="Freeform 39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5304979" y="3838796"/>
              <a:ext cx="171703" cy="168453"/>
            </a:xfrm>
            <a:custGeom>
              <a:avLst/>
              <a:gdLst>
                <a:gd name="T0" fmla="*/ 31 w 106"/>
                <a:gd name="T1" fmla="*/ 0 h 104"/>
                <a:gd name="T2" fmla="*/ 55 w 106"/>
                <a:gd name="T3" fmla="*/ 18 h 104"/>
                <a:gd name="T4" fmla="*/ 87 w 106"/>
                <a:gd name="T5" fmla="*/ 46 h 104"/>
                <a:gd name="T6" fmla="*/ 105 w 106"/>
                <a:gd name="T7" fmla="*/ 96 h 104"/>
                <a:gd name="T8" fmla="*/ 90 w 106"/>
                <a:gd name="T9" fmla="*/ 100 h 104"/>
                <a:gd name="T10" fmla="*/ 80 w 106"/>
                <a:gd name="T11" fmla="*/ 91 h 104"/>
                <a:gd name="T12" fmla="*/ 83 w 106"/>
                <a:gd name="T13" fmla="*/ 78 h 104"/>
                <a:gd name="T14" fmla="*/ 77 w 106"/>
                <a:gd name="T15" fmla="*/ 54 h 104"/>
                <a:gd name="T16" fmla="*/ 12 w 106"/>
                <a:gd name="T17" fmla="*/ 54 h 104"/>
                <a:gd name="T18" fmla="*/ 7 w 106"/>
                <a:gd name="T19" fmla="*/ 30 h 104"/>
                <a:gd name="T20" fmla="*/ 31 w 106"/>
                <a:gd name="T2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104">
                  <a:moveTo>
                    <a:pt x="31" y="0"/>
                  </a:moveTo>
                  <a:cubicBezTo>
                    <a:pt x="52" y="2"/>
                    <a:pt x="35" y="13"/>
                    <a:pt x="55" y="18"/>
                  </a:cubicBezTo>
                  <a:cubicBezTo>
                    <a:pt x="62" y="26"/>
                    <a:pt x="80" y="36"/>
                    <a:pt x="87" y="46"/>
                  </a:cubicBezTo>
                  <a:cubicBezTo>
                    <a:pt x="95" y="59"/>
                    <a:pt x="104" y="87"/>
                    <a:pt x="105" y="96"/>
                  </a:cubicBezTo>
                  <a:cubicBezTo>
                    <a:pt x="106" y="104"/>
                    <a:pt x="94" y="101"/>
                    <a:pt x="90" y="100"/>
                  </a:cubicBezTo>
                  <a:cubicBezTo>
                    <a:pt x="86" y="99"/>
                    <a:pt x="81" y="95"/>
                    <a:pt x="80" y="91"/>
                  </a:cubicBezTo>
                  <a:cubicBezTo>
                    <a:pt x="79" y="87"/>
                    <a:pt x="83" y="84"/>
                    <a:pt x="83" y="78"/>
                  </a:cubicBezTo>
                  <a:cubicBezTo>
                    <a:pt x="83" y="72"/>
                    <a:pt x="89" y="58"/>
                    <a:pt x="77" y="54"/>
                  </a:cubicBezTo>
                  <a:cubicBezTo>
                    <a:pt x="56" y="65"/>
                    <a:pt x="36" y="59"/>
                    <a:pt x="12" y="54"/>
                  </a:cubicBezTo>
                  <a:cubicBezTo>
                    <a:pt x="0" y="51"/>
                    <a:pt x="4" y="39"/>
                    <a:pt x="7" y="30"/>
                  </a:cubicBezTo>
                  <a:cubicBezTo>
                    <a:pt x="10" y="21"/>
                    <a:pt x="26" y="6"/>
                    <a:pt x="3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9" name="Freeform 40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013966" y="3616891"/>
              <a:ext cx="299671" cy="307752"/>
            </a:xfrm>
            <a:custGeom>
              <a:avLst/>
              <a:gdLst>
                <a:gd name="T0" fmla="*/ 176 w 182"/>
                <a:gd name="T1" fmla="*/ 26 h 190"/>
                <a:gd name="T2" fmla="*/ 156 w 182"/>
                <a:gd name="T3" fmla="*/ 28 h 190"/>
                <a:gd name="T4" fmla="*/ 156 w 182"/>
                <a:gd name="T5" fmla="*/ 82 h 190"/>
                <a:gd name="T6" fmla="*/ 166 w 182"/>
                <a:gd name="T7" fmla="*/ 174 h 190"/>
                <a:gd name="T8" fmla="*/ 62 w 182"/>
                <a:gd name="T9" fmla="*/ 178 h 190"/>
                <a:gd name="T10" fmla="*/ 29 w 182"/>
                <a:gd name="T11" fmla="*/ 161 h 190"/>
                <a:gd name="T12" fmla="*/ 6 w 182"/>
                <a:gd name="T13" fmla="*/ 160 h 190"/>
                <a:gd name="T14" fmla="*/ 6 w 182"/>
                <a:gd name="T15" fmla="*/ 128 h 190"/>
                <a:gd name="T16" fmla="*/ 0 w 182"/>
                <a:gd name="T17" fmla="*/ 104 h 190"/>
                <a:gd name="T18" fmla="*/ 56 w 182"/>
                <a:gd name="T19" fmla="*/ 84 h 190"/>
                <a:gd name="T20" fmla="*/ 54 w 182"/>
                <a:gd name="T21" fmla="*/ 62 h 190"/>
                <a:gd name="T22" fmla="*/ 72 w 182"/>
                <a:gd name="T23" fmla="*/ 48 h 190"/>
                <a:gd name="T24" fmla="*/ 74 w 182"/>
                <a:gd name="T25" fmla="*/ 12 h 190"/>
                <a:gd name="T26" fmla="*/ 118 w 182"/>
                <a:gd name="T27" fmla="*/ 12 h 190"/>
                <a:gd name="T28" fmla="*/ 134 w 182"/>
                <a:gd name="T29" fmla="*/ 0 h 190"/>
                <a:gd name="T30" fmla="*/ 158 w 182"/>
                <a:gd name="T31" fmla="*/ 14 h 190"/>
                <a:gd name="T32" fmla="*/ 176 w 182"/>
                <a:gd name="T33" fmla="*/ 2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2" h="190">
                  <a:moveTo>
                    <a:pt x="176" y="26"/>
                  </a:moveTo>
                  <a:cubicBezTo>
                    <a:pt x="169" y="27"/>
                    <a:pt x="162" y="26"/>
                    <a:pt x="156" y="28"/>
                  </a:cubicBezTo>
                  <a:cubicBezTo>
                    <a:pt x="139" y="34"/>
                    <a:pt x="155" y="64"/>
                    <a:pt x="156" y="82"/>
                  </a:cubicBezTo>
                  <a:cubicBezTo>
                    <a:pt x="150" y="98"/>
                    <a:pt x="182" y="158"/>
                    <a:pt x="166" y="174"/>
                  </a:cubicBezTo>
                  <a:cubicBezTo>
                    <a:pt x="150" y="190"/>
                    <a:pt x="85" y="180"/>
                    <a:pt x="62" y="178"/>
                  </a:cubicBezTo>
                  <a:cubicBezTo>
                    <a:pt x="52" y="175"/>
                    <a:pt x="41" y="162"/>
                    <a:pt x="29" y="161"/>
                  </a:cubicBezTo>
                  <a:cubicBezTo>
                    <a:pt x="20" y="160"/>
                    <a:pt x="15" y="161"/>
                    <a:pt x="6" y="160"/>
                  </a:cubicBezTo>
                  <a:cubicBezTo>
                    <a:pt x="8" y="144"/>
                    <a:pt x="11" y="143"/>
                    <a:pt x="6" y="128"/>
                  </a:cubicBezTo>
                  <a:cubicBezTo>
                    <a:pt x="3" y="120"/>
                    <a:pt x="0" y="104"/>
                    <a:pt x="0" y="104"/>
                  </a:cubicBezTo>
                  <a:cubicBezTo>
                    <a:pt x="4" y="75"/>
                    <a:pt x="19" y="87"/>
                    <a:pt x="56" y="84"/>
                  </a:cubicBezTo>
                  <a:cubicBezTo>
                    <a:pt x="61" y="74"/>
                    <a:pt x="60" y="71"/>
                    <a:pt x="54" y="62"/>
                  </a:cubicBezTo>
                  <a:cubicBezTo>
                    <a:pt x="57" y="50"/>
                    <a:pt x="60" y="50"/>
                    <a:pt x="72" y="48"/>
                  </a:cubicBezTo>
                  <a:cubicBezTo>
                    <a:pt x="73" y="36"/>
                    <a:pt x="65" y="19"/>
                    <a:pt x="74" y="12"/>
                  </a:cubicBezTo>
                  <a:cubicBezTo>
                    <a:pt x="81" y="4"/>
                    <a:pt x="104" y="12"/>
                    <a:pt x="118" y="12"/>
                  </a:cubicBezTo>
                  <a:cubicBezTo>
                    <a:pt x="128" y="10"/>
                    <a:pt x="127" y="0"/>
                    <a:pt x="134" y="0"/>
                  </a:cubicBezTo>
                  <a:cubicBezTo>
                    <a:pt x="141" y="0"/>
                    <a:pt x="151" y="10"/>
                    <a:pt x="158" y="14"/>
                  </a:cubicBezTo>
                  <a:cubicBezTo>
                    <a:pt x="163" y="22"/>
                    <a:pt x="167" y="24"/>
                    <a:pt x="176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0" name="Freeform 41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5685641" y="3663864"/>
              <a:ext cx="194381" cy="212187"/>
            </a:xfrm>
            <a:custGeom>
              <a:avLst/>
              <a:gdLst>
                <a:gd name="T0" fmla="*/ 53 w 120"/>
                <a:gd name="T1" fmla="*/ 37 h 131"/>
                <a:gd name="T2" fmla="*/ 69 w 120"/>
                <a:gd name="T3" fmla="*/ 0 h 131"/>
                <a:gd name="T4" fmla="*/ 113 w 120"/>
                <a:gd name="T5" fmla="*/ 22 h 131"/>
                <a:gd name="T6" fmla="*/ 120 w 120"/>
                <a:gd name="T7" fmla="*/ 40 h 131"/>
                <a:gd name="T8" fmla="*/ 111 w 120"/>
                <a:gd name="T9" fmla="*/ 64 h 131"/>
                <a:gd name="T10" fmla="*/ 90 w 120"/>
                <a:gd name="T11" fmla="*/ 75 h 131"/>
                <a:gd name="T12" fmla="*/ 75 w 120"/>
                <a:gd name="T13" fmla="*/ 99 h 131"/>
                <a:gd name="T14" fmla="*/ 51 w 120"/>
                <a:gd name="T15" fmla="*/ 118 h 131"/>
                <a:gd name="T16" fmla="*/ 30 w 120"/>
                <a:gd name="T17" fmla="*/ 127 h 131"/>
                <a:gd name="T18" fmla="*/ 14 w 120"/>
                <a:gd name="T19" fmla="*/ 120 h 131"/>
                <a:gd name="T20" fmla="*/ 3 w 120"/>
                <a:gd name="T21" fmla="*/ 102 h 131"/>
                <a:gd name="T22" fmla="*/ 26 w 120"/>
                <a:gd name="T23" fmla="*/ 88 h 131"/>
                <a:gd name="T24" fmla="*/ 41 w 120"/>
                <a:gd name="T25" fmla="*/ 75 h 131"/>
                <a:gd name="T26" fmla="*/ 53 w 120"/>
                <a:gd name="T27" fmla="*/ 3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31">
                  <a:moveTo>
                    <a:pt x="53" y="37"/>
                  </a:moveTo>
                  <a:cubicBezTo>
                    <a:pt x="55" y="24"/>
                    <a:pt x="58" y="9"/>
                    <a:pt x="69" y="0"/>
                  </a:cubicBezTo>
                  <a:cubicBezTo>
                    <a:pt x="76" y="20"/>
                    <a:pt x="95" y="19"/>
                    <a:pt x="113" y="22"/>
                  </a:cubicBezTo>
                  <a:cubicBezTo>
                    <a:pt x="114" y="31"/>
                    <a:pt x="115" y="33"/>
                    <a:pt x="120" y="40"/>
                  </a:cubicBezTo>
                  <a:cubicBezTo>
                    <a:pt x="119" y="51"/>
                    <a:pt x="117" y="55"/>
                    <a:pt x="111" y="64"/>
                  </a:cubicBezTo>
                  <a:cubicBezTo>
                    <a:pt x="109" y="74"/>
                    <a:pt x="99" y="73"/>
                    <a:pt x="90" y="75"/>
                  </a:cubicBezTo>
                  <a:cubicBezTo>
                    <a:pt x="87" y="91"/>
                    <a:pt x="93" y="96"/>
                    <a:pt x="75" y="99"/>
                  </a:cubicBezTo>
                  <a:cubicBezTo>
                    <a:pt x="74" y="108"/>
                    <a:pt x="61" y="116"/>
                    <a:pt x="51" y="118"/>
                  </a:cubicBezTo>
                  <a:cubicBezTo>
                    <a:pt x="43" y="122"/>
                    <a:pt x="39" y="126"/>
                    <a:pt x="30" y="127"/>
                  </a:cubicBezTo>
                  <a:cubicBezTo>
                    <a:pt x="22" y="131"/>
                    <a:pt x="20" y="124"/>
                    <a:pt x="14" y="120"/>
                  </a:cubicBezTo>
                  <a:cubicBezTo>
                    <a:pt x="10" y="113"/>
                    <a:pt x="7" y="109"/>
                    <a:pt x="3" y="102"/>
                  </a:cubicBezTo>
                  <a:cubicBezTo>
                    <a:pt x="0" y="88"/>
                    <a:pt x="16" y="89"/>
                    <a:pt x="26" y="88"/>
                  </a:cubicBezTo>
                  <a:cubicBezTo>
                    <a:pt x="32" y="83"/>
                    <a:pt x="33" y="77"/>
                    <a:pt x="41" y="75"/>
                  </a:cubicBezTo>
                  <a:cubicBezTo>
                    <a:pt x="56" y="64"/>
                    <a:pt x="54" y="59"/>
                    <a:pt x="53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1" name="Freeform 42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5674302" y="3612031"/>
              <a:ext cx="127968" cy="118242"/>
            </a:xfrm>
            <a:custGeom>
              <a:avLst/>
              <a:gdLst>
                <a:gd name="T0" fmla="*/ 7 w 78"/>
                <a:gd name="T1" fmla="*/ 44 h 73"/>
                <a:gd name="T2" fmla="*/ 43 w 78"/>
                <a:gd name="T3" fmla="*/ 39 h 73"/>
                <a:gd name="T4" fmla="*/ 59 w 78"/>
                <a:gd name="T5" fmla="*/ 18 h 73"/>
                <a:gd name="T6" fmla="*/ 74 w 78"/>
                <a:gd name="T7" fmla="*/ 0 h 73"/>
                <a:gd name="T8" fmla="*/ 76 w 78"/>
                <a:gd name="T9" fmla="*/ 32 h 73"/>
                <a:gd name="T10" fmla="*/ 67 w 78"/>
                <a:gd name="T11" fmla="*/ 38 h 73"/>
                <a:gd name="T12" fmla="*/ 64 w 78"/>
                <a:gd name="T13" fmla="*/ 54 h 73"/>
                <a:gd name="T14" fmla="*/ 53 w 78"/>
                <a:gd name="T15" fmla="*/ 69 h 73"/>
                <a:gd name="T16" fmla="*/ 14 w 78"/>
                <a:gd name="T17" fmla="*/ 66 h 73"/>
                <a:gd name="T18" fmla="*/ 5 w 78"/>
                <a:gd name="T19" fmla="*/ 57 h 73"/>
                <a:gd name="T20" fmla="*/ 4 w 78"/>
                <a:gd name="T21" fmla="*/ 47 h 73"/>
                <a:gd name="T22" fmla="*/ 7 w 78"/>
                <a:gd name="T23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3">
                  <a:moveTo>
                    <a:pt x="7" y="44"/>
                  </a:moveTo>
                  <a:cubicBezTo>
                    <a:pt x="21" y="34"/>
                    <a:pt x="3" y="46"/>
                    <a:pt x="43" y="39"/>
                  </a:cubicBezTo>
                  <a:cubicBezTo>
                    <a:pt x="47" y="38"/>
                    <a:pt x="55" y="21"/>
                    <a:pt x="59" y="18"/>
                  </a:cubicBezTo>
                  <a:cubicBezTo>
                    <a:pt x="65" y="19"/>
                    <a:pt x="76" y="3"/>
                    <a:pt x="74" y="0"/>
                  </a:cubicBezTo>
                  <a:cubicBezTo>
                    <a:pt x="75" y="1"/>
                    <a:pt x="76" y="31"/>
                    <a:pt x="76" y="32"/>
                  </a:cubicBezTo>
                  <a:cubicBezTo>
                    <a:pt x="72" y="48"/>
                    <a:pt x="78" y="36"/>
                    <a:pt x="67" y="38"/>
                  </a:cubicBezTo>
                  <a:cubicBezTo>
                    <a:pt x="65" y="42"/>
                    <a:pt x="66" y="49"/>
                    <a:pt x="64" y="54"/>
                  </a:cubicBezTo>
                  <a:cubicBezTo>
                    <a:pt x="62" y="59"/>
                    <a:pt x="61" y="67"/>
                    <a:pt x="53" y="69"/>
                  </a:cubicBezTo>
                  <a:cubicBezTo>
                    <a:pt x="45" y="73"/>
                    <a:pt x="22" y="68"/>
                    <a:pt x="14" y="66"/>
                  </a:cubicBezTo>
                  <a:cubicBezTo>
                    <a:pt x="6" y="64"/>
                    <a:pt x="7" y="60"/>
                    <a:pt x="5" y="57"/>
                  </a:cubicBezTo>
                  <a:cubicBezTo>
                    <a:pt x="3" y="53"/>
                    <a:pt x="0" y="51"/>
                    <a:pt x="4" y="47"/>
                  </a:cubicBezTo>
                  <a:cubicBezTo>
                    <a:pt x="7" y="44"/>
                    <a:pt x="9" y="46"/>
                    <a:pt x="7" y="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2" name="Freeform 43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5641905" y="3626609"/>
              <a:ext cx="50216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3" name="Freeform 232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4712117" y="4417045"/>
              <a:ext cx="301290" cy="307752"/>
            </a:xfrm>
            <a:custGeom>
              <a:avLst/>
              <a:gdLst>
                <a:gd name="T0" fmla="*/ 0 w 183"/>
                <a:gd name="T1" fmla="*/ 174 h 190"/>
                <a:gd name="T2" fmla="*/ 10 w 183"/>
                <a:gd name="T3" fmla="*/ 129 h 190"/>
                <a:gd name="T4" fmla="*/ 15 w 183"/>
                <a:gd name="T5" fmla="*/ 112 h 190"/>
                <a:gd name="T6" fmla="*/ 28 w 183"/>
                <a:gd name="T7" fmla="*/ 97 h 190"/>
                <a:gd name="T8" fmla="*/ 22 w 183"/>
                <a:gd name="T9" fmla="*/ 69 h 190"/>
                <a:gd name="T10" fmla="*/ 22 w 183"/>
                <a:gd name="T11" fmla="*/ 34 h 190"/>
                <a:gd name="T12" fmla="*/ 12 w 183"/>
                <a:gd name="T13" fmla="*/ 16 h 190"/>
                <a:gd name="T14" fmla="*/ 30 w 183"/>
                <a:gd name="T15" fmla="*/ 4 h 190"/>
                <a:gd name="T16" fmla="*/ 60 w 183"/>
                <a:gd name="T17" fmla="*/ 1 h 190"/>
                <a:gd name="T18" fmla="*/ 70 w 183"/>
                <a:gd name="T19" fmla="*/ 3 h 190"/>
                <a:gd name="T20" fmla="*/ 79 w 183"/>
                <a:gd name="T21" fmla="*/ 28 h 190"/>
                <a:gd name="T22" fmla="*/ 103 w 183"/>
                <a:gd name="T23" fmla="*/ 31 h 190"/>
                <a:gd name="T24" fmla="*/ 123 w 183"/>
                <a:gd name="T25" fmla="*/ 25 h 190"/>
                <a:gd name="T26" fmla="*/ 144 w 183"/>
                <a:gd name="T27" fmla="*/ 30 h 190"/>
                <a:gd name="T28" fmla="*/ 151 w 183"/>
                <a:gd name="T29" fmla="*/ 42 h 190"/>
                <a:gd name="T30" fmla="*/ 150 w 183"/>
                <a:gd name="T31" fmla="*/ 58 h 190"/>
                <a:gd name="T32" fmla="*/ 157 w 183"/>
                <a:gd name="T33" fmla="*/ 78 h 190"/>
                <a:gd name="T34" fmla="*/ 180 w 183"/>
                <a:gd name="T35" fmla="*/ 81 h 190"/>
                <a:gd name="T36" fmla="*/ 175 w 183"/>
                <a:gd name="T37" fmla="*/ 103 h 190"/>
                <a:gd name="T38" fmla="*/ 151 w 183"/>
                <a:gd name="T39" fmla="*/ 109 h 190"/>
                <a:gd name="T40" fmla="*/ 145 w 183"/>
                <a:gd name="T41" fmla="*/ 139 h 190"/>
                <a:gd name="T42" fmla="*/ 151 w 183"/>
                <a:gd name="T43" fmla="*/ 178 h 190"/>
                <a:gd name="T44" fmla="*/ 97 w 183"/>
                <a:gd name="T45" fmla="*/ 180 h 190"/>
                <a:gd name="T46" fmla="*/ 37 w 183"/>
                <a:gd name="T47" fmla="*/ 183 h 190"/>
                <a:gd name="T48" fmla="*/ 0 w 183"/>
                <a:gd name="T49" fmla="*/ 17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3" h="190">
                  <a:moveTo>
                    <a:pt x="0" y="174"/>
                  </a:moveTo>
                  <a:cubicBezTo>
                    <a:pt x="1" y="156"/>
                    <a:pt x="0" y="143"/>
                    <a:pt x="10" y="129"/>
                  </a:cubicBezTo>
                  <a:cubicBezTo>
                    <a:pt x="8" y="120"/>
                    <a:pt x="6" y="118"/>
                    <a:pt x="15" y="112"/>
                  </a:cubicBezTo>
                  <a:cubicBezTo>
                    <a:pt x="19" y="107"/>
                    <a:pt x="23" y="101"/>
                    <a:pt x="28" y="97"/>
                  </a:cubicBezTo>
                  <a:cubicBezTo>
                    <a:pt x="26" y="87"/>
                    <a:pt x="28" y="77"/>
                    <a:pt x="22" y="69"/>
                  </a:cubicBezTo>
                  <a:cubicBezTo>
                    <a:pt x="20" y="57"/>
                    <a:pt x="20" y="47"/>
                    <a:pt x="22" y="34"/>
                  </a:cubicBezTo>
                  <a:cubicBezTo>
                    <a:pt x="17" y="28"/>
                    <a:pt x="19" y="21"/>
                    <a:pt x="12" y="16"/>
                  </a:cubicBezTo>
                  <a:cubicBezTo>
                    <a:pt x="13" y="10"/>
                    <a:pt x="22" y="6"/>
                    <a:pt x="30" y="4"/>
                  </a:cubicBezTo>
                  <a:cubicBezTo>
                    <a:pt x="38" y="2"/>
                    <a:pt x="53" y="1"/>
                    <a:pt x="60" y="1"/>
                  </a:cubicBezTo>
                  <a:cubicBezTo>
                    <a:pt x="63" y="2"/>
                    <a:pt x="68" y="0"/>
                    <a:pt x="70" y="3"/>
                  </a:cubicBezTo>
                  <a:cubicBezTo>
                    <a:pt x="73" y="6"/>
                    <a:pt x="74" y="23"/>
                    <a:pt x="79" y="28"/>
                  </a:cubicBezTo>
                  <a:cubicBezTo>
                    <a:pt x="84" y="33"/>
                    <a:pt x="96" y="32"/>
                    <a:pt x="103" y="31"/>
                  </a:cubicBezTo>
                  <a:cubicBezTo>
                    <a:pt x="118" y="29"/>
                    <a:pt x="112" y="33"/>
                    <a:pt x="123" y="25"/>
                  </a:cubicBezTo>
                  <a:cubicBezTo>
                    <a:pt x="133" y="26"/>
                    <a:pt x="139" y="21"/>
                    <a:pt x="144" y="30"/>
                  </a:cubicBezTo>
                  <a:cubicBezTo>
                    <a:pt x="149" y="34"/>
                    <a:pt x="150" y="37"/>
                    <a:pt x="151" y="42"/>
                  </a:cubicBezTo>
                  <a:cubicBezTo>
                    <a:pt x="152" y="47"/>
                    <a:pt x="149" y="52"/>
                    <a:pt x="150" y="58"/>
                  </a:cubicBezTo>
                  <a:cubicBezTo>
                    <a:pt x="153" y="65"/>
                    <a:pt x="152" y="74"/>
                    <a:pt x="157" y="78"/>
                  </a:cubicBezTo>
                  <a:cubicBezTo>
                    <a:pt x="162" y="82"/>
                    <a:pt x="177" y="77"/>
                    <a:pt x="180" y="81"/>
                  </a:cubicBezTo>
                  <a:cubicBezTo>
                    <a:pt x="183" y="85"/>
                    <a:pt x="180" y="98"/>
                    <a:pt x="175" y="103"/>
                  </a:cubicBezTo>
                  <a:cubicBezTo>
                    <a:pt x="168" y="107"/>
                    <a:pt x="159" y="108"/>
                    <a:pt x="151" y="109"/>
                  </a:cubicBezTo>
                  <a:cubicBezTo>
                    <a:pt x="146" y="115"/>
                    <a:pt x="145" y="128"/>
                    <a:pt x="145" y="139"/>
                  </a:cubicBezTo>
                  <a:cubicBezTo>
                    <a:pt x="145" y="150"/>
                    <a:pt x="159" y="171"/>
                    <a:pt x="151" y="178"/>
                  </a:cubicBezTo>
                  <a:cubicBezTo>
                    <a:pt x="143" y="190"/>
                    <a:pt x="118" y="179"/>
                    <a:pt x="97" y="180"/>
                  </a:cubicBezTo>
                  <a:cubicBezTo>
                    <a:pt x="77" y="170"/>
                    <a:pt x="59" y="185"/>
                    <a:pt x="37" y="183"/>
                  </a:cubicBezTo>
                  <a:cubicBezTo>
                    <a:pt x="19" y="176"/>
                    <a:pt x="31" y="167"/>
                    <a:pt x="0" y="17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4" name="Freeform 233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639224" y="4000770"/>
              <a:ext cx="174943" cy="236483"/>
            </a:xfrm>
            <a:custGeom>
              <a:avLst/>
              <a:gdLst>
                <a:gd name="T0" fmla="*/ 17 w 106"/>
                <a:gd name="T1" fmla="*/ 143 h 146"/>
                <a:gd name="T2" fmla="*/ 6 w 106"/>
                <a:gd name="T3" fmla="*/ 119 h 146"/>
                <a:gd name="T4" fmla="*/ 0 w 106"/>
                <a:gd name="T5" fmla="*/ 96 h 146"/>
                <a:gd name="T6" fmla="*/ 17 w 106"/>
                <a:gd name="T7" fmla="*/ 77 h 146"/>
                <a:gd name="T8" fmla="*/ 30 w 106"/>
                <a:gd name="T9" fmla="*/ 68 h 146"/>
                <a:gd name="T10" fmla="*/ 42 w 106"/>
                <a:gd name="T11" fmla="*/ 72 h 146"/>
                <a:gd name="T12" fmla="*/ 54 w 106"/>
                <a:gd name="T13" fmla="*/ 47 h 146"/>
                <a:gd name="T14" fmla="*/ 62 w 106"/>
                <a:gd name="T15" fmla="*/ 33 h 146"/>
                <a:gd name="T16" fmla="*/ 68 w 106"/>
                <a:gd name="T17" fmla="*/ 18 h 146"/>
                <a:gd name="T18" fmla="*/ 80 w 106"/>
                <a:gd name="T19" fmla="*/ 2 h 146"/>
                <a:gd name="T20" fmla="*/ 89 w 106"/>
                <a:gd name="T21" fmla="*/ 6 h 146"/>
                <a:gd name="T22" fmla="*/ 96 w 106"/>
                <a:gd name="T23" fmla="*/ 18 h 146"/>
                <a:gd name="T24" fmla="*/ 83 w 106"/>
                <a:gd name="T25" fmla="*/ 27 h 146"/>
                <a:gd name="T26" fmla="*/ 98 w 106"/>
                <a:gd name="T27" fmla="*/ 60 h 146"/>
                <a:gd name="T28" fmla="*/ 89 w 106"/>
                <a:gd name="T29" fmla="*/ 72 h 146"/>
                <a:gd name="T30" fmla="*/ 92 w 106"/>
                <a:gd name="T31" fmla="*/ 98 h 146"/>
                <a:gd name="T32" fmla="*/ 96 w 106"/>
                <a:gd name="T33" fmla="*/ 113 h 146"/>
                <a:gd name="T34" fmla="*/ 95 w 106"/>
                <a:gd name="T35" fmla="*/ 120 h 146"/>
                <a:gd name="T36" fmla="*/ 104 w 106"/>
                <a:gd name="T37" fmla="*/ 126 h 146"/>
                <a:gd name="T38" fmla="*/ 80 w 106"/>
                <a:gd name="T39" fmla="*/ 140 h 146"/>
                <a:gd name="T40" fmla="*/ 17 w 106"/>
                <a:gd name="T41" fmla="*/ 14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6" h="146">
                  <a:moveTo>
                    <a:pt x="17" y="143"/>
                  </a:moveTo>
                  <a:cubicBezTo>
                    <a:pt x="15" y="127"/>
                    <a:pt x="20" y="122"/>
                    <a:pt x="6" y="119"/>
                  </a:cubicBezTo>
                  <a:cubicBezTo>
                    <a:pt x="2" y="112"/>
                    <a:pt x="0" y="96"/>
                    <a:pt x="0" y="96"/>
                  </a:cubicBezTo>
                  <a:cubicBezTo>
                    <a:pt x="2" y="78"/>
                    <a:pt x="0" y="79"/>
                    <a:pt x="17" y="77"/>
                  </a:cubicBezTo>
                  <a:cubicBezTo>
                    <a:pt x="21" y="70"/>
                    <a:pt x="22" y="69"/>
                    <a:pt x="30" y="68"/>
                  </a:cubicBezTo>
                  <a:cubicBezTo>
                    <a:pt x="36" y="72"/>
                    <a:pt x="36" y="77"/>
                    <a:pt x="42" y="72"/>
                  </a:cubicBezTo>
                  <a:cubicBezTo>
                    <a:pt x="47" y="57"/>
                    <a:pt x="42" y="56"/>
                    <a:pt x="54" y="47"/>
                  </a:cubicBezTo>
                  <a:cubicBezTo>
                    <a:pt x="57" y="40"/>
                    <a:pt x="55" y="37"/>
                    <a:pt x="62" y="33"/>
                  </a:cubicBezTo>
                  <a:cubicBezTo>
                    <a:pt x="63" y="27"/>
                    <a:pt x="66" y="24"/>
                    <a:pt x="68" y="18"/>
                  </a:cubicBezTo>
                  <a:cubicBezTo>
                    <a:pt x="69" y="1"/>
                    <a:pt x="69" y="9"/>
                    <a:pt x="80" y="2"/>
                  </a:cubicBezTo>
                  <a:cubicBezTo>
                    <a:pt x="84" y="0"/>
                    <a:pt x="86" y="3"/>
                    <a:pt x="89" y="6"/>
                  </a:cubicBezTo>
                  <a:cubicBezTo>
                    <a:pt x="92" y="9"/>
                    <a:pt x="97" y="15"/>
                    <a:pt x="96" y="18"/>
                  </a:cubicBezTo>
                  <a:cubicBezTo>
                    <a:pt x="90" y="21"/>
                    <a:pt x="90" y="26"/>
                    <a:pt x="83" y="27"/>
                  </a:cubicBezTo>
                  <a:cubicBezTo>
                    <a:pt x="83" y="34"/>
                    <a:pt x="97" y="53"/>
                    <a:pt x="98" y="60"/>
                  </a:cubicBezTo>
                  <a:cubicBezTo>
                    <a:pt x="99" y="67"/>
                    <a:pt x="90" y="66"/>
                    <a:pt x="89" y="72"/>
                  </a:cubicBezTo>
                  <a:cubicBezTo>
                    <a:pt x="87" y="80"/>
                    <a:pt x="92" y="92"/>
                    <a:pt x="92" y="98"/>
                  </a:cubicBezTo>
                  <a:cubicBezTo>
                    <a:pt x="93" y="105"/>
                    <a:pt x="96" y="109"/>
                    <a:pt x="96" y="113"/>
                  </a:cubicBezTo>
                  <a:cubicBezTo>
                    <a:pt x="97" y="121"/>
                    <a:pt x="94" y="118"/>
                    <a:pt x="95" y="120"/>
                  </a:cubicBezTo>
                  <a:cubicBezTo>
                    <a:pt x="96" y="122"/>
                    <a:pt x="106" y="123"/>
                    <a:pt x="104" y="126"/>
                  </a:cubicBezTo>
                  <a:cubicBezTo>
                    <a:pt x="101" y="146"/>
                    <a:pt x="100" y="141"/>
                    <a:pt x="80" y="140"/>
                  </a:cubicBezTo>
                  <a:cubicBezTo>
                    <a:pt x="57" y="131"/>
                    <a:pt x="77" y="138"/>
                    <a:pt x="17" y="1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5" name="Freeform 234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485339" y="3950559"/>
              <a:ext cx="293192" cy="218666"/>
            </a:xfrm>
            <a:custGeom>
              <a:avLst/>
              <a:gdLst>
                <a:gd name="T0" fmla="*/ 88 w 178"/>
                <a:gd name="T1" fmla="*/ 130 h 135"/>
                <a:gd name="T2" fmla="*/ 48 w 178"/>
                <a:gd name="T3" fmla="*/ 132 h 135"/>
                <a:gd name="T4" fmla="*/ 33 w 178"/>
                <a:gd name="T5" fmla="*/ 109 h 135"/>
                <a:gd name="T6" fmla="*/ 6 w 178"/>
                <a:gd name="T7" fmla="*/ 102 h 135"/>
                <a:gd name="T8" fmla="*/ 15 w 178"/>
                <a:gd name="T9" fmla="*/ 61 h 135"/>
                <a:gd name="T10" fmla="*/ 19 w 178"/>
                <a:gd name="T11" fmla="*/ 24 h 135"/>
                <a:gd name="T12" fmla="*/ 25 w 178"/>
                <a:gd name="T13" fmla="*/ 6 h 135"/>
                <a:gd name="T14" fmla="*/ 31 w 178"/>
                <a:gd name="T15" fmla="*/ 3 h 135"/>
                <a:gd name="T16" fmla="*/ 45 w 178"/>
                <a:gd name="T17" fmla="*/ 0 h 135"/>
                <a:gd name="T18" fmla="*/ 70 w 178"/>
                <a:gd name="T19" fmla="*/ 4 h 135"/>
                <a:gd name="T20" fmla="*/ 90 w 178"/>
                <a:gd name="T21" fmla="*/ 9 h 135"/>
                <a:gd name="T22" fmla="*/ 99 w 178"/>
                <a:gd name="T23" fmla="*/ 9 h 135"/>
                <a:gd name="T24" fmla="*/ 115 w 178"/>
                <a:gd name="T25" fmla="*/ 4 h 135"/>
                <a:gd name="T26" fmla="*/ 133 w 178"/>
                <a:gd name="T27" fmla="*/ 3 h 135"/>
                <a:gd name="T28" fmla="*/ 148 w 178"/>
                <a:gd name="T29" fmla="*/ 6 h 135"/>
                <a:gd name="T30" fmla="*/ 160 w 178"/>
                <a:gd name="T31" fmla="*/ 4 h 135"/>
                <a:gd name="T32" fmla="*/ 171 w 178"/>
                <a:gd name="T33" fmla="*/ 13 h 135"/>
                <a:gd name="T34" fmla="*/ 178 w 178"/>
                <a:gd name="T35" fmla="*/ 27 h 135"/>
                <a:gd name="T36" fmla="*/ 166 w 178"/>
                <a:gd name="T37" fmla="*/ 37 h 135"/>
                <a:gd name="T38" fmla="*/ 160 w 178"/>
                <a:gd name="T39" fmla="*/ 52 h 135"/>
                <a:gd name="T40" fmla="*/ 156 w 178"/>
                <a:gd name="T41" fmla="*/ 63 h 135"/>
                <a:gd name="T42" fmla="*/ 151 w 178"/>
                <a:gd name="T43" fmla="*/ 78 h 135"/>
                <a:gd name="T44" fmla="*/ 141 w 178"/>
                <a:gd name="T45" fmla="*/ 85 h 135"/>
                <a:gd name="T46" fmla="*/ 136 w 178"/>
                <a:gd name="T47" fmla="*/ 100 h 135"/>
                <a:gd name="T48" fmla="*/ 121 w 178"/>
                <a:gd name="T49" fmla="*/ 103 h 135"/>
                <a:gd name="T50" fmla="*/ 109 w 178"/>
                <a:gd name="T51" fmla="*/ 105 h 135"/>
                <a:gd name="T52" fmla="*/ 94 w 178"/>
                <a:gd name="T53" fmla="*/ 112 h 135"/>
                <a:gd name="T54" fmla="*/ 88 w 178"/>
                <a:gd name="T55" fmla="*/ 13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135">
                  <a:moveTo>
                    <a:pt x="88" y="130"/>
                  </a:moveTo>
                  <a:cubicBezTo>
                    <a:pt x="65" y="135"/>
                    <a:pt x="78" y="133"/>
                    <a:pt x="48" y="132"/>
                  </a:cubicBezTo>
                  <a:cubicBezTo>
                    <a:pt x="46" y="113"/>
                    <a:pt x="49" y="113"/>
                    <a:pt x="33" y="109"/>
                  </a:cubicBezTo>
                  <a:cubicBezTo>
                    <a:pt x="26" y="100"/>
                    <a:pt x="18" y="103"/>
                    <a:pt x="6" y="102"/>
                  </a:cubicBezTo>
                  <a:cubicBezTo>
                    <a:pt x="7" y="82"/>
                    <a:pt x="0" y="70"/>
                    <a:pt x="15" y="61"/>
                  </a:cubicBezTo>
                  <a:cubicBezTo>
                    <a:pt x="24" y="50"/>
                    <a:pt x="14" y="37"/>
                    <a:pt x="19" y="24"/>
                  </a:cubicBezTo>
                  <a:cubicBezTo>
                    <a:pt x="21" y="15"/>
                    <a:pt x="21" y="10"/>
                    <a:pt x="25" y="6"/>
                  </a:cubicBezTo>
                  <a:cubicBezTo>
                    <a:pt x="27" y="3"/>
                    <a:pt x="28" y="4"/>
                    <a:pt x="31" y="3"/>
                  </a:cubicBezTo>
                  <a:cubicBezTo>
                    <a:pt x="34" y="2"/>
                    <a:pt x="39" y="0"/>
                    <a:pt x="45" y="0"/>
                  </a:cubicBezTo>
                  <a:cubicBezTo>
                    <a:pt x="52" y="0"/>
                    <a:pt x="63" y="3"/>
                    <a:pt x="70" y="4"/>
                  </a:cubicBezTo>
                  <a:cubicBezTo>
                    <a:pt x="77" y="6"/>
                    <a:pt x="85" y="8"/>
                    <a:pt x="90" y="9"/>
                  </a:cubicBezTo>
                  <a:cubicBezTo>
                    <a:pt x="95" y="10"/>
                    <a:pt x="95" y="10"/>
                    <a:pt x="99" y="9"/>
                  </a:cubicBezTo>
                  <a:cubicBezTo>
                    <a:pt x="103" y="9"/>
                    <a:pt x="109" y="4"/>
                    <a:pt x="115" y="4"/>
                  </a:cubicBezTo>
                  <a:cubicBezTo>
                    <a:pt x="121" y="3"/>
                    <a:pt x="128" y="3"/>
                    <a:pt x="133" y="3"/>
                  </a:cubicBezTo>
                  <a:cubicBezTo>
                    <a:pt x="141" y="2"/>
                    <a:pt x="144" y="6"/>
                    <a:pt x="148" y="6"/>
                  </a:cubicBezTo>
                  <a:cubicBezTo>
                    <a:pt x="152" y="6"/>
                    <a:pt x="156" y="3"/>
                    <a:pt x="160" y="4"/>
                  </a:cubicBezTo>
                  <a:cubicBezTo>
                    <a:pt x="164" y="5"/>
                    <a:pt x="168" y="9"/>
                    <a:pt x="171" y="13"/>
                  </a:cubicBezTo>
                  <a:cubicBezTo>
                    <a:pt x="172" y="20"/>
                    <a:pt x="172" y="23"/>
                    <a:pt x="178" y="27"/>
                  </a:cubicBezTo>
                  <a:cubicBezTo>
                    <a:pt x="174" y="32"/>
                    <a:pt x="171" y="34"/>
                    <a:pt x="166" y="37"/>
                  </a:cubicBezTo>
                  <a:cubicBezTo>
                    <a:pt x="165" y="43"/>
                    <a:pt x="164" y="47"/>
                    <a:pt x="160" y="52"/>
                  </a:cubicBezTo>
                  <a:cubicBezTo>
                    <a:pt x="159" y="59"/>
                    <a:pt x="162" y="59"/>
                    <a:pt x="156" y="63"/>
                  </a:cubicBezTo>
                  <a:cubicBezTo>
                    <a:pt x="155" y="69"/>
                    <a:pt x="153" y="73"/>
                    <a:pt x="151" y="78"/>
                  </a:cubicBezTo>
                  <a:cubicBezTo>
                    <a:pt x="149" y="83"/>
                    <a:pt x="143" y="81"/>
                    <a:pt x="141" y="85"/>
                  </a:cubicBezTo>
                  <a:cubicBezTo>
                    <a:pt x="139" y="89"/>
                    <a:pt x="139" y="97"/>
                    <a:pt x="136" y="100"/>
                  </a:cubicBezTo>
                  <a:cubicBezTo>
                    <a:pt x="131" y="110"/>
                    <a:pt x="136" y="106"/>
                    <a:pt x="121" y="103"/>
                  </a:cubicBezTo>
                  <a:cubicBezTo>
                    <a:pt x="115" y="99"/>
                    <a:pt x="116" y="104"/>
                    <a:pt x="109" y="105"/>
                  </a:cubicBezTo>
                  <a:cubicBezTo>
                    <a:pt x="108" y="112"/>
                    <a:pt x="101" y="111"/>
                    <a:pt x="94" y="112"/>
                  </a:cubicBezTo>
                  <a:cubicBezTo>
                    <a:pt x="93" y="125"/>
                    <a:pt x="92" y="124"/>
                    <a:pt x="88" y="1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6" name="Freeform 50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33075" y="4005630"/>
              <a:ext cx="106909" cy="152256"/>
            </a:xfrm>
            <a:custGeom>
              <a:avLst/>
              <a:gdLst>
                <a:gd name="T0" fmla="*/ 65 w 65"/>
                <a:gd name="T1" fmla="*/ 0 h 94"/>
                <a:gd name="T2" fmla="*/ 14 w 65"/>
                <a:gd name="T3" fmla="*/ 6 h 94"/>
                <a:gd name="T4" fmla="*/ 18 w 65"/>
                <a:gd name="T5" fmla="*/ 48 h 94"/>
                <a:gd name="T6" fmla="*/ 10 w 65"/>
                <a:gd name="T7" fmla="*/ 70 h 94"/>
                <a:gd name="T8" fmla="*/ 28 w 65"/>
                <a:gd name="T9" fmla="*/ 94 h 94"/>
                <a:gd name="T10" fmla="*/ 58 w 65"/>
                <a:gd name="T11" fmla="*/ 86 h 94"/>
                <a:gd name="T12" fmla="*/ 57 w 65"/>
                <a:gd name="T13" fmla="*/ 50 h 94"/>
                <a:gd name="T14" fmla="*/ 51 w 65"/>
                <a:gd name="T15" fmla="*/ 23 h 94"/>
                <a:gd name="T16" fmla="*/ 65 w 65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94">
                  <a:moveTo>
                    <a:pt x="65" y="0"/>
                  </a:moveTo>
                  <a:cubicBezTo>
                    <a:pt x="48" y="1"/>
                    <a:pt x="31" y="3"/>
                    <a:pt x="14" y="6"/>
                  </a:cubicBezTo>
                  <a:cubicBezTo>
                    <a:pt x="0" y="8"/>
                    <a:pt x="18" y="48"/>
                    <a:pt x="18" y="48"/>
                  </a:cubicBezTo>
                  <a:cubicBezTo>
                    <a:pt x="15" y="56"/>
                    <a:pt x="12" y="61"/>
                    <a:pt x="10" y="70"/>
                  </a:cubicBezTo>
                  <a:cubicBezTo>
                    <a:pt x="12" y="83"/>
                    <a:pt x="16" y="90"/>
                    <a:pt x="28" y="94"/>
                  </a:cubicBezTo>
                  <a:cubicBezTo>
                    <a:pt x="44" y="92"/>
                    <a:pt x="45" y="90"/>
                    <a:pt x="58" y="86"/>
                  </a:cubicBezTo>
                  <a:cubicBezTo>
                    <a:pt x="63" y="79"/>
                    <a:pt x="58" y="60"/>
                    <a:pt x="57" y="50"/>
                  </a:cubicBezTo>
                  <a:cubicBezTo>
                    <a:pt x="56" y="40"/>
                    <a:pt x="50" y="31"/>
                    <a:pt x="51" y="23"/>
                  </a:cubicBezTo>
                  <a:cubicBezTo>
                    <a:pt x="53" y="16"/>
                    <a:pt x="62" y="6"/>
                    <a:pt x="6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7" name="Freeform 51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214826" y="4025067"/>
              <a:ext cx="157125" cy="145777"/>
            </a:xfrm>
            <a:custGeom>
              <a:avLst/>
              <a:gdLst>
                <a:gd name="T0" fmla="*/ 75 w 95"/>
                <a:gd name="T1" fmla="*/ 0 h 90"/>
                <a:gd name="T2" fmla="*/ 62 w 95"/>
                <a:gd name="T3" fmla="*/ 11 h 90"/>
                <a:gd name="T4" fmla="*/ 51 w 95"/>
                <a:gd name="T5" fmla="*/ 2 h 90"/>
                <a:gd name="T6" fmla="*/ 18 w 95"/>
                <a:gd name="T7" fmla="*/ 2 h 90"/>
                <a:gd name="T8" fmla="*/ 6 w 95"/>
                <a:gd name="T9" fmla="*/ 4 h 90"/>
                <a:gd name="T10" fmla="*/ 9 w 95"/>
                <a:gd name="T11" fmla="*/ 36 h 90"/>
                <a:gd name="T12" fmla="*/ 0 w 95"/>
                <a:gd name="T13" fmla="*/ 50 h 90"/>
                <a:gd name="T14" fmla="*/ 12 w 95"/>
                <a:gd name="T15" fmla="*/ 70 h 90"/>
                <a:gd name="T16" fmla="*/ 24 w 95"/>
                <a:gd name="T17" fmla="*/ 90 h 90"/>
                <a:gd name="T18" fmla="*/ 64 w 95"/>
                <a:gd name="T19" fmla="*/ 76 h 90"/>
                <a:gd name="T20" fmla="*/ 82 w 95"/>
                <a:gd name="T21" fmla="*/ 58 h 90"/>
                <a:gd name="T22" fmla="*/ 89 w 95"/>
                <a:gd name="T23" fmla="*/ 41 h 90"/>
                <a:gd name="T24" fmla="*/ 90 w 95"/>
                <a:gd name="T25" fmla="*/ 30 h 90"/>
                <a:gd name="T26" fmla="*/ 83 w 95"/>
                <a:gd name="T27" fmla="*/ 15 h 90"/>
                <a:gd name="T28" fmla="*/ 75 w 95"/>
                <a:gd name="T2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90">
                  <a:moveTo>
                    <a:pt x="75" y="0"/>
                  </a:moveTo>
                  <a:cubicBezTo>
                    <a:pt x="67" y="11"/>
                    <a:pt x="78" y="3"/>
                    <a:pt x="62" y="11"/>
                  </a:cubicBezTo>
                  <a:cubicBezTo>
                    <a:pt x="58" y="10"/>
                    <a:pt x="58" y="3"/>
                    <a:pt x="51" y="2"/>
                  </a:cubicBezTo>
                  <a:cubicBezTo>
                    <a:pt x="44" y="1"/>
                    <a:pt x="25" y="2"/>
                    <a:pt x="18" y="2"/>
                  </a:cubicBezTo>
                  <a:cubicBezTo>
                    <a:pt x="14" y="3"/>
                    <a:pt x="9" y="1"/>
                    <a:pt x="6" y="4"/>
                  </a:cubicBezTo>
                  <a:cubicBezTo>
                    <a:pt x="5" y="5"/>
                    <a:pt x="7" y="30"/>
                    <a:pt x="9" y="36"/>
                  </a:cubicBezTo>
                  <a:cubicBezTo>
                    <a:pt x="6" y="44"/>
                    <a:pt x="4" y="43"/>
                    <a:pt x="0" y="50"/>
                  </a:cubicBezTo>
                  <a:cubicBezTo>
                    <a:pt x="4" y="61"/>
                    <a:pt x="0" y="67"/>
                    <a:pt x="12" y="70"/>
                  </a:cubicBezTo>
                  <a:cubicBezTo>
                    <a:pt x="18" y="78"/>
                    <a:pt x="14" y="87"/>
                    <a:pt x="24" y="90"/>
                  </a:cubicBezTo>
                  <a:cubicBezTo>
                    <a:pt x="42" y="72"/>
                    <a:pt x="18" y="79"/>
                    <a:pt x="64" y="76"/>
                  </a:cubicBezTo>
                  <a:cubicBezTo>
                    <a:pt x="82" y="80"/>
                    <a:pt x="95" y="78"/>
                    <a:pt x="82" y="58"/>
                  </a:cubicBezTo>
                  <a:cubicBezTo>
                    <a:pt x="85" y="53"/>
                    <a:pt x="88" y="46"/>
                    <a:pt x="89" y="41"/>
                  </a:cubicBezTo>
                  <a:cubicBezTo>
                    <a:pt x="90" y="36"/>
                    <a:pt x="91" y="34"/>
                    <a:pt x="90" y="30"/>
                  </a:cubicBezTo>
                  <a:cubicBezTo>
                    <a:pt x="90" y="23"/>
                    <a:pt x="85" y="19"/>
                    <a:pt x="83" y="15"/>
                  </a:cubicBezTo>
                  <a:cubicBezTo>
                    <a:pt x="80" y="10"/>
                    <a:pt x="81" y="5"/>
                    <a:pt x="7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8" name="Freeform 52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4815786" y="4823601"/>
              <a:ext cx="401720" cy="359583"/>
            </a:xfrm>
            <a:custGeom>
              <a:avLst/>
              <a:gdLst>
                <a:gd name="T0" fmla="*/ 15 w 244"/>
                <a:gd name="T1" fmla="*/ 100 h 222"/>
                <a:gd name="T2" fmla="*/ 16 w 244"/>
                <a:gd name="T3" fmla="*/ 128 h 222"/>
                <a:gd name="T4" fmla="*/ 30 w 244"/>
                <a:gd name="T5" fmla="*/ 149 h 222"/>
                <a:gd name="T6" fmla="*/ 37 w 244"/>
                <a:gd name="T7" fmla="*/ 193 h 222"/>
                <a:gd name="T8" fmla="*/ 51 w 244"/>
                <a:gd name="T9" fmla="*/ 205 h 222"/>
                <a:gd name="T10" fmla="*/ 84 w 244"/>
                <a:gd name="T11" fmla="*/ 206 h 222"/>
                <a:gd name="T12" fmla="*/ 144 w 244"/>
                <a:gd name="T13" fmla="*/ 199 h 222"/>
                <a:gd name="T14" fmla="*/ 166 w 244"/>
                <a:gd name="T15" fmla="*/ 194 h 222"/>
                <a:gd name="T16" fmla="*/ 177 w 244"/>
                <a:gd name="T17" fmla="*/ 182 h 222"/>
                <a:gd name="T18" fmla="*/ 192 w 244"/>
                <a:gd name="T19" fmla="*/ 167 h 222"/>
                <a:gd name="T20" fmla="*/ 207 w 244"/>
                <a:gd name="T21" fmla="*/ 152 h 222"/>
                <a:gd name="T22" fmla="*/ 216 w 244"/>
                <a:gd name="T23" fmla="*/ 139 h 222"/>
                <a:gd name="T24" fmla="*/ 243 w 244"/>
                <a:gd name="T25" fmla="*/ 112 h 222"/>
                <a:gd name="T26" fmla="*/ 244 w 244"/>
                <a:gd name="T27" fmla="*/ 83 h 222"/>
                <a:gd name="T28" fmla="*/ 235 w 244"/>
                <a:gd name="T29" fmla="*/ 71 h 222"/>
                <a:gd name="T30" fmla="*/ 241 w 244"/>
                <a:gd name="T31" fmla="*/ 52 h 222"/>
                <a:gd name="T32" fmla="*/ 231 w 244"/>
                <a:gd name="T33" fmla="*/ 41 h 222"/>
                <a:gd name="T34" fmla="*/ 231 w 244"/>
                <a:gd name="T35" fmla="*/ 22 h 222"/>
                <a:gd name="T36" fmla="*/ 223 w 244"/>
                <a:gd name="T37" fmla="*/ 14 h 222"/>
                <a:gd name="T38" fmla="*/ 213 w 244"/>
                <a:gd name="T39" fmla="*/ 2 h 222"/>
                <a:gd name="T40" fmla="*/ 191 w 244"/>
                <a:gd name="T41" fmla="*/ 3 h 222"/>
                <a:gd name="T42" fmla="*/ 169 w 244"/>
                <a:gd name="T43" fmla="*/ 11 h 222"/>
                <a:gd name="T44" fmla="*/ 163 w 244"/>
                <a:gd name="T45" fmla="*/ 26 h 222"/>
                <a:gd name="T46" fmla="*/ 156 w 244"/>
                <a:gd name="T47" fmla="*/ 37 h 222"/>
                <a:gd name="T48" fmla="*/ 157 w 244"/>
                <a:gd name="T49" fmla="*/ 40 h 222"/>
                <a:gd name="T50" fmla="*/ 145 w 244"/>
                <a:gd name="T51" fmla="*/ 47 h 222"/>
                <a:gd name="T52" fmla="*/ 132 w 244"/>
                <a:gd name="T53" fmla="*/ 50 h 222"/>
                <a:gd name="T54" fmla="*/ 115 w 244"/>
                <a:gd name="T55" fmla="*/ 56 h 222"/>
                <a:gd name="T56" fmla="*/ 91 w 244"/>
                <a:gd name="T57" fmla="*/ 64 h 222"/>
                <a:gd name="T58" fmla="*/ 70 w 244"/>
                <a:gd name="T59" fmla="*/ 77 h 222"/>
                <a:gd name="T60" fmla="*/ 64 w 244"/>
                <a:gd name="T61" fmla="*/ 89 h 222"/>
                <a:gd name="T62" fmla="*/ 52 w 244"/>
                <a:gd name="T63" fmla="*/ 106 h 222"/>
                <a:gd name="T64" fmla="*/ 36 w 244"/>
                <a:gd name="T65" fmla="*/ 111 h 222"/>
                <a:gd name="T66" fmla="*/ 24 w 244"/>
                <a:gd name="T67" fmla="*/ 110 h 222"/>
                <a:gd name="T68" fmla="*/ 15 w 244"/>
                <a:gd name="T69" fmla="*/ 10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4" h="222">
                  <a:moveTo>
                    <a:pt x="15" y="100"/>
                  </a:moveTo>
                  <a:cubicBezTo>
                    <a:pt x="0" y="102"/>
                    <a:pt x="7" y="122"/>
                    <a:pt x="16" y="128"/>
                  </a:cubicBezTo>
                  <a:cubicBezTo>
                    <a:pt x="22" y="138"/>
                    <a:pt x="20" y="143"/>
                    <a:pt x="30" y="149"/>
                  </a:cubicBezTo>
                  <a:cubicBezTo>
                    <a:pt x="33" y="164"/>
                    <a:pt x="22" y="185"/>
                    <a:pt x="37" y="193"/>
                  </a:cubicBezTo>
                  <a:cubicBezTo>
                    <a:pt x="40" y="203"/>
                    <a:pt x="41" y="203"/>
                    <a:pt x="51" y="205"/>
                  </a:cubicBezTo>
                  <a:cubicBezTo>
                    <a:pt x="53" y="222"/>
                    <a:pt x="73" y="208"/>
                    <a:pt x="84" y="206"/>
                  </a:cubicBezTo>
                  <a:cubicBezTo>
                    <a:pt x="103" y="197"/>
                    <a:pt x="167" y="216"/>
                    <a:pt x="144" y="199"/>
                  </a:cubicBezTo>
                  <a:cubicBezTo>
                    <a:pt x="155" y="191"/>
                    <a:pt x="138" y="202"/>
                    <a:pt x="166" y="194"/>
                  </a:cubicBezTo>
                  <a:cubicBezTo>
                    <a:pt x="168" y="193"/>
                    <a:pt x="174" y="184"/>
                    <a:pt x="177" y="182"/>
                  </a:cubicBezTo>
                  <a:cubicBezTo>
                    <a:pt x="181" y="176"/>
                    <a:pt x="186" y="171"/>
                    <a:pt x="192" y="167"/>
                  </a:cubicBezTo>
                  <a:cubicBezTo>
                    <a:pt x="198" y="160"/>
                    <a:pt x="199" y="155"/>
                    <a:pt x="207" y="152"/>
                  </a:cubicBezTo>
                  <a:cubicBezTo>
                    <a:pt x="210" y="148"/>
                    <a:pt x="213" y="143"/>
                    <a:pt x="216" y="139"/>
                  </a:cubicBezTo>
                  <a:cubicBezTo>
                    <a:pt x="217" y="125"/>
                    <a:pt x="229" y="113"/>
                    <a:pt x="243" y="112"/>
                  </a:cubicBezTo>
                  <a:cubicBezTo>
                    <a:pt x="239" y="102"/>
                    <a:pt x="242" y="93"/>
                    <a:pt x="244" y="83"/>
                  </a:cubicBezTo>
                  <a:cubicBezTo>
                    <a:pt x="240" y="78"/>
                    <a:pt x="237" y="77"/>
                    <a:pt x="235" y="71"/>
                  </a:cubicBezTo>
                  <a:cubicBezTo>
                    <a:pt x="234" y="66"/>
                    <a:pt x="243" y="61"/>
                    <a:pt x="241" y="52"/>
                  </a:cubicBezTo>
                  <a:cubicBezTo>
                    <a:pt x="240" y="47"/>
                    <a:pt x="233" y="46"/>
                    <a:pt x="231" y="41"/>
                  </a:cubicBezTo>
                  <a:cubicBezTo>
                    <a:pt x="229" y="36"/>
                    <a:pt x="232" y="26"/>
                    <a:pt x="231" y="22"/>
                  </a:cubicBezTo>
                  <a:cubicBezTo>
                    <a:pt x="230" y="18"/>
                    <a:pt x="226" y="17"/>
                    <a:pt x="223" y="14"/>
                  </a:cubicBezTo>
                  <a:cubicBezTo>
                    <a:pt x="222" y="6"/>
                    <a:pt x="221" y="5"/>
                    <a:pt x="213" y="2"/>
                  </a:cubicBezTo>
                  <a:cubicBezTo>
                    <a:pt x="208" y="0"/>
                    <a:pt x="198" y="2"/>
                    <a:pt x="191" y="3"/>
                  </a:cubicBezTo>
                  <a:cubicBezTo>
                    <a:pt x="184" y="4"/>
                    <a:pt x="174" y="7"/>
                    <a:pt x="169" y="11"/>
                  </a:cubicBezTo>
                  <a:cubicBezTo>
                    <a:pt x="166" y="16"/>
                    <a:pt x="166" y="21"/>
                    <a:pt x="163" y="26"/>
                  </a:cubicBezTo>
                  <a:cubicBezTo>
                    <a:pt x="161" y="30"/>
                    <a:pt x="157" y="35"/>
                    <a:pt x="156" y="37"/>
                  </a:cubicBezTo>
                  <a:cubicBezTo>
                    <a:pt x="155" y="39"/>
                    <a:pt x="159" y="38"/>
                    <a:pt x="157" y="40"/>
                  </a:cubicBezTo>
                  <a:cubicBezTo>
                    <a:pt x="155" y="42"/>
                    <a:pt x="149" y="45"/>
                    <a:pt x="145" y="47"/>
                  </a:cubicBezTo>
                  <a:cubicBezTo>
                    <a:pt x="141" y="53"/>
                    <a:pt x="139" y="49"/>
                    <a:pt x="132" y="50"/>
                  </a:cubicBezTo>
                  <a:cubicBezTo>
                    <a:pt x="126" y="55"/>
                    <a:pt x="122" y="59"/>
                    <a:pt x="115" y="56"/>
                  </a:cubicBezTo>
                  <a:cubicBezTo>
                    <a:pt x="108" y="49"/>
                    <a:pt x="99" y="59"/>
                    <a:pt x="91" y="64"/>
                  </a:cubicBezTo>
                  <a:cubicBezTo>
                    <a:pt x="86" y="70"/>
                    <a:pt x="76" y="73"/>
                    <a:pt x="70" y="77"/>
                  </a:cubicBezTo>
                  <a:cubicBezTo>
                    <a:pt x="64" y="81"/>
                    <a:pt x="67" y="84"/>
                    <a:pt x="64" y="89"/>
                  </a:cubicBezTo>
                  <a:cubicBezTo>
                    <a:pt x="61" y="94"/>
                    <a:pt x="55" y="102"/>
                    <a:pt x="52" y="106"/>
                  </a:cubicBezTo>
                  <a:cubicBezTo>
                    <a:pt x="47" y="110"/>
                    <a:pt x="41" y="110"/>
                    <a:pt x="36" y="111"/>
                  </a:cubicBezTo>
                  <a:cubicBezTo>
                    <a:pt x="31" y="112"/>
                    <a:pt x="27" y="112"/>
                    <a:pt x="24" y="110"/>
                  </a:cubicBezTo>
                  <a:cubicBezTo>
                    <a:pt x="20" y="107"/>
                    <a:pt x="19" y="104"/>
                    <a:pt x="15" y="10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9" name="Freeform 53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5073342" y="4992054"/>
              <a:ext cx="69654" cy="82608"/>
            </a:xfrm>
            <a:custGeom>
              <a:avLst/>
              <a:gdLst>
                <a:gd name="T0" fmla="*/ 21 w 43"/>
                <a:gd name="T1" fmla="*/ 5 h 51"/>
                <a:gd name="T2" fmla="*/ 7 w 43"/>
                <a:gd name="T3" fmla="*/ 12 h 51"/>
                <a:gd name="T4" fmla="*/ 9 w 43"/>
                <a:gd name="T5" fmla="*/ 23 h 51"/>
                <a:gd name="T6" fmla="*/ 10 w 43"/>
                <a:gd name="T7" fmla="*/ 39 h 51"/>
                <a:gd name="T8" fmla="*/ 36 w 43"/>
                <a:gd name="T9" fmla="*/ 27 h 51"/>
                <a:gd name="T10" fmla="*/ 25 w 43"/>
                <a:gd name="T11" fmla="*/ 0 h 51"/>
                <a:gd name="T12" fmla="*/ 21 w 43"/>
                <a:gd name="T13" fmla="*/ 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1">
                  <a:moveTo>
                    <a:pt x="21" y="5"/>
                  </a:moveTo>
                  <a:cubicBezTo>
                    <a:pt x="12" y="7"/>
                    <a:pt x="16" y="10"/>
                    <a:pt x="7" y="12"/>
                  </a:cubicBezTo>
                  <a:cubicBezTo>
                    <a:pt x="0" y="16"/>
                    <a:pt x="3" y="20"/>
                    <a:pt x="9" y="23"/>
                  </a:cubicBezTo>
                  <a:cubicBezTo>
                    <a:pt x="9" y="28"/>
                    <a:pt x="6" y="36"/>
                    <a:pt x="10" y="39"/>
                  </a:cubicBezTo>
                  <a:cubicBezTo>
                    <a:pt x="24" y="51"/>
                    <a:pt x="28" y="30"/>
                    <a:pt x="36" y="27"/>
                  </a:cubicBezTo>
                  <a:cubicBezTo>
                    <a:pt x="43" y="13"/>
                    <a:pt x="39" y="6"/>
                    <a:pt x="25" y="0"/>
                  </a:cubicBezTo>
                  <a:cubicBezTo>
                    <a:pt x="23" y="1"/>
                    <a:pt x="8" y="8"/>
                    <a:pt x="2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0" name="Freeform 54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704018" y="4690782"/>
              <a:ext cx="252695" cy="314231"/>
            </a:xfrm>
            <a:custGeom>
              <a:avLst/>
              <a:gdLst>
                <a:gd name="T0" fmla="*/ 75 w 154"/>
                <a:gd name="T1" fmla="*/ 191 h 194"/>
                <a:gd name="T2" fmla="*/ 60 w 154"/>
                <a:gd name="T3" fmla="*/ 179 h 194"/>
                <a:gd name="T4" fmla="*/ 53 w 154"/>
                <a:gd name="T5" fmla="*/ 165 h 194"/>
                <a:gd name="T6" fmla="*/ 47 w 154"/>
                <a:gd name="T7" fmla="*/ 120 h 194"/>
                <a:gd name="T8" fmla="*/ 24 w 154"/>
                <a:gd name="T9" fmla="*/ 51 h 194"/>
                <a:gd name="T10" fmla="*/ 8 w 154"/>
                <a:gd name="T11" fmla="*/ 24 h 194"/>
                <a:gd name="T12" fmla="*/ 0 w 154"/>
                <a:gd name="T13" fmla="*/ 11 h 194"/>
                <a:gd name="T14" fmla="*/ 24 w 154"/>
                <a:gd name="T15" fmla="*/ 0 h 194"/>
                <a:gd name="T16" fmla="*/ 39 w 154"/>
                <a:gd name="T17" fmla="*/ 11 h 194"/>
                <a:gd name="T18" fmla="*/ 101 w 154"/>
                <a:gd name="T19" fmla="*/ 8 h 194"/>
                <a:gd name="T20" fmla="*/ 107 w 154"/>
                <a:gd name="T21" fmla="*/ 12 h 194"/>
                <a:gd name="T22" fmla="*/ 141 w 154"/>
                <a:gd name="T23" fmla="*/ 20 h 194"/>
                <a:gd name="T24" fmla="*/ 125 w 154"/>
                <a:gd name="T25" fmla="*/ 84 h 194"/>
                <a:gd name="T26" fmla="*/ 128 w 154"/>
                <a:gd name="T27" fmla="*/ 131 h 194"/>
                <a:gd name="T28" fmla="*/ 137 w 154"/>
                <a:gd name="T29" fmla="*/ 156 h 194"/>
                <a:gd name="T30" fmla="*/ 131 w 154"/>
                <a:gd name="T31" fmla="*/ 167 h 194"/>
                <a:gd name="T32" fmla="*/ 111 w 154"/>
                <a:gd name="T33" fmla="*/ 192 h 194"/>
                <a:gd name="T34" fmla="*/ 81 w 154"/>
                <a:gd name="T35" fmla="*/ 185 h 194"/>
                <a:gd name="T36" fmla="*/ 75 w 154"/>
                <a:gd name="T37" fmla="*/ 19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94">
                  <a:moveTo>
                    <a:pt x="75" y="191"/>
                  </a:moveTo>
                  <a:cubicBezTo>
                    <a:pt x="70" y="184"/>
                    <a:pt x="69" y="181"/>
                    <a:pt x="60" y="179"/>
                  </a:cubicBezTo>
                  <a:cubicBezTo>
                    <a:pt x="59" y="173"/>
                    <a:pt x="56" y="170"/>
                    <a:pt x="53" y="165"/>
                  </a:cubicBezTo>
                  <a:cubicBezTo>
                    <a:pt x="51" y="150"/>
                    <a:pt x="55" y="133"/>
                    <a:pt x="47" y="120"/>
                  </a:cubicBezTo>
                  <a:cubicBezTo>
                    <a:pt x="45" y="82"/>
                    <a:pt x="41" y="80"/>
                    <a:pt x="24" y="51"/>
                  </a:cubicBezTo>
                  <a:cubicBezTo>
                    <a:pt x="22" y="38"/>
                    <a:pt x="18" y="32"/>
                    <a:pt x="8" y="24"/>
                  </a:cubicBezTo>
                  <a:cubicBezTo>
                    <a:pt x="6" y="19"/>
                    <a:pt x="3" y="15"/>
                    <a:pt x="0" y="11"/>
                  </a:cubicBezTo>
                  <a:cubicBezTo>
                    <a:pt x="3" y="3"/>
                    <a:pt x="16" y="4"/>
                    <a:pt x="24" y="0"/>
                  </a:cubicBezTo>
                  <a:cubicBezTo>
                    <a:pt x="29" y="2"/>
                    <a:pt x="34" y="9"/>
                    <a:pt x="39" y="11"/>
                  </a:cubicBezTo>
                  <a:cubicBezTo>
                    <a:pt x="52" y="13"/>
                    <a:pt x="84" y="7"/>
                    <a:pt x="101" y="8"/>
                  </a:cubicBezTo>
                  <a:cubicBezTo>
                    <a:pt x="112" y="8"/>
                    <a:pt x="100" y="10"/>
                    <a:pt x="107" y="12"/>
                  </a:cubicBezTo>
                  <a:cubicBezTo>
                    <a:pt x="114" y="14"/>
                    <a:pt x="138" y="8"/>
                    <a:pt x="141" y="20"/>
                  </a:cubicBezTo>
                  <a:cubicBezTo>
                    <a:pt x="140" y="43"/>
                    <a:pt x="154" y="81"/>
                    <a:pt x="125" y="84"/>
                  </a:cubicBezTo>
                  <a:cubicBezTo>
                    <a:pt x="123" y="103"/>
                    <a:pt x="127" y="117"/>
                    <a:pt x="128" y="131"/>
                  </a:cubicBezTo>
                  <a:cubicBezTo>
                    <a:pt x="130" y="143"/>
                    <a:pt x="137" y="150"/>
                    <a:pt x="137" y="156"/>
                  </a:cubicBezTo>
                  <a:cubicBezTo>
                    <a:pt x="137" y="162"/>
                    <a:pt x="135" y="161"/>
                    <a:pt x="131" y="167"/>
                  </a:cubicBezTo>
                  <a:cubicBezTo>
                    <a:pt x="127" y="173"/>
                    <a:pt x="119" y="189"/>
                    <a:pt x="111" y="192"/>
                  </a:cubicBezTo>
                  <a:cubicBezTo>
                    <a:pt x="93" y="191"/>
                    <a:pt x="92" y="194"/>
                    <a:pt x="81" y="185"/>
                  </a:cubicBezTo>
                  <a:cubicBezTo>
                    <a:pt x="77" y="186"/>
                    <a:pt x="66" y="187"/>
                    <a:pt x="75" y="19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1" name="Freeform 55"/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4906498" y="4700500"/>
              <a:ext cx="244596" cy="260779"/>
            </a:xfrm>
            <a:custGeom>
              <a:avLst/>
              <a:gdLst>
                <a:gd name="T0" fmla="*/ 20 w 149"/>
                <a:gd name="T1" fmla="*/ 11 h 161"/>
                <a:gd name="T2" fmla="*/ 20 w 149"/>
                <a:gd name="T3" fmla="*/ 21 h 161"/>
                <a:gd name="T4" fmla="*/ 20 w 149"/>
                <a:gd name="T5" fmla="*/ 35 h 161"/>
                <a:gd name="T6" fmla="*/ 20 w 149"/>
                <a:gd name="T7" fmla="*/ 48 h 161"/>
                <a:gd name="T8" fmla="*/ 18 w 149"/>
                <a:gd name="T9" fmla="*/ 69 h 161"/>
                <a:gd name="T10" fmla="*/ 3 w 149"/>
                <a:gd name="T11" fmla="*/ 84 h 161"/>
                <a:gd name="T12" fmla="*/ 2 w 149"/>
                <a:gd name="T13" fmla="*/ 94 h 161"/>
                <a:gd name="T14" fmla="*/ 3 w 149"/>
                <a:gd name="T15" fmla="*/ 123 h 161"/>
                <a:gd name="T16" fmla="*/ 14 w 149"/>
                <a:gd name="T17" fmla="*/ 147 h 161"/>
                <a:gd name="T18" fmla="*/ 32 w 149"/>
                <a:gd name="T19" fmla="*/ 144 h 161"/>
                <a:gd name="T20" fmla="*/ 47 w 149"/>
                <a:gd name="T21" fmla="*/ 129 h 161"/>
                <a:gd name="T22" fmla="*/ 66 w 149"/>
                <a:gd name="T23" fmla="*/ 131 h 161"/>
                <a:gd name="T24" fmla="*/ 80 w 149"/>
                <a:gd name="T25" fmla="*/ 128 h 161"/>
                <a:gd name="T26" fmla="*/ 98 w 149"/>
                <a:gd name="T27" fmla="*/ 117 h 161"/>
                <a:gd name="T28" fmla="*/ 107 w 149"/>
                <a:gd name="T29" fmla="*/ 104 h 161"/>
                <a:gd name="T30" fmla="*/ 116 w 149"/>
                <a:gd name="T31" fmla="*/ 89 h 161"/>
                <a:gd name="T32" fmla="*/ 134 w 149"/>
                <a:gd name="T33" fmla="*/ 81 h 161"/>
                <a:gd name="T34" fmla="*/ 138 w 149"/>
                <a:gd name="T35" fmla="*/ 78 h 161"/>
                <a:gd name="T36" fmla="*/ 137 w 149"/>
                <a:gd name="T37" fmla="*/ 68 h 161"/>
                <a:gd name="T38" fmla="*/ 114 w 149"/>
                <a:gd name="T39" fmla="*/ 63 h 161"/>
                <a:gd name="T40" fmla="*/ 99 w 149"/>
                <a:gd name="T41" fmla="*/ 42 h 161"/>
                <a:gd name="T42" fmla="*/ 84 w 149"/>
                <a:gd name="T43" fmla="*/ 24 h 161"/>
                <a:gd name="T44" fmla="*/ 74 w 149"/>
                <a:gd name="T45" fmla="*/ 9 h 161"/>
                <a:gd name="T46" fmla="*/ 36 w 149"/>
                <a:gd name="T47" fmla="*/ 3 h 161"/>
                <a:gd name="T48" fmla="*/ 24 w 149"/>
                <a:gd name="T49" fmla="*/ 9 h 161"/>
                <a:gd name="T50" fmla="*/ 20 w 149"/>
                <a:gd name="T51" fmla="*/ 1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9" h="161">
                  <a:moveTo>
                    <a:pt x="20" y="11"/>
                  </a:moveTo>
                  <a:cubicBezTo>
                    <a:pt x="19" y="13"/>
                    <a:pt x="20" y="15"/>
                    <a:pt x="20" y="21"/>
                  </a:cubicBezTo>
                  <a:cubicBezTo>
                    <a:pt x="20" y="25"/>
                    <a:pt x="20" y="31"/>
                    <a:pt x="20" y="35"/>
                  </a:cubicBezTo>
                  <a:cubicBezTo>
                    <a:pt x="20" y="39"/>
                    <a:pt x="20" y="42"/>
                    <a:pt x="20" y="48"/>
                  </a:cubicBezTo>
                  <a:cubicBezTo>
                    <a:pt x="20" y="54"/>
                    <a:pt x="21" y="63"/>
                    <a:pt x="18" y="69"/>
                  </a:cubicBezTo>
                  <a:cubicBezTo>
                    <a:pt x="16" y="74"/>
                    <a:pt x="5" y="79"/>
                    <a:pt x="3" y="84"/>
                  </a:cubicBezTo>
                  <a:cubicBezTo>
                    <a:pt x="2" y="88"/>
                    <a:pt x="0" y="86"/>
                    <a:pt x="2" y="94"/>
                  </a:cubicBezTo>
                  <a:cubicBezTo>
                    <a:pt x="2" y="100"/>
                    <a:pt x="1" y="114"/>
                    <a:pt x="3" y="123"/>
                  </a:cubicBezTo>
                  <a:cubicBezTo>
                    <a:pt x="5" y="132"/>
                    <a:pt x="9" y="144"/>
                    <a:pt x="14" y="147"/>
                  </a:cubicBezTo>
                  <a:cubicBezTo>
                    <a:pt x="16" y="161"/>
                    <a:pt x="22" y="150"/>
                    <a:pt x="32" y="144"/>
                  </a:cubicBezTo>
                  <a:cubicBezTo>
                    <a:pt x="38" y="143"/>
                    <a:pt x="41" y="131"/>
                    <a:pt x="47" y="129"/>
                  </a:cubicBezTo>
                  <a:cubicBezTo>
                    <a:pt x="53" y="127"/>
                    <a:pt x="61" y="131"/>
                    <a:pt x="66" y="131"/>
                  </a:cubicBezTo>
                  <a:cubicBezTo>
                    <a:pt x="71" y="131"/>
                    <a:pt x="75" y="130"/>
                    <a:pt x="80" y="128"/>
                  </a:cubicBezTo>
                  <a:cubicBezTo>
                    <a:pt x="90" y="126"/>
                    <a:pt x="90" y="122"/>
                    <a:pt x="98" y="117"/>
                  </a:cubicBezTo>
                  <a:cubicBezTo>
                    <a:pt x="101" y="113"/>
                    <a:pt x="105" y="109"/>
                    <a:pt x="107" y="104"/>
                  </a:cubicBezTo>
                  <a:cubicBezTo>
                    <a:pt x="108" y="95"/>
                    <a:pt x="108" y="94"/>
                    <a:pt x="116" y="89"/>
                  </a:cubicBezTo>
                  <a:cubicBezTo>
                    <a:pt x="120" y="82"/>
                    <a:pt x="126" y="83"/>
                    <a:pt x="134" y="81"/>
                  </a:cubicBezTo>
                  <a:cubicBezTo>
                    <a:pt x="135" y="80"/>
                    <a:pt x="136" y="79"/>
                    <a:pt x="138" y="78"/>
                  </a:cubicBezTo>
                  <a:cubicBezTo>
                    <a:pt x="147" y="74"/>
                    <a:pt x="149" y="70"/>
                    <a:pt x="137" y="68"/>
                  </a:cubicBezTo>
                  <a:cubicBezTo>
                    <a:pt x="129" y="65"/>
                    <a:pt x="122" y="66"/>
                    <a:pt x="114" y="63"/>
                  </a:cubicBezTo>
                  <a:cubicBezTo>
                    <a:pt x="113" y="45"/>
                    <a:pt x="114" y="47"/>
                    <a:pt x="99" y="42"/>
                  </a:cubicBezTo>
                  <a:cubicBezTo>
                    <a:pt x="91" y="36"/>
                    <a:pt x="94" y="28"/>
                    <a:pt x="84" y="24"/>
                  </a:cubicBezTo>
                  <a:cubicBezTo>
                    <a:pt x="80" y="18"/>
                    <a:pt x="81" y="12"/>
                    <a:pt x="74" y="9"/>
                  </a:cubicBezTo>
                  <a:cubicBezTo>
                    <a:pt x="62" y="11"/>
                    <a:pt x="48" y="5"/>
                    <a:pt x="36" y="3"/>
                  </a:cubicBezTo>
                  <a:cubicBezTo>
                    <a:pt x="31" y="0"/>
                    <a:pt x="24" y="9"/>
                    <a:pt x="24" y="9"/>
                  </a:cubicBezTo>
                  <a:cubicBezTo>
                    <a:pt x="23" y="10"/>
                    <a:pt x="20" y="11"/>
                    <a:pt x="2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2" name="Freeform 56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5475062" y="4564441"/>
              <a:ext cx="183042" cy="345006"/>
            </a:xfrm>
            <a:custGeom>
              <a:avLst/>
              <a:gdLst>
                <a:gd name="T0" fmla="*/ 15 w 112"/>
                <a:gd name="T1" fmla="*/ 204 h 213"/>
                <a:gd name="T2" fmla="*/ 3 w 112"/>
                <a:gd name="T3" fmla="*/ 179 h 213"/>
                <a:gd name="T4" fmla="*/ 14 w 112"/>
                <a:gd name="T5" fmla="*/ 140 h 213"/>
                <a:gd name="T6" fmla="*/ 12 w 112"/>
                <a:gd name="T7" fmla="*/ 98 h 213"/>
                <a:gd name="T8" fmla="*/ 47 w 112"/>
                <a:gd name="T9" fmla="*/ 56 h 213"/>
                <a:gd name="T10" fmla="*/ 59 w 112"/>
                <a:gd name="T11" fmla="*/ 44 h 213"/>
                <a:gd name="T12" fmla="*/ 69 w 112"/>
                <a:gd name="T13" fmla="*/ 32 h 213"/>
                <a:gd name="T14" fmla="*/ 80 w 112"/>
                <a:gd name="T15" fmla="*/ 18 h 213"/>
                <a:gd name="T16" fmla="*/ 90 w 112"/>
                <a:gd name="T17" fmla="*/ 0 h 213"/>
                <a:gd name="T18" fmla="*/ 101 w 112"/>
                <a:gd name="T19" fmla="*/ 17 h 213"/>
                <a:gd name="T20" fmla="*/ 110 w 112"/>
                <a:gd name="T21" fmla="*/ 56 h 213"/>
                <a:gd name="T22" fmla="*/ 102 w 112"/>
                <a:gd name="T23" fmla="*/ 68 h 213"/>
                <a:gd name="T24" fmla="*/ 95 w 112"/>
                <a:gd name="T25" fmla="*/ 90 h 213"/>
                <a:gd name="T26" fmla="*/ 80 w 112"/>
                <a:gd name="T27" fmla="*/ 129 h 213"/>
                <a:gd name="T28" fmla="*/ 74 w 112"/>
                <a:gd name="T29" fmla="*/ 159 h 213"/>
                <a:gd name="T30" fmla="*/ 66 w 112"/>
                <a:gd name="T31" fmla="*/ 186 h 213"/>
                <a:gd name="T32" fmla="*/ 33 w 112"/>
                <a:gd name="T33" fmla="*/ 210 h 213"/>
                <a:gd name="T34" fmla="*/ 15 w 112"/>
                <a:gd name="T35" fmla="*/ 20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213">
                  <a:moveTo>
                    <a:pt x="15" y="204"/>
                  </a:moveTo>
                  <a:cubicBezTo>
                    <a:pt x="9" y="195"/>
                    <a:pt x="12" y="181"/>
                    <a:pt x="3" y="179"/>
                  </a:cubicBezTo>
                  <a:cubicBezTo>
                    <a:pt x="0" y="163"/>
                    <a:pt x="0" y="148"/>
                    <a:pt x="14" y="140"/>
                  </a:cubicBezTo>
                  <a:cubicBezTo>
                    <a:pt x="21" y="128"/>
                    <a:pt x="18" y="110"/>
                    <a:pt x="12" y="98"/>
                  </a:cubicBezTo>
                  <a:cubicBezTo>
                    <a:pt x="16" y="66"/>
                    <a:pt x="15" y="61"/>
                    <a:pt x="47" y="56"/>
                  </a:cubicBezTo>
                  <a:cubicBezTo>
                    <a:pt x="52" y="52"/>
                    <a:pt x="54" y="48"/>
                    <a:pt x="59" y="44"/>
                  </a:cubicBezTo>
                  <a:cubicBezTo>
                    <a:pt x="62" y="39"/>
                    <a:pt x="64" y="36"/>
                    <a:pt x="69" y="32"/>
                  </a:cubicBezTo>
                  <a:cubicBezTo>
                    <a:pt x="73" y="25"/>
                    <a:pt x="72" y="21"/>
                    <a:pt x="80" y="18"/>
                  </a:cubicBezTo>
                  <a:cubicBezTo>
                    <a:pt x="85" y="12"/>
                    <a:pt x="83" y="5"/>
                    <a:pt x="90" y="0"/>
                  </a:cubicBezTo>
                  <a:cubicBezTo>
                    <a:pt x="99" y="3"/>
                    <a:pt x="96" y="9"/>
                    <a:pt x="101" y="17"/>
                  </a:cubicBezTo>
                  <a:cubicBezTo>
                    <a:pt x="103" y="31"/>
                    <a:pt x="105" y="43"/>
                    <a:pt x="110" y="56"/>
                  </a:cubicBezTo>
                  <a:cubicBezTo>
                    <a:pt x="112" y="66"/>
                    <a:pt x="107" y="60"/>
                    <a:pt x="102" y="68"/>
                  </a:cubicBezTo>
                  <a:cubicBezTo>
                    <a:pt x="105" y="78"/>
                    <a:pt x="103" y="84"/>
                    <a:pt x="95" y="90"/>
                  </a:cubicBezTo>
                  <a:cubicBezTo>
                    <a:pt x="94" y="103"/>
                    <a:pt x="91" y="120"/>
                    <a:pt x="80" y="129"/>
                  </a:cubicBezTo>
                  <a:cubicBezTo>
                    <a:pt x="79" y="140"/>
                    <a:pt x="81" y="150"/>
                    <a:pt x="74" y="159"/>
                  </a:cubicBezTo>
                  <a:cubicBezTo>
                    <a:pt x="72" y="169"/>
                    <a:pt x="71" y="177"/>
                    <a:pt x="66" y="186"/>
                  </a:cubicBezTo>
                  <a:cubicBezTo>
                    <a:pt x="64" y="211"/>
                    <a:pt x="57" y="206"/>
                    <a:pt x="33" y="210"/>
                  </a:cubicBezTo>
                  <a:cubicBezTo>
                    <a:pt x="25" y="213"/>
                    <a:pt x="20" y="209"/>
                    <a:pt x="15" y="20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3" name="Freeform 57"/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5173772" y="4919166"/>
              <a:ext cx="48595" cy="40494"/>
            </a:xfrm>
            <a:custGeom>
              <a:avLst/>
              <a:gdLst>
                <a:gd name="T0" fmla="*/ 18 w 30"/>
                <a:gd name="T1" fmla="*/ 0 h 25"/>
                <a:gd name="T2" fmla="*/ 5 w 30"/>
                <a:gd name="T3" fmla="*/ 23 h 25"/>
                <a:gd name="T4" fmla="*/ 20 w 30"/>
                <a:gd name="T5" fmla="*/ 21 h 25"/>
                <a:gd name="T6" fmla="*/ 18 w 30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5">
                  <a:moveTo>
                    <a:pt x="18" y="0"/>
                  </a:moveTo>
                  <a:cubicBezTo>
                    <a:pt x="0" y="3"/>
                    <a:pt x="3" y="3"/>
                    <a:pt x="5" y="23"/>
                  </a:cubicBezTo>
                  <a:cubicBezTo>
                    <a:pt x="10" y="22"/>
                    <a:pt x="17" y="25"/>
                    <a:pt x="20" y="21"/>
                  </a:cubicBezTo>
                  <a:cubicBezTo>
                    <a:pt x="30" y="7"/>
                    <a:pt x="9" y="6"/>
                    <a:pt x="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4" name="Freeform 58"/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5026366" y="3459775"/>
              <a:ext cx="288332" cy="298033"/>
            </a:xfrm>
            <a:custGeom>
              <a:avLst/>
              <a:gdLst>
                <a:gd name="T0" fmla="*/ 8 w 175"/>
                <a:gd name="T1" fmla="*/ 178 h 184"/>
                <a:gd name="T2" fmla="*/ 151 w 175"/>
                <a:gd name="T3" fmla="*/ 174 h 184"/>
                <a:gd name="T4" fmla="*/ 157 w 175"/>
                <a:gd name="T5" fmla="*/ 145 h 184"/>
                <a:gd name="T6" fmla="*/ 149 w 175"/>
                <a:gd name="T7" fmla="*/ 111 h 184"/>
                <a:gd name="T8" fmla="*/ 131 w 175"/>
                <a:gd name="T9" fmla="*/ 79 h 184"/>
                <a:gd name="T10" fmla="*/ 119 w 175"/>
                <a:gd name="T11" fmla="*/ 51 h 184"/>
                <a:gd name="T12" fmla="*/ 122 w 175"/>
                <a:gd name="T13" fmla="*/ 43 h 184"/>
                <a:gd name="T14" fmla="*/ 127 w 175"/>
                <a:gd name="T15" fmla="*/ 61 h 184"/>
                <a:gd name="T16" fmla="*/ 136 w 175"/>
                <a:gd name="T17" fmla="*/ 79 h 184"/>
                <a:gd name="T18" fmla="*/ 145 w 175"/>
                <a:gd name="T19" fmla="*/ 28 h 184"/>
                <a:gd name="T20" fmla="*/ 115 w 175"/>
                <a:gd name="T21" fmla="*/ 24 h 184"/>
                <a:gd name="T22" fmla="*/ 100 w 175"/>
                <a:gd name="T23" fmla="*/ 10 h 184"/>
                <a:gd name="T24" fmla="*/ 70 w 175"/>
                <a:gd name="T25" fmla="*/ 27 h 184"/>
                <a:gd name="T26" fmla="*/ 41 w 175"/>
                <a:gd name="T27" fmla="*/ 15 h 184"/>
                <a:gd name="T28" fmla="*/ 7 w 175"/>
                <a:gd name="T29" fmla="*/ 13 h 184"/>
                <a:gd name="T30" fmla="*/ 1 w 175"/>
                <a:gd name="T31" fmla="*/ 27 h 184"/>
                <a:gd name="T32" fmla="*/ 5 w 175"/>
                <a:gd name="T33" fmla="*/ 106 h 184"/>
                <a:gd name="T34" fmla="*/ 4 w 175"/>
                <a:gd name="T35" fmla="*/ 177 h 184"/>
                <a:gd name="T36" fmla="*/ 8 w 175"/>
                <a:gd name="T37" fmla="*/ 17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184">
                  <a:moveTo>
                    <a:pt x="8" y="178"/>
                  </a:moveTo>
                  <a:cubicBezTo>
                    <a:pt x="34" y="173"/>
                    <a:pt x="127" y="184"/>
                    <a:pt x="151" y="174"/>
                  </a:cubicBezTo>
                  <a:cubicBezTo>
                    <a:pt x="175" y="169"/>
                    <a:pt x="157" y="155"/>
                    <a:pt x="157" y="145"/>
                  </a:cubicBezTo>
                  <a:cubicBezTo>
                    <a:pt x="157" y="135"/>
                    <a:pt x="153" y="122"/>
                    <a:pt x="149" y="111"/>
                  </a:cubicBezTo>
                  <a:cubicBezTo>
                    <a:pt x="147" y="99"/>
                    <a:pt x="137" y="89"/>
                    <a:pt x="131" y="79"/>
                  </a:cubicBezTo>
                  <a:cubicBezTo>
                    <a:pt x="130" y="67"/>
                    <a:pt x="129" y="57"/>
                    <a:pt x="119" y="51"/>
                  </a:cubicBezTo>
                  <a:cubicBezTo>
                    <a:pt x="118" y="48"/>
                    <a:pt x="119" y="42"/>
                    <a:pt x="122" y="43"/>
                  </a:cubicBezTo>
                  <a:cubicBezTo>
                    <a:pt x="124" y="44"/>
                    <a:pt x="126" y="58"/>
                    <a:pt x="127" y="61"/>
                  </a:cubicBezTo>
                  <a:cubicBezTo>
                    <a:pt x="128" y="68"/>
                    <a:pt x="128" y="77"/>
                    <a:pt x="136" y="79"/>
                  </a:cubicBezTo>
                  <a:cubicBezTo>
                    <a:pt x="162" y="76"/>
                    <a:pt x="151" y="81"/>
                    <a:pt x="145" y="28"/>
                  </a:cubicBezTo>
                  <a:cubicBezTo>
                    <a:pt x="144" y="18"/>
                    <a:pt x="125" y="24"/>
                    <a:pt x="115" y="24"/>
                  </a:cubicBezTo>
                  <a:cubicBezTo>
                    <a:pt x="109" y="20"/>
                    <a:pt x="106" y="15"/>
                    <a:pt x="100" y="10"/>
                  </a:cubicBezTo>
                  <a:cubicBezTo>
                    <a:pt x="87" y="13"/>
                    <a:pt x="82" y="21"/>
                    <a:pt x="70" y="27"/>
                  </a:cubicBezTo>
                  <a:cubicBezTo>
                    <a:pt x="60" y="24"/>
                    <a:pt x="51" y="17"/>
                    <a:pt x="41" y="15"/>
                  </a:cubicBezTo>
                  <a:cubicBezTo>
                    <a:pt x="30" y="9"/>
                    <a:pt x="21" y="12"/>
                    <a:pt x="7" y="13"/>
                  </a:cubicBezTo>
                  <a:cubicBezTo>
                    <a:pt x="0" y="15"/>
                    <a:pt x="1" y="0"/>
                    <a:pt x="1" y="27"/>
                  </a:cubicBezTo>
                  <a:cubicBezTo>
                    <a:pt x="0" y="42"/>
                    <a:pt x="5" y="81"/>
                    <a:pt x="5" y="106"/>
                  </a:cubicBezTo>
                  <a:cubicBezTo>
                    <a:pt x="5" y="131"/>
                    <a:pt x="3" y="165"/>
                    <a:pt x="4" y="177"/>
                  </a:cubicBezTo>
                  <a:cubicBezTo>
                    <a:pt x="9" y="174"/>
                    <a:pt x="13" y="179"/>
                    <a:pt x="8" y="17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5" name="Freeform 59"/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010726" y="3581256"/>
              <a:ext cx="239736" cy="189511"/>
            </a:xfrm>
            <a:custGeom>
              <a:avLst/>
              <a:gdLst>
                <a:gd name="T0" fmla="*/ 118 w 146"/>
                <a:gd name="T1" fmla="*/ 0 h 117"/>
                <a:gd name="T2" fmla="*/ 62 w 146"/>
                <a:gd name="T3" fmla="*/ 2 h 117"/>
                <a:gd name="T4" fmla="*/ 54 w 146"/>
                <a:gd name="T5" fmla="*/ 4 h 117"/>
                <a:gd name="T6" fmla="*/ 50 w 146"/>
                <a:gd name="T7" fmla="*/ 24 h 117"/>
                <a:gd name="T8" fmla="*/ 32 w 146"/>
                <a:gd name="T9" fmla="*/ 30 h 117"/>
                <a:gd name="T10" fmla="*/ 22 w 146"/>
                <a:gd name="T11" fmla="*/ 60 h 117"/>
                <a:gd name="T12" fmla="*/ 4 w 146"/>
                <a:gd name="T13" fmla="*/ 92 h 117"/>
                <a:gd name="T14" fmla="*/ 3 w 146"/>
                <a:gd name="T15" fmla="*/ 114 h 117"/>
                <a:gd name="T16" fmla="*/ 19 w 146"/>
                <a:gd name="T17" fmla="*/ 108 h 117"/>
                <a:gd name="T18" fmla="*/ 43 w 146"/>
                <a:gd name="T19" fmla="*/ 106 h 117"/>
                <a:gd name="T20" fmla="*/ 58 w 146"/>
                <a:gd name="T21" fmla="*/ 108 h 117"/>
                <a:gd name="T22" fmla="*/ 60 w 146"/>
                <a:gd name="T23" fmla="*/ 90 h 117"/>
                <a:gd name="T24" fmla="*/ 60 w 146"/>
                <a:gd name="T25" fmla="*/ 76 h 117"/>
                <a:gd name="T26" fmla="*/ 72 w 146"/>
                <a:gd name="T27" fmla="*/ 72 h 117"/>
                <a:gd name="T28" fmla="*/ 76 w 146"/>
                <a:gd name="T29" fmla="*/ 66 h 117"/>
                <a:gd name="T30" fmla="*/ 75 w 146"/>
                <a:gd name="T31" fmla="*/ 52 h 117"/>
                <a:gd name="T32" fmla="*/ 75 w 146"/>
                <a:gd name="T33" fmla="*/ 46 h 117"/>
                <a:gd name="T34" fmla="*/ 78 w 146"/>
                <a:gd name="T35" fmla="*/ 33 h 117"/>
                <a:gd name="T36" fmla="*/ 88 w 146"/>
                <a:gd name="T37" fmla="*/ 30 h 117"/>
                <a:gd name="T38" fmla="*/ 106 w 146"/>
                <a:gd name="T39" fmla="*/ 34 h 117"/>
                <a:gd name="T40" fmla="*/ 130 w 146"/>
                <a:gd name="T41" fmla="*/ 30 h 117"/>
                <a:gd name="T42" fmla="*/ 138 w 146"/>
                <a:gd name="T43" fmla="*/ 21 h 117"/>
                <a:gd name="T44" fmla="*/ 118 w 146"/>
                <a:gd name="T4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6" h="117">
                  <a:moveTo>
                    <a:pt x="118" y="0"/>
                  </a:moveTo>
                  <a:cubicBezTo>
                    <a:pt x="99" y="1"/>
                    <a:pt x="81" y="1"/>
                    <a:pt x="62" y="2"/>
                  </a:cubicBezTo>
                  <a:cubicBezTo>
                    <a:pt x="59" y="2"/>
                    <a:pt x="56" y="2"/>
                    <a:pt x="54" y="4"/>
                  </a:cubicBezTo>
                  <a:cubicBezTo>
                    <a:pt x="50" y="10"/>
                    <a:pt x="55" y="20"/>
                    <a:pt x="50" y="24"/>
                  </a:cubicBezTo>
                  <a:cubicBezTo>
                    <a:pt x="45" y="28"/>
                    <a:pt x="32" y="30"/>
                    <a:pt x="32" y="30"/>
                  </a:cubicBezTo>
                  <a:cubicBezTo>
                    <a:pt x="28" y="42"/>
                    <a:pt x="35" y="56"/>
                    <a:pt x="22" y="60"/>
                  </a:cubicBezTo>
                  <a:cubicBezTo>
                    <a:pt x="15" y="71"/>
                    <a:pt x="11" y="81"/>
                    <a:pt x="4" y="92"/>
                  </a:cubicBezTo>
                  <a:cubicBezTo>
                    <a:pt x="0" y="98"/>
                    <a:pt x="3" y="114"/>
                    <a:pt x="3" y="114"/>
                  </a:cubicBezTo>
                  <a:cubicBezTo>
                    <a:pt x="6" y="117"/>
                    <a:pt x="12" y="109"/>
                    <a:pt x="19" y="108"/>
                  </a:cubicBezTo>
                  <a:cubicBezTo>
                    <a:pt x="26" y="107"/>
                    <a:pt x="37" y="106"/>
                    <a:pt x="43" y="106"/>
                  </a:cubicBezTo>
                  <a:cubicBezTo>
                    <a:pt x="49" y="106"/>
                    <a:pt x="55" y="111"/>
                    <a:pt x="58" y="108"/>
                  </a:cubicBezTo>
                  <a:cubicBezTo>
                    <a:pt x="63" y="94"/>
                    <a:pt x="63" y="100"/>
                    <a:pt x="60" y="90"/>
                  </a:cubicBezTo>
                  <a:cubicBezTo>
                    <a:pt x="61" y="85"/>
                    <a:pt x="57" y="80"/>
                    <a:pt x="60" y="76"/>
                  </a:cubicBezTo>
                  <a:cubicBezTo>
                    <a:pt x="62" y="73"/>
                    <a:pt x="68" y="74"/>
                    <a:pt x="72" y="72"/>
                  </a:cubicBezTo>
                  <a:cubicBezTo>
                    <a:pt x="73" y="67"/>
                    <a:pt x="75" y="68"/>
                    <a:pt x="76" y="66"/>
                  </a:cubicBezTo>
                  <a:cubicBezTo>
                    <a:pt x="76" y="62"/>
                    <a:pt x="75" y="57"/>
                    <a:pt x="75" y="52"/>
                  </a:cubicBezTo>
                  <a:cubicBezTo>
                    <a:pt x="75" y="49"/>
                    <a:pt x="75" y="49"/>
                    <a:pt x="75" y="46"/>
                  </a:cubicBezTo>
                  <a:cubicBezTo>
                    <a:pt x="75" y="43"/>
                    <a:pt x="76" y="36"/>
                    <a:pt x="78" y="33"/>
                  </a:cubicBezTo>
                  <a:cubicBezTo>
                    <a:pt x="80" y="30"/>
                    <a:pt x="83" y="30"/>
                    <a:pt x="88" y="30"/>
                  </a:cubicBezTo>
                  <a:cubicBezTo>
                    <a:pt x="93" y="30"/>
                    <a:pt x="99" y="34"/>
                    <a:pt x="106" y="34"/>
                  </a:cubicBezTo>
                  <a:cubicBezTo>
                    <a:pt x="113" y="34"/>
                    <a:pt x="125" y="32"/>
                    <a:pt x="130" y="30"/>
                  </a:cubicBezTo>
                  <a:cubicBezTo>
                    <a:pt x="133" y="21"/>
                    <a:pt x="146" y="27"/>
                    <a:pt x="138" y="21"/>
                  </a:cubicBezTo>
                  <a:cubicBezTo>
                    <a:pt x="133" y="13"/>
                    <a:pt x="121" y="8"/>
                    <a:pt x="1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6" name="Freeform 60"/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104677" y="3362591"/>
              <a:ext cx="285092" cy="223525"/>
            </a:xfrm>
            <a:custGeom>
              <a:avLst/>
              <a:gdLst>
                <a:gd name="T0" fmla="*/ 0 w 173"/>
                <a:gd name="T1" fmla="*/ 138 h 138"/>
                <a:gd name="T2" fmla="*/ 27 w 173"/>
                <a:gd name="T3" fmla="*/ 124 h 138"/>
                <a:gd name="T4" fmla="*/ 39 w 173"/>
                <a:gd name="T5" fmla="*/ 114 h 138"/>
                <a:gd name="T6" fmla="*/ 54 w 173"/>
                <a:gd name="T7" fmla="*/ 63 h 138"/>
                <a:gd name="T8" fmla="*/ 72 w 173"/>
                <a:gd name="T9" fmla="*/ 42 h 138"/>
                <a:gd name="T10" fmla="*/ 90 w 173"/>
                <a:gd name="T11" fmla="*/ 30 h 138"/>
                <a:gd name="T12" fmla="*/ 102 w 173"/>
                <a:gd name="T13" fmla="*/ 15 h 138"/>
                <a:gd name="T14" fmla="*/ 108 w 173"/>
                <a:gd name="T15" fmla="*/ 0 h 138"/>
                <a:gd name="T16" fmla="*/ 144 w 173"/>
                <a:gd name="T17" fmla="*/ 4 h 138"/>
                <a:gd name="T18" fmla="*/ 168 w 173"/>
                <a:gd name="T19" fmla="*/ 12 h 138"/>
                <a:gd name="T20" fmla="*/ 171 w 173"/>
                <a:gd name="T21" fmla="*/ 57 h 138"/>
                <a:gd name="T22" fmla="*/ 154 w 173"/>
                <a:gd name="T23" fmla="*/ 64 h 138"/>
                <a:gd name="T24" fmla="*/ 145 w 173"/>
                <a:gd name="T25" fmla="*/ 76 h 138"/>
                <a:gd name="T26" fmla="*/ 133 w 173"/>
                <a:gd name="T27" fmla="*/ 85 h 138"/>
                <a:gd name="T28" fmla="*/ 118 w 173"/>
                <a:gd name="T29" fmla="*/ 96 h 138"/>
                <a:gd name="T30" fmla="*/ 104 w 173"/>
                <a:gd name="T31" fmla="*/ 108 h 138"/>
                <a:gd name="T32" fmla="*/ 85 w 173"/>
                <a:gd name="T33" fmla="*/ 109 h 138"/>
                <a:gd name="T34" fmla="*/ 61 w 173"/>
                <a:gd name="T35" fmla="*/ 133 h 138"/>
                <a:gd name="T36" fmla="*/ 0 w 173"/>
                <a:gd name="T3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3" h="138">
                  <a:moveTo>
                    <a:pt x="0" y="138"/>
                  </a:moveTo>
                  <a:cubicBezTo>
                    <a:pt x="6" y="135"/>
                    <a:pt x="21" y="128"/>
                    <a:pt x="27" y="124"/>
                  </a:cubicBezTo>
                  <a:cubicBezTo>
                    <a:pt x="31" y="118"/>
                    <a:pt x="31" y="115"/>
                    <a:pt x="39" y="114"/>
                  </a:cubicBezTo>
                  <a:cubicBezTo>
                    <a:pt x="60" y="104"/>
                    <a:pt x="42" y="80"/>
                    <a:pt x="54" y="63"/>
                  </a:cubicBezTo>
                  <a:cubicBezTo>
                    <a:pt x="56" y="53"/>
                    <a:pt x="61" y="44"/>
                    <a:pt x="72" y="42"/>
                  </a:cubicBezTo>
                  <a:cubicBezTo>
                    <a:pt x="77" y="36"/>
                    <a:pt x="82" y="32"/>
                    <a:pt x="90" y="30"/>
                  </a:cubicBezTo>
                  <a:cubicBezTo>
                    <a:pt x="97" y="27"/>
                    <a:pt x="98" y="21"/>
                    <a:pt x="102" y="15"/>
                  </a:cubicBezTo>
                  <a:cubicBezTo>
                    <a:pt x="103" y="9"/>
                    <a:pt x="104" y="5"/>
                    <a:pt x="108" y="0"/>
                  </a:cubicBezTo>
                  <a:cubicBezTo>
                    <a:pt x="121" y="1"/>
                    <a:pt x="131" y="3"/>
                    <a:pt x="144" y="4"/>
                  </a:cubicBezTo>
                  <a:cubicBezTo>
                    <a:pt x="154" y="5"/>
                    <a:pt x="163" y="3"/>
                    <a:pt x="168" y="12"/>
                  </a:cubicBezTo>
                  <a:cubicBezTo>
                    <a:pt x="172" y="20"/>
                    <a:pt x="173" y="48"/>
                    <a:pt x="171" y="57"/>
                  </a:cubicBezTo>
                  <a:cubicBezTo>
                    <a:pt x="169" y="66"/>
                    <a:pt x="158" y="61"/>
                    <a:pt x="154" y="64"/>
                  </a:cubicBezTo>
                  <a:cubicBezTo>
                    <a:pt x="149" y="68"/>
                    <a:pt x="148" y="71"/>
                    <a:pt x="145" y="76"/>
                  </a:cubicBezTo>
                  <a:cubicBezTo>
                    <a:pt x="143" y="84"/>
                    <a:pt x="140" y="84"/>
                    <a:pt x="133" y="85"/>
                  </a:cubicBezTo>
                  <a:cubicBezTo>
                    <a:pt x="127" y="89"/>
                    <a:pt x="124" y="92"/>
                    <a:pt x="118" y="96"/>
                  </a:cubicBezTo>
                  <a:cubicBezTo>
                    <a:pt x="113" y="100"/>
                    <a:pt x="109" y="106"/>
                    <a:pt x="104" y="108"/>
                  </a:cubicBezTo>
                  <a:cubicBezTo>
                    <a:pt x="99" y="110"/>
                    <a:pt x="92" y="105"/>
                    <a:pt x="85" y="109"/>
                  </a:cubicBezTo>
                  <a:cubicBezTo>
                    <a:pt x="77" y="113"/>
                    <a:pt x="62" y="133"/>
                    <a:pt x="61" y="133"/>
                  </a:cubicBezTo>
                  <a:cubicBezTo>
                    <a:pt x="44" y="134"/>
                    <a:pt x="17" y="138"/>
                    <a:pt x="0" y="1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7" name="Freeform 61"/>
            <p:cNvSpPr>
              <a:spLocks/>
            </p:cNvSpPr>
            <p:nvPr>
              <p:custDataLst>
                <p:tags r:id="rId53"/>
              </p:custDataLst>
            </p:nvPr>
          </p:nvSpPr>
          <p:spPr bwMode="gray">
            <a:xfrm>
              <a:off x="5274202" y="3464635"/>
              <a:ext cx="503771" cy="424373"/>
            </a:xfrm>
            <a:custGeom>
              <a:avLst/>
              <a:gdLst>
                <a:gd name="T0" fmla="*/ 7 w 306"/>
                <a:gd name="T1" fmla="*/ 45 h 262"/>
                <a:gd name="T2" fmla="*/ 23 w 306"/>
                <a:gd name="T3" fmla="*/ 45 h 262"/>
                <a:gd name="T4" fmla="*/ 37 w 306"/>
                <a:gd name="T5" fmla="*/ 36 h 262"/>
                <a:gd name="T6" fmla="*/ 35 w 306"/>
                <a:gd name="T7" fmla="*/ 15 h 262"/>
                <a:gd name="T8" fmla="*/ 37 w 306"/>
                <a:gd name="T9" fmla="*/ 6 h 262"/>
                <a:gd name="T10" fmla="*/ 59 w 306"/>
                <a:gd name="T11" fmla="*/ 3 h 262"/>
                <a:gd name="T12" fmla="*/ 79 w 306"/>
                <a:gd name="T13" fmla="*/ 1 h 262"/>
                <a:gd name="T14" fmla="*/ 94 w 306"/>
                <a:gd name="T15" fmla="*/ 7 h 262"/>
                <a:gd name="T16" fmla="*/ 106 w 306"/>
                <a:gd name="T17" fmla="*/ 18 h 262"/>
                <a:gd name="T18" fmla="*/ 121 w 306"/>
                <a:gd name="T19" fmla="*/ 24 h 262"/>
                <a:gd name="T20" fmla="*/ 128 w 306"/>
                <a:gd name="T21" fmla="*/ 36 h 262"/>
                <a:gd name="T22" fmla="*/ 128 w 306"/>
                <a:gd name="T23" fmla="*/ 39 h 262"/>
                <a:gd name="T24" fmla="*/ 139 w 306"/>
                <a:gd name="T25" fmla="*/ 43 h 262"/>
                <a:gd name="T26" fmla="*/ 154 w 306"/>
                <a:gd name="T27" fmla="*/ 48 h 262"/>
                <a:gd name="T28" fmla="*/ 185 w 306"/>
                <a:gd name="T29" fmla="*/ 52 h 262"/>
                <a:gd name="T30" fmla="*/ 200 w 306"/>
                <a:gd name="T31" fmla="*/ 58 h 262"/>
                <a:gd name="T32" fmla="*/ 214 w 306"/>
                <a:gd name="T33" fmla="*/ 81 h 262"/>
                <a:gd name="T34" fmla="*/ 223 w 306"/>
                <a:gd name="T35" fmla="*/ 94 h 262"/>
                <a:gd name="T36" fmla="*/ 235 w 306"/>
                <a:gd name="T37" fmla="*/ 111 h 262"/>
                <a:gd name="T38" fmla="*/ 247 w 306"/>
                <a:gd name="T39" fmla="*/ 129 h 262"/>
                <a:gd name="T40" fmla="*/ 254 w 306"/>
                <a:gd name="T41" fmla="*/ 156 h 262"/>
                <a:gd name="T42" fmla="*/ 280 w 306"/>
                <a:gd name="T43" fmla="*/ 162 h 262"/>
                <a:gd name="T44" fmla="*/ 302 w 306"/>
                <a:gd name="T45" fmla="*/ 163 h 262"/>
                <a:gd name="T46" fmla="*/ 304 w 306"/>
                <a:gd name="T47" fmla="*/ 177 h 262"/>
                <a:gd name="T48" fmla="*/ 296 w 306"/>
                <a:gd name="T49" fmla="*/ 193 h 262"/>
                <a:gd name="T50" fmla="*/ 281 w 306"/>
                <a:gd name="T51" fmla="*/ 204 h 262"/>
                <a:gd name="T52" fmla="*/ 274 w 306"/>
                <a:gd name="T53" fmla="*/ 210 h 262"/>
                <a:gd name="T54" fmla="*/ 257 w 306"/>
                <a:gd name="T55" fmla="*/ 214 h 262"/>
                <a:gd name="T56" fmla="*/ 236 w 306"/>
                <a:gd name="T57" fmla="*/ 223 h 262"/>
                <a:gd name="T58" fmla="*/ 208 w 306"/>
                <a:gd name="T59" fmla="*/ 224 h 262"/>
                <a:gd name="T60" fmla="*/ 197 w 306"/>
                <a:gd name="T61" fmla="*/ 228 h 262"/>
                <a:gd name="T62" fmla="*/ 191 w 306"/>
                <a:gd name="T63" fmla="*/ 231 h 262"/>
                <a:gd name="T64" fmla="*/ 182 w 306"/>
                <a:gd name="T65" fmla="*/ 249 h 262"/>
                <a:gd name="T66" fmla="*/ 169 w 306"/>
                <a:gd name="T67" fmla="*/ 262 h 262"/>
                <a:gd name="T68" fmla="*/ 137 w 306"/>
                <a:gd name="T69" fmla="*/ 246 h 262"/>
                <a:gd name="T70" fmla="*/ 113 w 306"/>
                <a:gd name="T71" fmla="*/ 247 h 262"/>
                <a:gd name="T72" fmla="*/ 107 w 306"/>
                <a:gd name="T73" fmla="*/ 238 h 262"/>
                <a:gd name="T74" fmla="*/ 83 w 306"/>
                <a:gd name="T75" fmla="*/ 208 h 262"/>
                <a:gd name="T76" fmla="*/ 68 w 306"/>
                <a:gd name="T77" fmla="*/ 192 h 262"/>
                <a:gd name="T78" fmla="*/ 61 w 306"/>
                <a:gd name="T79" fmla="*/ 154 h 262"/>
                <a:gd name="T80" fmla="*/ 37 w 306"/>
                <a:gd name="T81" fmla="*/ 127 h 262"/>
                <a:gd name="T82" fmla="*/ 31 w 306"/>
                <a:gd name="T83" fmla="*/ 120 h 262"/>
                <a:gd name="T84" fmla="*/ 20 w 306"/>
                <a:gd name="T85" fmla="*/ 96 h 262"/>
                <a:gd name="T86" fmla="*/ 8 w 306"/>
                <a:gd name="T87" fmla="*/ 78 h 262"/>
                <a:gd name="T88" fmla="*/ 1 w 306"/>
                <a:gd name="T89" fmla="*/ 60 h 262"/>
                <a:gd name="T90" fmla="*/ 7 w 306"/>
                <a:gd name="T91" fmla="*/ 4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262">
                  <a:moveTo>
                    <a:pt x="7" y="45"/>
                  </a:moveTo>
                  <a:cubicBezTo>
                    <a:pt x="14" y="46"/>
                    <a:pt x="17" y="49"/>
                    <a:pt x="23" y="45"/>
                  </a:cubicBezTo>
                  <a:cubicBezTo>
                    <a:pt x="27" y="38"/>
                    <a:pt x="29" y="37"/>
                    <a:pt x="37" y="36"/>
                  </a:cubicBezTo>
                  <a:cubicBezTo>
                    <a:pt x="48" y="30"/>
                    <a:pt x="44" y="20"/>
                    <a:pt x="35" y="15"/>
                  </a:cubicBezTo>
                  <a:cubicBezTo>
                    <a:pt x="34" y="12"/>
                    <a:pt x="32" y="7"/>
                    <a:pt x="37" y="6"/>
                  </a:cubicBezTo>
                  <a:cubicBezTo>
                    <a:pt x="44" y="4"/>
                    <a:pt x="59" y="3"/>
                    <a:pt x="59" y="3"/>
                  </a:cubicBezTo>
                  <a:cubicBezTo>
                    <a:pt x="67" y="0"/>
                    <a:pt x="71" y="0"/>
                    <a:pt x="79" y="1"/>
                  </a:cubicBezTo>
                  <a:cubicBezTo>
                    <a:pt x="84" y="4"/>
                    <a:pt x="88" y="6"/>
                    <a:pt x="94" y="7"/>
                  </a:cubicBezTo>
                  <a:cubicBezTo>
                    <a:pt x="100" y="10"/>
                    <a:pt x="106" y="18"/>
                    <a:pt x="106" y="18"/>
                  </a:cubicBezTo>
                  <a:cubicBezTo>
                    <a:pt x="109" y="24"/>
                    <a:pt x="115" y="20"/>
                    <a:pt x="121" y="24"/>
                  </a:cubicBezTo>
                  <a:cubicBezTo>
                    <a:pt x="122" y="31"/>
                    <a:pt x="122" y="33"/>
                    <a:pt x="128" y="36"/>
                  </a:cubicBezTo>
                  <a:cubicBezTo>
                    <a:pt x="129" y="38"/>
                    <a:pt x="126" y="38"/>
                    <a:pt x="128" y="39"/>
                  </a:cubicBezTo>
                  <a:cubicBezTo>
                    <a:pt x="130" y="40"/>
                    <a:pt x="135" y="42"/>
                    <a:pt x="139" y="43"/>
                  </a:cubicBezTo>
                  <a:cubicBezTo>
                    <a:pt x="144" y="45"/>
                    <a:pt x="149" y="46"/>
                    <a:pt x="154" y="48"/>
                  </a:cubicBezTo>
                  <a:cubicBezTo>
                    <a:pt x="166" y="57"/>
                    <a:pt x="152" y="48"/>
                    <a:pt x="185" y="52"/>
                  </a:cubicBezTo>
                  <a:cubicBezTo>
                    <a:pt x="190" y="53"/>
                    <a:pt x="195" y="57"/>
                    <a:pt x="200" y="58"/>
                  </a:cubicBezTo>
                  <a:cubicBezTo>
                    <a:pt x="202" y="70"/>
                    <a:pt x="203" y="76"/>
                    <a:pt x="214" y="81"/>
                  </a:cubicBezTo>
                  <a:cubicBezTo>
                    <a:pt x="222" y="91"/>
                    <a:pt x="219" y="87"/>
                    <a:pt x="223" y="94"/>
                  </a:cubicBezTo>
                  <a:cubicBezTo>
                    <a:pt x="224" y="107"/>
                    <a:pt x="224" y="106"/>
                    <a:pt x="235" y="111"/>
                  </a:cubicBezTo>
                  <a:cubicBezTo>
                    <a:pt x="239" y="118"/>
                    <a:pt x="241" y="125"/>
                    <a:pt x="247" y="129"/>
                  </a:cubicBezTo>
                  <a:cubicBezTo>
                    <a:pt x="250" y="137"/>
                    <a:pt x="245" y="151"/>
                    <a:pt x="254" y="156"/>
                  </a:cubicBezTo>
                  <a:cubicBezTo>
                    <a:pt x="259" y="161"/>
                    <a:pt x="272" y="161"/>
                    <a:pt x="280" y="162"/>
                  </a:cubicBezTo>
                  <a:cubicBezTo>
                    <a:pt x="288" y="163"/>
                    <a:pt x="298" y="160"/>
                    <a:pt x="302" y="163"/>
                  </a:cubicBezTo>
                  <a:cubicBezTo>
                    <a:pt x="306" y="166"/>
                    <a:pt x="305" y="172"/>
                    <a:pt x="304" y="177"/>
                  </a:cubicBezTo>
                  <a:cubicBezTo>
                    <a:pt x="303" y="182"/>
                    <a:pt x="300" y="188"/>
                    <a:pt x="296" y="193"/>
                  </a:cubicBezTo>
                  <a:cubicBezTo>
                    <a:pt x="293" y="201"/>
                    <a:pt x="286" y="201"/>
                    <a:pt x="281" y="204"/>
                  </a:cubicBezTo>
                  <a:cubicBezTo>
                    <a:pt x="277" y="207"/>
                    <a:pt x="278" y="208"/>
                    <a:pt x="274" y="210"/>
                  </a:cubicBezTo>
                  <a:cubicBezTo>
                    <a:pt x="270" y="212"/>
                    <a:pt x="263" y="212"/>
                    <a:pt x="257" y="214"/>
                  </a:cubicBezTo>
                  <a:cubicBezTo>
                    <a:pt x="245" y="223"/>
                    <a:pt x="254" y="222"/>
                    <a:pt x="236" y="223"/>
                  </a:cubicBezTo>
                  <a:cubicBezTo>
                    <a:pt x="227" y="225"/>
                    <a:pt x="214" y="223"/>
                    <a:pt x="208" y="224"/>
                  </a:cubicBezTo>
                  <a:cubicBezTo>
                    <a:pt x="202" y="225"/>
                    <a:pt x="200" y="227"/>
                    <a:pt x="197" y="228"/>
                  </a:cubicBezTo>
                  <a:cubicBezTo>
                    <a:pt x="194" y="231"/>
                    <a:pt x="193" y="228"/>
                    <a:pt x="191" y="231"/>
                  </a:cubicBezTo>
                  <a:cubicBezTo>
                    <a:pt x="189" y="234"/>
                    <a:pt x="186" y="244"/>
                    <a:pt x="182" y="249"/>
                  </a:cubicBezTo>
                  <a:cubicBezTo>
                    <a:pt x="179" y="254"/>
                    <a:pt x="174" y="259"/>
                    <a:pt x="169" y="262"/>
                  </a:cubicBezTo>
                  <a:cubicBezTo>
                    <a:pt x="154" y="259"/>
                    <a:pt x="149" y="248"/>
                    <a:pt x="137" y="246"/>
                  </a:cubicBezTo>
                  <a:cubicBezTo>
                    <a:pt x="129" y="246"/>
                    <a:pt x="121" y="248"/>
                    <a:pt x="113" y="247"/>
                  </a:cubicBezTo>
                  <a:cubicBezTo>
                    <a:pt x="112" y="247"/>
                    <a:pt x="107" y="238"/>
                    <a:pt x="107" y="238"/>
                  </a:cubicBezTo>
                  <a:cubicBezTo>
                    <a:pt x="101" y="228"/>
                    <a:pt x="93" y="214"/>
                    <a:pt x="83" y="208"/>
                  </a:cubicBezTo>
                  <a:cubicBezTo>
                    <a:pt x="80" y="201"/>
                    <a:pt x="75" y="196"/>
                    <a:pt x="68" y="192"/>
                  </a:cubicBezTo>
                  <a:cubicBezTo>
                    <a:pt x="58" y="175"/>
                    <a:pt x="64" y="186"/>
                    <a:pt x="61" y="154"/>
                  </a:cubicBezTo>
                  <a:cubicBezTo>
                    <a:pt x="60" y="142"/>
                    <a:pt x="45" y="133"/>
                    <a:pt x="37" y="127"/>
                  </a:cubicBezTo>
                  <a:cubicBezTo>
                    <a:pt x="36" y="124"/>
                    <a:pt x="32" y="123"/>
                    <a:pt x="31" y="120"/>
                  </a:cubicBezTo>
                  <a:cubicBezTo>
                    <a:pt x="27" y="107"/>
                    <a:pt x="34" y="98"/>
                    <a:pt x="20" y="96"/>
                  </a:cubicBezTo>
                  <a:cubicBezTo>
                    <a:pt x="18" y="88"/>
                    <a:pt x="14" y="83"/>
                    <a:pt x="8" y="78"/>
                  </a:cubicBezTo>
                  <a:cubicBezTo>
                    <a:pt x="7" y="72"/>
                    <a:pt x="5" y="65"/>
                    <a:pt x="1" y="60"/>
                  </a:cubicBezTo>
                  <a:cubicBezTo>
                    <a:pt x="1" y="55"/>
                    <a:pt x="0" y="45"/>
                    <a:pt x="7" y="4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8" name="Freeform 62"/>
            <p:cNvSpPr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5258003" y="3429000"/>
              <a:ext cx="121489" cy="118242"/>
            </a:xfrm>
            <a:custGeom>
              <a:avLst/>
              <a:gdLst>
                <a:gd name="T0" fmla="*/ 8 w 73"/>
                <a:gd name="T1" fmla="*/ 70 h 73"/>
                <a:gd name="T2" fmla="*/ 31 w 73"/>
                <a:gd name="T3" fmla="*/ 67 h 73"/>
                <a:gd name="T4" fmla="*/ 41 w 73"/>
                <a:gd name="T5" fmla="*/ 56 h 73"/>
                <a:gd name="T6" fmla="*/ 50 w 73"/>
                <a:gd name="T7" fmla="*/ 58 h 73"/>
                <a:gd name="T8" fmla="*/ 46 w 73"/>
                <a:gd name="T9" fmla="*/ 37 h 73"/>
                <a:gd name="T10" fmla="*/ 57 w 73"/>
                <a:gd name="T11" fmla="*/ 26 h 73"/>
                <a:gd name="T12" fmla="*/ 70 w 73"/>
                <a:gd name="T13" fmla="*/ 28 h 73"/>
                <a:gd name="T14" fmla="*/ 64 w 73"/>
                <a:gd name="T15" fmla="*/ 17 h 73"/>
                <a:gd name="T16" fmla="*/ 58 w 73"/>
                <a:gd name="T17" fmla="*/ 2 h 73"/>
                <a:gd name="T18" fmla="*/ 46 w 73"/>
                <a:gd name="T19" fmla="*/ 5 h 73"/>
                <a:gd name="T20" fmla="*/ 38 w 73"/>
                <a:gd name="T21" fmla="*/ 14 h 73"/>
                <a:gd name="T22" fmla="*/ 41 w 73"/>
                <a:gd name="T23" fmla="*/ 14 h 73"/>
                <a:gd name="T24" fmla="*/ 26 w 73"/>
                <a:gd name="T25" fmla="*/ 11 h 73"/>
                <a:gd name="T26" fmla="*/ 16 w 73"/>
                <a:gd name="T27" fmla="*/ 22 h 73"/>
                <a:gd name="T28" fmla="*/ 4 w 73"/>
                <a:gd name="T29" fmla="*/ 44 h 73"/>
                <a:gd name="T30" fmla="*/ 5 w 73"/>
                <a:gd name="T31" fmla="*/ 65 h 73"/>
                <a:gd name="T32" fmla="*/ 8 w 73"/>
                <a:gd name="T33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3">
                  <a:moveTo>
                    <a:pt x="8" y="70"/>
                  </a:moveTo>
                  <a:cubicBezTo>
                    <a:pt x="22" y="64"/>
                    <a:pt x="0" y="73"/>
                    <a:pt x="31" y="67"/>
                  </a:cubicBezTo>
                  <a:cubicBezTo>
                    <a:pt x="36" y="66"/>
                    <a:pt x="38" y="57"/>
                    <a:pt x="41" y="56"/>
                  </a:cubicBezTo>
                  <a:cubicBezTo>
                    <a:pt x="44" y="55"/>
                    <a:pt x="49" y="61"/>
                    <a:pt x="50" y="58"/>
                  </a:cubicBezTo>
                  <a:cubicBezTo>
                    <a:pt x="53" y="51"/>
                    <a:pt x="51" y="43"/>
                    <a:pt x="46" y="37"/>
                  </a:cubicBezTo>
                  <a:cubicBezTo>
                    <a:pt x="47" y="32"/>
                    <a:pt x="53" y="27"/>
                    <a:pt x="57" y="26"/>
                  </a:cubicBezTo>
                  <a:cubicBezTo>
                    <a:pt x="61" y="25"/>
                    <a:pt x="69" y="29"/>
                    <a:pt x="70" y="28"/>
                  </a:cubicBezTo>
                  <a:cubicBezTo>
                    <a:pt x="73" y="24"/>
                    <a:pt x="66" y="21"/>
                    <a:pt x="64" y="17"/>
                  </a:cubicBezTo>
                  <a:cubicBezTo>
                    <a:pt x="62" y="13"/>
                    <a:pt x="61" y="4"/>
                    <a:pt x="58" y="2"/>
                  </a:cubicBezTo>
                  <a:cubicBezTo>
                    <a:pt x="55" y="0"/>
                    <a:pt x="49" y="3"/>
                    <a:pt x="46" y="5"/>
                  </a:cubicBezTo>
                  <a:cubicBezTo>
                    <a:pt x="44" y="6"/>
                    <a:pt x="39" y="12"/>
                    <a:pt x="38" y="14"/>
                  </a:cubicBezTo>
                  <a:cubicBezTo>
                    <a:pt x="37" y="17"/>
                    <a:pt x="43" y="11"/>
                    <a:pt x="41" y="14"/>
                  </a:cubicBezTo>
                  <a:cubicBezTo>
                    <a:pt x="41" y="14"/>
                    <a:pt x="27" y="12"/>
                    <a:pt x="26" y="11"/>
                  </a:cubicBezTo>
                  <a:cubicBezTo>
                    <a:pt x="21" y="14"/>
                    <a:pt x="19" y="17"/>
                    <a:pt x="16" y="22"/>
                  </a:cubicBezTo>
                  <a:cubicBezTo>
                    <a:pt x="14" y="38"/>
                    <a:pt x="18" y="42"/>
                    <a:pt x="4" y="44"/>
                  </a:cubicBezTo>
                  <a:cubicBezTo>
                    <a:pt x="4" y="51"/>
                    <a:pt x="4" y="58"/>
                    <a:pt x="5" y="65"/>
                  </a:cubicBezTo>
                  <a:cubicBezTo>
                    <a:pt x="5" y="67"/>
                    <a:pt x="8" y="70"/>
                    <a:pt x="8" y="7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9" name="Freeform 63"/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133834" y="4078518"/>
              <a:ext cx="121489" cy="85847"/>
            </a:xfrm>
            <a:custGeom>
              <a:avLst/>
              <a:gdLst>
                <a:gd name="T0" fmla="*/ 51 w 73"/>
                <a:gd name="T1" fmla="*/ 17 h 53"/>
                <a:gd name="T2" fmla="*/ 47 w 73"/>
                <a:gd name="T3" fmla="*/ 11 h 53"/>
                <a:gd name="T4" fmla="*/ 36 w 73"/>
                <a:gd name="T5" fmla="*/ 11 h 53"/>
                <a:gd name="T6" fmla="*/ 18 w 73"/>
                <a:gd name="T7" fmla="*/ 0 h 53"/>
                <a:gd name="T8" fmla="*/ 7 w 73"/>
                <a:gd name="T9" fmla="*/ 11 h 53"/>
                <a:gd name="T10" fmla="*/ 1 w 73"/>
                <a:gd name="T11" fmla="*/ 23 h 53"/>
                <a:gd name="T12" fmla="*/ 15 w 73"/>
                <a:gd name="T13" fmla="*/ 27 h 53"/>
                <a:gd name="T14" fmla="*/ 27 w 73"/>
                <a:gd name="T15" fmla="*/ 35 h 53"/>
                <a:gd name="T16" fmla="*/ 43 w 73"/>
                <a:gd name="T17" fmla="*/ 49 h 53"/>
                <a:gd name="T18" fmla="*/ 55 w 73"/>
                <a:gd name="T19" fmla="*/ 53 h 53"/>
                <a:gd name="T20" fmla="*/ 55 w 73"/>
                <a:gd name="T21" fmla="*/ 31 h 53"/>
                <a:gd name="T22" fmla="*/ 51 w 73"/>
                <a:gd name="T2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53">
                  <a:moveTo>
                    <a:pt x="51" y="17"/>
                  </a:moveTo>
                  <a:cubicBezTo>
                    <a:pt x="50" y="15"/>
                    <a:pt x="49" y="11"/>
                    <a:pt x="47" y="11"/>
                  </a:cubicBezTo>
                  <a:cubicBezTo>
                    <a:pt x="44" y="9"/>
                    <a:pt x="41" y="13"/>
                    <a:pt x="36" y="11"/>
                  </a:cubicBezTo>
                  <a:cubicBezTo>
                    <a:pt x="31" y="9"/>
                    <a:pt x="23" y="0"/>
                    <a:pt x="18" y="0"/>
                  </a:cubicBezTo>
                  <a:cubicBezTo>
                    <a:pt x="13" y="0"/>
                    <a:pt x="10" y="7"/>
                    <a:pt x="7" y="11"/>
                  </a:cubicBezTo>
                  <a:cubicBezTo>
                    <a:pt x="7" y="12"/>
                    <a:pt x="0" y="21"/>
                    <a:pt x="1" y="23"/>
                  </a:cubicBezTo>
                  <a:cubicBezTo>
                    <a:pt x="4" y="27"/>
                    <a:pt x="11" y="25"/>
                    <a:pt x="15" y="27"/>
                  </a:cubicBezTo>
                  <a:cubicBezTo>
                    <a:pt x="19" y="29"/>
                    <a:pt x="27" y="35"/>
                    <a:pt x="27" y="35"/>
                  </a:cubicBezTo>
                  <a:cubicBezTo>
                    <a:pt x="29" y="38"/>
                    <a:pt x="40" y="47"/>
                    <a:pt x="43" y="49"/>
                  </a:cubicBezTo>
                  <a:cubicBezTo>
                    <a:pt x="47" y="51"/>
                    <a:pt x="55" y="53"/>
                    <a:pt x="55" y="53"/>
                  </a:cubicBezTo>
                  <a:cubicBezTo>
                    <a:pt x="73" y="49"/>
                    <a:pt x="65" y="38"/>
                    <a:pt x="55" y="31"/>
                  </a:cubicBezTo>
                  <a:cubicBezTo>
                    <a:pt x="52" y="22"/>
                    <a:pt x="54" y="27"/>
                    <a:pt x="51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0" name="Freeform 68"/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4567951" y="2964133"/>
              <a:ext cx="124728" cy="77748"/>
            </a:xfrm>
            <a:custGeom>
              <a:avLst/>
              <a:gdLst>
                <a:gd name="T0" fmla="*/ 13 w 76"/>
                <a:gd name="T1" fmla="*/ 12 h 48"/>
                <a:gd name="T2" fmla="*/ 47 w 76"/>
                <a:gd name="T3" fmla="*/ 4 h 48"/>
                <a:gd name="T4" fmla="*/ 67 w 76"/>
                <a:gd name="T5" fmla="*/ 7 h 48"/>
                <a:gd name="T6" fmla="*/ 76 w 76"/>
                <a:gd name="T7" fmla="*/ 18 h 48"/>
                <a:gd name="T8" fmla="*/ 64 w 76"/>
                <a:gd name="T9" fmla="*/ 25 h 48"/>
                <a:gd name="T10" fmla="*/ 56 w 76"/>
                <a:gd name="T11" fmla="*/ 31 h 48"/>
                <a:gd name="T12" fmla="*/ 41 w 76"/>
                <a:gd name="T13" fmla="*/ 39 h 48"/>
                <a:gd name="T14" fmla="*/ 29 w 76"/>
                <a:gd name="T15" fmla="*/ 43 h 48"/>
                <a:gd name="T16" fmla="*/ 4 w 76"/>
                <a:gd name="T17" fmla="*/ 34 h 48"/>
                <a:gd name="T18" fmla="*/ 2 w 76"/>
                <a:gd name="T19" fmla="*/ 18 h 48"/>
                <a:gd name="T20" fmla="*/ 13 w 76"/>
                <a:gd name="T2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48">
                  <a:moveTo>
                    <a:pt x="13" y="12"/>
                  </a:moveTo>
                  <a:cubicBezTo>
                    <a:pt x="37" y="4"/>
                    <a:pt x="23" y="0"/>
                    <a:pt x="47" y="4"/>
                  </a:cubicBezTo>
                  <a:cubicBezTo>
                    <a:pt x="53" y="5"/>
                    <a:pt x="70" y="1"/>
                    <a:pt x="67" y="7"/>
                  </a:cubicBezTo>
                  <a:cubicBezTo>
                    <a:pt x="72" y="9"/>
                    <a:pt x="76" y="15"/>
                    <a:pt x="76" y="18"/>
                  </a:cubicBezTo>
                  <a:cubicBezTo>
                    <a:pt x="76" y="21"/>
                    <a:pt x="67" y="23"/>
                    <a:pt x="64" y="25"/>
                  </a:cubicBezTo>
                  <a:cubicBezTo>
                    <a:pt x="61" y="27"/>
                    <a:pt x="60" y="29"/>
                    <a:pt x="56" y="31"/>
                  </a:cubicBezTo>
                  <a:cubicBezTo>
                    <a:pt x="52" y="33"/>
                    <a:pt x="45" y="37"/>
                    <a:pt x="41" y="39"/>
                  </a:cubicBezTo>
                  <a:cubicBezTo>
                    <a:pt x="37" y="41"/>
                    <a:pt x="35" y="44"/>
                    <a:pt x="29" y="43"/>
                  </a:cubicBezTo>
                  <a:cubicBezTo>
                    <a:pt x="23" y="48"/>
                    <a:pt x="9" y="38"/>
                    <a:pt x="4" y="34"/>
                  </a:cubicBezTo>
                  <a:cubicBezTo>
                    <a:pt x="0" y="30"/>
                    <a:pt x="0" y="22"/>
                    <a:pt x="2" y="18"/>
                  </a:cubicBezTo>
                  <a:cubicBezTo>
                    <a:pt x="7" y="14"/>
                    <a:pt x="18" y="17"/>
                    <a:pt x="13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1" name="Freeform 69"/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4488578" y="2815117"/>
              <a:ext cx="84232" cy="95565"/>
            </a:xfrm>
            <a:custGeom>
              <a:avLst/>
              <a:gdLst>
                <a:gd name="T0" fmla="*/ 20 w 51"/>
                <a:gd name="T1" fmla="*/ 5 h 59"/>
                <a:gd name="T2" fmla="*/ 47 w 51"/>
                <a:gd name="T3" fmla="*/ 17 h 59"/>
                <a:gd name="T4" fmla="*/ 50 w 51"/>
                <a:gd name="T5" fmla="*/ 29 h 59"/>
                <a:gd name="T6" fmla="*/ 48 w 51"/>
                <a:gd name="T7" fmla="*/ 59 h 59"/>
                <a:gd name="T8" fmla="*/ 26 w 51"/>
                <a:gd name="T9" fmla="*/ 39 h 59"/>
                <a:gd name="T10" fmla="*/ 6 w 51"/>
                <a:gd name="T11" fmla="*/ 25 h 59"/>
                <a:gd name="T12" fmla="*/ 10 w 51"/>
                <a:gd name="T13" fmla="*/ 7 h 59"/>
                <a:gd name="T14" fmla="*/ 12 w 51"/>
                <a:gd name="T15" fmla="*/ 1 h 59"/>
                <a:gd name="T16" fmla="*/ 22 w 51"/>
                <a:gd name="T17" fmla="*/ 3 h 59"/>
                <a:gd name="T18" fmla="*/ 28 w 51"/>
                <a:gd name="T19" fmla="*/ 5 h 59"/>
                <a:gd name="T20" fmla="*/ 20 w 51"/>
                <a:gd name="T21" fmla="*/ 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59">
                  <a:moveTo>
                    <a:pt x="20" y="5"/>
                  </a:moveTo>
                  <a:cubicBezTo>
                    <a:pt x="27" y="7"/>
                    <a:pt x="40" y="15"/>
                    <a:pt x="47" y="17"/>
                  </a:cubicBezTo>
                  <a:cubicBezTo>
                    <a:pt x="51" y="24"/>
                    <a:pt x="47" y="21"/>
                    <a:pt x="50" y="29"/>
                  </a:cubicBezTo>
                  <a:cubicBezTo>
                    <a:pt x="47" y="38"/>
                    <a:pt x="49" y="50"/>
                    <a:pt x="48" y="59"/>
                  </a:cubicBezTo>
                  <a:cubicBezTo>
                    <a:pt x="26" y="55"/>
                    <a:pt x="42" y="49"/>
                    <a:pt x="26" y="39"/>
                  </a:cubicBezTo>
                  <a:cubicBezTo>
                    <a:pt x="23" y="31"/>
                    <a:pt x="14" y="28"/>
                    <a:pt x="6" y="25"/>
                  </a:cubicBezTo>
                  <a:cubicBezTo>
                    <a:pt x="0" y="16"/>
                    <a:pt x="3" y="14"/>
                    <a:pt x="10" y="7"/>
                  </a:cubicBezTo>
                  <a:cubicBezTo>
                    <a:pt x="11" y="5"/>
                    <a:pt x="10" y="2"/>
                    <a:pt x="12" y="1"/>
                  </a:cubicBezTo>
                  <a:cubicBezTo>
                    <a:pt x="15" y="0"/>
                    <a:pt x="19" y="2"/>
                    <a:pt x="22" y="3"/>
                  </a:cubicBezTo>
                  <a:cubicBezTo>
                    <a:pt x="24" y="4"/>
                    <a:pt x="29" y="4"/>
                    <a:pt x="28" y="5"/>
                  </a:cubicBezTo>
                  <a:cubicBezTo>
                    <a:pt x="26" y="7"/>
                    <a:pt x="23" y="5"/>
                    <a:pt x="2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2" name="Freeform 70"/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5705079" y="3134207"/>
              <a:ext cx="336927" cy="239722"/>
            </a:xfrm>
            <a:custGeom>
              <a:avLst/>
              <a:gdLst>
                <a:gd name="T0" fmla="*/ 16 w 205"/>
                <a:gd name="T1" fmla="*/ 112 h 148"/>
                <a:gd name="T2" fmla="*/ 13 w 205"/>
                <a:gd name="T3" fmla="*/ 72 h 148"/>
                <a:gd name="T4" fmla="*/ 1 w 205"/>
                <a:gd name="T5" fmla="*/ 55 h 148"/>
                <a:gd name="T6" fmla="*/ 10 w 205"/>
                <a:gd name="T7" fmla="*/ 24 h 148"/>
                <a:gd name="T8" fmla="*/ 35 w 205"/>
                <a:gd name="T9" fmla="*/ 28 h 148"/>
                <a:gd name="T10" fmla="*/ 48 w 205"/>
                <a:gd name="T11" fmla="*/ 28 h 148"/>
                <a:gd name="T12" fmla="*/ 61 w 205"/>
                <a:gd name="T13" fmla="*/ 34 h 148"/>
                <a:gd name="T14" fmla="*/ 72 w 205"/>
                <a:gd name="T15" fmla="*/ 27 h 148"/>
                <a:gd name="T16" fmla="*/ 85 w 205"/>
                <a:gd name="T17" fmla="*/ 12 h 148"/>
                <a:gd name="T18" fmla="*/ 108 w 205"/>
                <a:gd name="T19" fmla="*/ 12 h 148"/>
                <a:gd name="T20" fmla="*/ 112 w 205"/>
                <a:gd name="T21" fmla="*/ 30 h 148"/>
                <a:gd name="T22" fmla="*/ 133 w 205"/>
                <a:gd name="T23" fmla="*/ 34 h 148"/>
                <a:gd name="T24" fmla="*/ 144 w 205"/>
                <a:gd name="T25" fmla="*/ 46 h 148"/>
                <a:gd name="T26" fmla="*/ 145 w 205"/>
                <a:gd name="T27" fmla="*/ 60 h 148"/>
                <a:gd name="T28" fmla="*/ 171 w 205"/>
                <a:gd name="T29" fmla="*/ 81 h 148"/>
                <a:gd name="T30" fmla="*/ 195 w 205"/>
                <a:gd name="T31" fmla="*/ 94 h 148"/>
                <a:gd name="T32" fmla="*/ 205 w 205"/>
                <a:gd name="T33" fmla="*/ 105 h 148"/>
                <a:gd name="T34" fmla="*/ 186 w 205"/>
                <a:gd name="T35" fmla="*/ 111 h 148"/>
                <a:gd name="T36" fmla="*/ 177 w 205"/>
                <a:gd name="T37" fmla="*/ 130 h 148"/>
                <a:gd name="T38" fmla="*/ 163 w 205"/>
                <a:gd name="T39" fmla="*/ 139 h 148"/>
                <a:gd name="T40" fmla="*/ 151 w 205"/>
                <a:gd name="T41" fmla="*/ 148 h 148"/>
                <a:gd name="T42" fmla="*/ 130 w 205"/>
                <a:gd name="T43" fmla="*/ 141 h 148"/>
                <a:gd name="T44" fmla="*/ 112 w 205"/>
                <a:gd name="T45" fmla="*/ 123 h 148"/>
                <a:gd name="T46" fmla="*/ 100 w 205"/>
                <a:gd name="T47" fmla="*/ 114 h 148"/>
                <a:gd name="T48" fmla="*/ 82 w 205"/>
                <a:gd name="T49" fmla="*/ 105 h 148"/>
                <a:gd name="T50" fmla="*/ 59 w 205"/>
                <a:gd name="T51" fmla="*/ 100 h 148"/>
                <a:gd name="T52" fmla="*/ 39 w 205"/>
                <a:gd name="T53" fmla="*/ 102 h 148"/>
                <a:gd name="T54" fmla="*/ 24 w 205"/>
                <a:gd name="T55" fmla="*/ 106 h 148"/>
                <a:gd name="T56" fmla="*/ 16 w 205"/>
                <a:gd name="T57" fmla="*/ 11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5" h="148">
                  <a:moveTo>
                    <a:pt x="16" y="112"/>
                  </a:moveTo>
                  <a:cubicBezTo>
                    <a:pt x="22" y="99"/>
                    <a:pt x="21" y="83"/>
                    <a:pt x="13" y="72"/>
                  </a:cubicBezTo>
                  <a:cubicBezTo>
                    <a:pt x="12" y="65"/>
                    <a:pt x="5" y="61"/>
                    <a:pt x="1" y="55"/>
                  </a:cubicBezTo>
                  <a:cubicBezTo>
                    <a:pt x="2" y="44"/>
                    <a:pt x="0" y="31"/>
                    <a:pt x="10" y="24"/>
                  </a:cubicBezTo>
                  <a:cubicBezTo>
                    <a:pt x="16" y="20"/>
                    <a:pt x="29" y="26"/>
                    <a:pt x="35" y="28"/>
                  </a:cubicBezTo>
                  <a:cubicBezTo>
                    <a:pt x="41" y="29"/>
                    <a:pt x="44" y="27"/>
                    <a:pt x="48" y="28"/>
                  </a:cubicBezTo>
                  <a:cubicBezTo>
                    <a:pt x="56" y="30"/>
                    <a:pt x="57" y="34"/>
                    <a:pt x="61" y="34"/>
                  </a:cubicBezTo>
                  <a:cubicBezTo>
                    <a:pt x="65" y="34"/>
                    <a:pt x="68" y="31"/>
                    <a:pt x="72" y="27"/>
                  </a:cubicBezTo>
                  <a:cubicBezTo>
                    <a:pt x="73" y="11"/>
                    <a:pt x="72" y="16"/>
                    <a:pt x="85" y="12"/>
                  </a:cubicBezTo>
                  <a:cubicBezTo>
                    <a:pt x="92" y="14"/>
                    <a:pt x="101" y="9"/>
                    <a:pt x="108" y="12"/>
                  </a:cubicBezTo>
                  <a:cubicBezTo>
                    <a:pt x="118" y="25"/>
                    <a:pt x="100" y="0"/>
                    <a:pt x="112" y="30"/>
                  </a:cubicBezTo>
                  <a:cubicBezTo>
                    <a:pt x="113" y="32"/>
                    <a:pt x="130" y="34"/>
                    <a:pt x="133" y="34"/>
                  </a:cubicBezTo>
                  <a:cubicBezTo>
                    <a:pt x="137" y="38"/>
                    <a:pt x="141" y="41"/>
                    <a:pt x="144" y="46"/>
                  </a:cubicBezTo>
                  <a:cubicBezTo>
                    <a:pt x="144" y="51"/>
                    <a:pt x="143" y="56"/>
                    <a:pt x="145" y="60"/>
                  </a:cubicBezTo>
                  <a:cubicBezTo>
                    <a:pt x="146" y="62"/>
                    <a:pt x="168" y="80"/>
                    <a:pt x="171" y="81"/>
                  </a:cubicBezTo>
                  <a:cubicBezTo>
                    <a:pt x="177" y="89"/>
                    <a:pt x="185" y="92"/>
                    <a:pt x="195" y="94"/>
                  </a:cubicBezTo>
                  <a:cubicBezTo>
                    <a:pt x="200" y="98"/>
                    <a:pt x="204" y="98"/>
                    <a:pt x="205" y="105"/>
                  </a:cubicBezTo>
                  <a:cubicBezTo>
                    <a:pt x="199" y="109"/>
                    <a:pt x="193" y="109"/>
                    <a:pt x="186" y="111"/>
                  </a:cubicBezTo>
                  <a:cubicBezTo>
                    <a:pt x="175" y="118"/>
                    <a:pt x="182" y="117"/>
                    <a:pt x="177" y="130"/>
                  </a:cubicBezTo>
                  <a:cubicBezTo>
                    <a:pt x="175" y="135"/>
                    <a:pt x="163" y="139"/>
                    <a:pt x="163" y="139"/>
                  </a:cubicBezTo>
                  <a:cubicBezTo>
                    <a:pt x="159" y="145"/>
                    <a:pt x="158" y="147"/>
                    <a:pt x="151" y="148"/>
                  </a:cubicBezTo>
                  <a:cubicBezTo>
                    <a:pt x="139" y="147"/>
                    <a:pt x="139" y="146"/>
                    <a:pt x="130" y="141"/>
                  </a:cubicBezTo>
                  <a:cubicBezTo>
                    <a:pt x="128" y="131"/>
                    <a:pt x="120" y="128"/>
                    <a:pt x="112" y="123"/>
                  </a:cubicBezTo>
                  <a:cubicBezTo>
                    <a:pt x="108" y="117"/>
                    <a:pt x="107" y="115"/>
                    <a:pt x="100" y="114"/>
                  </a:cubicBezTo>
                  <a:cubicBezTo>
                    <a:pt x="94" y="110"/>
                    <a:pt x="89" y="106"/>
                    <a:pt x="82" y="105"/>
                  </a:cubicBezTo>
                  <a:cubicBezTo>
                    <a:pt x="75" y="103"/>
                    <a:pt x="66" y="100"/>
                    <a:pt x="59" y="100"/>
                  </a:cubicBezTo>
                  <a:cubicBezTo>
                    <a:pt x="52" y="100"/>
                    <a:pt x="45" y="101"/>
                    <a:pt x="39" y="102"/>
                  </a:cubicBezTo>
                  <a:cubicBezTo>
                    <a:pt x="34" y="103"/>
                    <a:pt x="29" y="105"/>
                    <a:pt x="24" y="106"/>
                  </a:cubicBezTo>
                  <a:cubicBezTo>
                    <a:pt x="17" y="109"/>
                    <a:pt x="20" y="107"/>
                    <a:pt x="16" y="1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3" name="Freeform 71"/>
            <p:cNvSpPr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4943754" y="2554338"/>
              <a:ext cx="181422" cy="116622"/>
            </a:xfrm>
            <a:custGeom>
              <a:avLst/>
              <a:gdLst>
                <a:gd name="T0" fmla="*/ 46 w 110"/>
                <a:gd name="T1" fmla="*/ 8 h 72"/>
                <a:gd name="T2" fmla="*/ 34 w 110"/>
                <a:gd name="T3" fmla="*/ 29 h 72"/>
                <a:gd name="T4" fmla="*/ 13 w 110"/>
                <a:gd name="T5" fmla="*/ 22 h 72"/>
                <a:gd name="T6" fmla="*/ 0 w 110"/>
                <a:gd name="T7" fmla="*/ 50 h 72"/>
                <a:gd name="T8" fmla="*/ 52 w 110"/>
                <a:gd name="T9" fmla="*/ 49 h 72"/>
                <a:gd name="T10" fmla="*/ 81 w 110"/>
                <a:gd name="T11" fmla="*/ 70 h 72"/>
                <a:gd name="T12" fmla="*/ 100 w 110"/>
                <a:gd name="T13" fmla="*/ 61 h 72"/>
                <a:gd name="T14" fmla="*/ 100 w 110"/>
                <a:gd name="T15" fmla="*/ 11 h 72"/>
                <a:gd name="T16" fmla="*/ 87 w 110"/>
                <a:gd name="T17" fmla="*/ 17 h 72"/>
                <a:gd name="T18" fmla="*/ 66 w 110"/>
                <a:gd name="T19" fmla="*/ 10 h 72"/>
                <a:gd name="T20" fmla="*/ 46 w 110"/>
                <a:gd name="T21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72">
                  <a:moveTo>
                    <a:pt x="46" y="8"/>
                  </a:moveTo>
                  <a:cubicBezTo>
                    <a:pt x="45" y="21"/>
                    <a:pt x="47" y="26"/>
                    <a:pt x="34" y="29"/>
                  </a:cubicBezTo>
                  <a:cubicBezTo>
                    <a:pt x="26" y="28"/>
                    <a:pt x="21" y="23"/>
                    <a:pt x="13" y="22"/>
                  </a:cubicBezTo>
                  <a:cubicBezTo>
                    <a:pt x="0" y="15"/>
                    <a:pt x="7" y="40"/>
                    <a:pt x="0" y="50"/>
                  </a:cubicBezTo>
                  <a:cubicBezTo>
                    <a:pt x="6" y="56"/>
                    <a:pt x="35" y="47"/>
                    <a:pt x="52" y="49"/>
                  </a:cubicBezTo>
                  <a:cubicBezTo>
                    <a:pt x="65" y="52"/>
                    <a:pt x="73" y="68"/>
                    <a:pt x="81" y="70"/>
                  </a:cubicBezTo>
                  <a:cubicBezTo>
                    <a:pt x="89" y="72"/>
                    <a:pt x="97" y="71"/>
                    <a:pt x="100" y="61"/>
                  </a:cubicBezTo>
                  <a:cubicBezTo>
                    <a:pt x="109" y="46"/>
                    <a:pt x="110" y="27"/>
                    <a:pt x="100" y="11"/>
                  </a:cubicBezTo>
                  <a:cubicBezTo>
                    <a:pt x="95" y="13"/>
                    <a:pt x="91" y="14"/>
                    <a:pt x="87" y="17"/>
                  </a:cubicBezTo>
                  <a:cubicBezTo>
                    <a:pt x="77" y="16"/>
                    <a:pt x="73" y="17"/>
                    <a:pt x="66" y="10"/>
                  </a:cubicBezTo>
                  <a:cubicBezTo>
                    <a:pt x="62" y="0"/>
                    <a:pt x="55" y="5"/>
                    <a:pt x="46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4" name="Freeform 72"/>
            <p:cNvSpPr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4935654" y="2633706"/>
              <a:ext cx="142546" cy="102044"/>
            </a:xfrm>
            <a:custGeom>
              <a:avLst/>
              <a:gdLst>
                <a:gd name="T0" fmla="*/ 8 w 86"/>
                <a:gd name="T1" fmla="*/ 4 h 63"/>
                <a:gd name="T2" fmla="*/ 5 w 86"/>
                <a:gd name="T3" fmla="*/ 25 h 63"/>
                <a:gd name="T4" fmla="*/ 26 w 86"/>
                <a:gd name="T5" fmla="*/ 45 h 63"/>
                <a:gd name="T6" fmla="*/ 30 w 86"/>
                <a:gd name="T7" fmla="*/ 58 h 63"/>
                <a:gd name="T8" fmla="*/ 47 w 86"/>
                <a:gd name="T9" fmla="*/ 63 h 63"/>
                <a:gd name="T10" fmla="*/ 66 w 86"/>
                <a:gd name="T11" fmla="*/ 58 h 63"/>
                <a:gd name="T12" fmla="*/ 72 w 86"/>
                <a:gd name="T13" fmla="*/ 46 h 63"/>
                <a:gd name="T14" fmla="*/ 86 w 86"/>
                <a:gd name="T15" fmla="*/ 28 h 63"/>
                <a:gd name="T16" fmla="*/ 78 w 86"/>
                <a:gd name="T17" fmla="*/ 16 h 63"/>
                <a:gd name="T18" fmla="*/ 63 w 86"/>
                <a:gd name="T19" fmla="*/ 3 h 63"/>
                <a:gd name="T20" fmla="*/ 41 w 86"/>
                <a:gd name="T21" fmla="*/ 1 h 63"/>
                <a:gd name="T22" fmla="*/ 8 w 86"/>
                <a:gd name="T23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3">
                  <a:moveTo>
                    <a:pt x="8" y="4"/>
                  </a:moveTo>
                  <a:cubicBezTo>
                    <a:pt x="0" y="7"/>
                    <a:pt x="2" y="18"/>
                    <a:pt x="5" y="25"/>
                  </a:cubicBezTo>
                  <a:cubicBezTo>
                    <a:pt x="8" y="32"/>
                    <a:pt x="22" y="40"/>
                    <a:pt x="26" y="45"/>
                  </a:cubicBezTo>
                  <a:cubicBezTo>
                    <a:pt x="31" y="51"/>
                    <a:pt x="24" y="54"/>
                    <a:pt x="30" y="58"/>
                  </a:cubicBezTo>
                  <a:cubicBezTo>
                    <a:pt x="33" y="61"/>
                    <a:pt x="41" y="63"/>
                    <a:pt x="47" y="63"/>
                  </a:cubicBezTo>
                  <a:cubicBezTo>
                    <a:pt x="53" y="63"/>
                    <a:pt x="62" y="61"/>
                    <a:pt x="66" y="58"/>
                  </a:cubicBezTo>
                  <a:cubicBezTo>
                    <a:pt x="70" y="56"/>
                    <a:pt x="71" y="50"/>
                    <a:pt x="72" y="46"/>
                  </a:cubicBezTo>
                  <a:cubicBezTo>
                    <a:pt x="73" y="40"/>
                    <a:pt x="83" y="33"/>
                    <a:pt x="86" y="28"/>
                  </a:cubicBezTo>
                  <a:cubicBezTo>
                    <a:pt x="83" y="22"/>
                    <a:pt x="84" y="20"/>
                    <a:pt x="78" y="16"/>
                  </a:cubicBezTo>
                  <a:cubicBezTo>
                    <a:pt x="74" y="11"/>
                    <a:pt x="68" y="6"/>
                    <a:pt x="63" y="3"/>
                  </a:cubicBezTo>
                  <a:cubicBezTo>
                    <a:pt x="57" y="1"/>
                    <a:pt x="50" y="0"/>
                    <a:pt x="41" y="1"/>
                  </a:cubicBezTo>
                  <a:cubicBezTo>
                    <a:pt x="32" y="1"/>
                    <a:pt x="15" y="3"/>
                    <a:pt x="8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5" name="Freeform 73"/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992350" y="2649903"/>
              <a:ext cx="210579" cy="189511"/>
            </a:xfrm>
            <a:custGeom>
              <a:avLst/>
              <a:gdLst>
                <a:gd name="T0" fmla="*/ 11 w 128"/>
                <a:gd name="T1" fmla="*/ 54 h 117"/>
                <a:gd name="T2" fmla="*/ 2 w 128"/>
                <a:gd name="T3" fmla="*/ 92 h 117"/>
                <a:gd name="T4" fmla="*/ 10 w 128"/>
                <a:gd name="T5" fmla="*/ 114 h 117"/>
                <a:gd name="T6" fmla="*/ 22 w 128"/>
                <a:gd name="T7" fmla="*/ 110 h 117"/>
                <a:gd name="T8" fmla="*/ 61 w 128"/>
                <a:gd name="T9" fmla="*/ 110 h 117"/>
                <a:gd name="T10" fmla="*/ 83 w 128"/>
                <a:gd name="T11" fmla="*/ 114 h 117"/>
                <a:gd name="T12" fmla="*/ 107 w 128"/>
                <a:gd name="T13" fmla="*/ 109 h 117"/>
                <a:gd name="T14" fmla="*/ 118 w 128"/>
                <a:gd name="T15" fmla="*/ 102 h 117"/>
                <a:gd name="T16" fmla="*/ 124 w 128"/>
                <a:gd name="T17" fmla="*/ 84 h 117"/>
                <a:gd name="T18" fmla="*/ 122 w 128"/>
                <a:gd name="T19" fmla="*/ 68 h 117"/>
                <a:gd name="T20" fmla="*/ 119 w 128"/>
                <a:gd name="T21" fmla="*/ 51 h 117"/>
                <a:gd name="T22" fmla="*/ 104 w 128"/>
                <a:gd name="T23" fmla="*/ 23 h 117"/>
                <a:gd name="T24" fmla="*/ 91 w 128"/>
                <a:gd name="T25" fmla="*/ 6 h 117"/>
                <a:gd name="T26" fmla="*/ 74 w 128"/>
                <a:gd name="T27" fmla="*/ 2 h 117"/>
                <a:gd name="T28" fmla="*/ 56 w 128"/>
                <a:gd name="T29" fmla="*/ 15 h 117"/>
                <a:gd name="T30" fmla="*/ 44 w 128"/>
                <a:gd name="T31" fmla="*/ 26 h 117"/>
                <a:gd name="T32" fmla="*/ 41 w 128"/>
                <a:gd name="T33" fmla="*/ 37 h 117"/>
                <a:gd name="T34" fmla="*/ 35 w 128"/>
                <a:gd name="T35" fmla="*/ 48 h 117"/>
                <a:gd name="T36" fmla="*/ 23 w 128"/>
                <a:gd name="T37" fmla="*/ 53 h 117"/>
                <a:gd name="T38" fmla="*/ 11 w 128"/>
                <a:gd name="T3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17">
                  <a:moveTo>
                    <a:pt x="11" y="54"/>
                  </a:moveTo>
                  <a:cubicBezTo>
                    <a:pt x="8" y="67"/>
                    <a:pt x="14" y="85"/>
                    <a:pt x="2" y="92"/>
                  </a:cubicBezTo>
                  <a:cubicBezTo>
                    <a:pt x="2" y="100"/>
                    <a:pt x="0" y="111"/>
                    <a:pt x="10" y="114"/>
                  </a:cubicBezTo>
                  <a:cubicBezTo>
                    <a:pt x="13" y="117"/>
                    <a:pt x="14" y="111"/>
                    <a:pt x="22" y="110"/>
                  </a:cubicBezTo>
                  <a:cubicBezTo>
                    <a:pt x="30" y="109"/>
                    <a:pt x="51" y="109"/>
                    <a:pt x="61" y="110"/>
                  </a:cubicBezTo>
                  <a:cubicBezTo>
                    <a:pt x="68" y="114"/>
                    <a:pt x="76" y="109"/>
                    <a:pt x="83" y="114"/>
                  </a:cubicBezTo>
                  <a:cubicBezTo>
                    <a:pt x="91" y="114"/>
                    <a:pt x="101" y="111"/>
                    <a:pt x="107" y="109"/>
                  </a:cubicBezTo>
                  <a:cubicBezTo>
                    <a:pt x="113" y="107"/>
                    <a:pt x="115" y="106"/>
                    <a:pt x="118" y="102"/>
                  </a:cubicBezTo>
                  <a:cubicBezTo>
                    <a:pt x="119" y="94"/>
                    <a:pt x="128" y="89"/>
                    <a:pt x="124" y="84"/>
                  </a:cubicBezTo>
                  <a:cubicBezTo>
                    <a:pt x="122" y="76"/>
                    <a:pt x="118" y="75"/>
                    <a:pt x="122" y="68"/>
                  </a:cubicBezTo>
                  <a:cubicBezTo>
                    <a:pt x="119" y="62"/>
                    <a:pt x="121" y="57"/>
                    <a:pt x="119" y="51"/>
                  </a:cubicBezTo>
                  <a:cubicBezTo>
                    <a:pt x="117" y="40"/>
                    <a:pt x="116" y="25"/>
                    <a:pt x="104" y="23"/>
                  </a:cubicBezTo>
                  <a:cubicBezTo>
                    <a:pt x="98" y="19"/>
                    <a:pt x="91" y="6"/>
                    <a:pt x="91" y="6"/>
                  </a:cubicBezTo>
                  <a:cubicBezTo>
                    <a:pt x="87" y="0"/>
                    <a:pt x="81" y="3"/>
                    <a:pt x="74" y="2"/>
                  </a:cubicBezTo>
                  <a:cubicBezTo>
                    <a:pt x="67" y="6"/>
                    <a:pt x="64" y="14"/>
                    <a:pt x="56" y="15"/>
                  </a:cubicBezTo>
                  <a:cubicBezTo>
                    <a:pt x="53" y="20"/>
                    <a:pt x="47" y="21"/>
                    <a:pt x="44" y="26"/>
                  </a:cubicBezTo>
                  <a:cubicBezTo>
                    <a:pt x="42" y="30"/>
                    <a:pt x="42" y="33"/>
                    <a:pt x="41" y="37"/>
                  </a:cubicBezTo>
                  <a:cubicBezTo>
                    <a:pt x="40" y="41"/>
                    <a:pt x="38" y="45"/>
                    <a:pt x="35" y="48"/>
                  </a:cubicBezTo>
                  <a:cubicBezTo>
                    <a:pt x="26" y="47"/>
                    <a:pt x="27" y="52"/>
                    <a:pt x="23" y="53"/>
                  </a:cubicBezTo>
                  <a:cubicBezTo>
                    <a:pt x="19" y="54"/>
                    <a:pt x="13" y="54"/>
                    <a:pt x="11" y="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6" name="Freeform 74"/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4564712" y="2711453"/>
              <a:ext cx="212200" cy="270498"/>
            </a:xfrm>
            <a:custGeom>
              <a:avLst/>
              <a:gdLst>
                <a:gd name="T0" fmla="*/ 3 w 129"/>
                <a:gd name="T1" fmla="*/ 127 h 167"/>
                <a:gd name="T2" fmla="*/ 4 w 129"/>
                <a:gd name="T3" fmla="*/ 109 h 167"/>
                <a:gd name="T4" fmla="*/ 3 w 129"/>
                <a:gd name="T5" fmla="*/ 88 h 167"/>
                <a:gd name="T6" fmla="*/ 7 w 129"/>
                <a:gd name="T7" fmla="*/ 69 h 167"/>
                <a:gd name="T8" fmla="*/ 15 w 129"/>
                <a:gd name="T9" fmla="*/ 52 h 167"/>
                <a:gd name="T10" fmla="*/ 24 w 129"/>
                <a:gd name="T11" fmla="*/ 28 h 167"/>
                <a:gd name="T12" fmla="*/ 52 w 129"/>
                <a:gd name="T13" fmla="*/ 22 h 167"/>
                <a:gd name="T14" fmla="*/ 57 w 129"/>
                <a:gd name="T15" fmla="*/ 0 h 167"/>
                <a:gd name="T16" fmla="*/ 75 w 129"/>
                <a:gd name="T17" fmla="*/ 13 h 167"/>
                <a:gd name="T18" fmla="*/ 87 w 129"/>
                <a:gd name="T19" fmla="*/ 21 h 167"/>
                <a:gd name="T20" fmla="*/ 114 w 129"/>
                <a:gd name="T21" fmla="*/ 13 h 167"/>
                <a:gd name="T22" fmla="*/ 123 w 129"/>
                <a:gd name="T23" fmla="*/ 27 h 167"/>
                <a:gd name="T24" fmla="*/ 129 w 129"/>
                <a:gd name="T25" fmla="*/ 58 h 167"/>
                <a:gd name="T26" fmla="*/ 126 w 129"/>
                <a:gd name="T27" fmla="*/ 88 h 167"/>
                <a:gd name="T28" fmla="*/ 111 w 129"/>
                <a:gd name="T29" fmla="*/ 100 h 167"/>
                <a:gd name="T30" fmla="*/ 97 w 129"/>
                <a:gd name="T31" fmla="*/ 108 h 167"/>
                <a:gd name="T32" fmla="*/ 97 w 129"/>
                <a:gd name="T33" fmla="*/ 120 h 167"/>
                <a:gd name="T34" fmla="*/ 111 w 129"/>
                <a:gd name="T35" fmla="*/ 129 h 167"/>
                <a:gd name="T36" fmla="*/ 103 w 129"/>
                <a:gd name="T37" fmla="*/ 156 h 167"/>
                <a:gd name="T38" fmla="*/ 96 w 129"/>
                <a:gd name="T39" fmla="*/ 165 h 167"/>
                <a:gd name="T40" fmla="*/ 76 w 129"/>
                <a:gd name="T41" fmla="*/ 166 h 167"/>
                <a:gd name="T42" fmla="*/ 28 w 129"/>
                <a:gd name="T43" fmla="*/ 159 h 167"/>
                <a:gd name="T44" fmla="*/ 30 w 129"/>
                <a:gd name="T45" fmla="*/ 141 h 167"/>
                <a:gd name="T46" fmla="*/ 16 w 129"/>
                <a:gd name="T47" fmla="*/ 129 h 167"/>
                <a:gd name="T48" fmla="*/ 3 w 129"/>
                <a:gd name="T49" fmla="*/ 12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67">
                  <a:moveTo>
                    <a:pt x="3" y="127"/>
                  </a:moveTo>
                  <a:cubicBezTo>
                    <a:pt x="0" y="123"/>
                    <a:pt x="3" y="119"/>
                    <a:pt x="4" y="109"/>
                  </a:cubicBezTo>
                  <a:cubicBezTo>
                    <a:pt x="4" y="103"/>
                    <a:pt x="2" y="95"/>
                    <a:pt x="3" y="88"/>
                  </a:cubicBezTo>
                  <a:cubicBezTo>
                    <a:pt x="4" y="81"/>
                    <a:pt x="5" y="75"/>
                    <a:pt x="7" y="69"/>
                  </a:cubicBezTo>
                  <a:cubicBezTo>
                    <a:pt x="8" y="59"/>
                    <a:pt x="10" y="58"/>
                    <a:pt x="15" y="52"/>
                  </a:cubicBezTo>
                  <a:cubicBezTo>
                    <a:pt x="18" y="45"/>
                    <a:pt x="18" y="33"/>
                    <a:pt x="24" y="28"/>
                  </a:cubicBezTo>
                  <a:cubicBezTo>
                    <a:pt x="28" y="17"/>
                    <a:pt x="39" y="24"/>
                    <a:pt x="52" y="22"/>
                  </a:cubicBezTo>
                  <a:cubicBezTo>
                    <a:pt x="54" y="14"/>
                    <a:pt x="46" y="2"/>
                    <a:pt x="57" y="0"/>
                  </a:cubicBezTo>
                  <a:cubicBezTo>
                    <a:pt x="70" y="1"/>
                    <a:pt x="68" y="4"/>
                    <a:pt x="75" y="13"/>
                  </a:cubicBezTo>
                  <a:cubicBezTo>
                    <a:pt x="77" y="22"/>
                    <a:pt x="78" y="22"/>
                    <a:pt x="87" y="21"/>
                  </a:cubicBezTo>
                  <a:cubicBezTo>
                    <a:pt x="95" y="8"/>
                    <a:pt x="92" y="12"/>
                    <a:pt x="114" y="13"/>
                  </a:cubicBezTo>
                  <a:cubicBezTo>
                    <a:pt x="115" y="20"/>
                    <a:pt x="120" y="20"/>
                    <a:pt x="123" y="27"/>
                  </a:cubicBezTo>
                  <a:cubicBezTo>
                    <a:pt x="124" y="37"/>
                    <a:pt x="124" y="49"/>
                    <a:pt x="129" y="58"/>
                  </a:cubicBezTo>
                  <a:cubicBezTo>
                    <a:pt x="129" y="69"/>
                    <a:pt x="129" y="81"/>
                    <a:pt x="126" y="88"/>
                  </a:cubicBezTo>
                  <a:cubicBezTo>
                    <a:pt x="123" y="95"/>
                    <a:pt x="116" y="97"/>
                    <a:pt x="111" y="100"/>
                  </a:cubicBezTo>
                  <a:cubicBezTo>
                    <a:pt x="104" y="105"/>
                    <a:pt x="102" y="100"/>
                    <a:pt x="97" y="108"/>
                  </a:cubicBezTo>
                  <a:cubicBezTo>
                    <a:pt x="96" y="111"/>
                    <a:pt x="95" y="116"/>
                    <a:pt x="97" y="120"/>
                  </a:cubicBezTo>
                  <a:cubicBezTo>
                    <a:pt x="99" y="124"/>
                    <a:pt x="110" y="123"/>
                    <a:pt x="111" y="129"/>
                  </a:cubicBezTo>
                  <a:cubicBezTo>
                    <a:pt x="113" y="142"/>
                    <a:pt x="108" y="145"/>
                    <a:pt x="103" y="156"/>
                  </a:cubicBezTo>
                  <a:cubicBezTo>
                    <a:pt x="100" y="162"/>
                    <a:pt x="100" y="163"/>
                    <a:pt x="96" y="165"/>
                  </a:cubicBezTo>
                  <a:cubicBezTo>
                    <a:pt x="92" y="167"/>
                    <a:pt x="87" y="167"/>
                    <a:pt x="76" y="166"/>
                  </a:cubicBezTo>
                  <a:cubicBezTo>
                    <a:pt x="60" y="154"/>
                    <a:pt x="59" y="160"/>
                    <a:pt x="28" y="159"/>
                  </a:cubicBezTo>
                  <a:cubicBezTo>
                    <a:pt x="20" y="155"/>
                    <a:pt x="32" y="146"/>
                    <a:pt x="30" y="141"/>
                  </a:cubicBezTo>
                  <a:cubicBezTo>
                    <a:pt x="28" y="136"/>
                    <a:pt x="20" y="131"/>
                    <a:pt x="16" y="129"/>
                  </a:cubicBezTo>
                  <a:cubicBezTo>
                    <a:pt x="11" y="126"/>
                    <a:pt x="3" y="131"/>
                    <a:pt x="3" y="1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7" name="Freeform 75"/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4517736" y="2740609"/>
              <a:ext cx="92331" cy="102044"/>
            </a:xfrm>
            <a:custGeom>
              <a:avLst/>
              <a:gdLst>
                <a:gd name="T0" fmla="*/ 7 w 56"/>
                <a:gd name="T1" fmla="*/ 52 h 63"/>
                <a:gd name="T2" fmla="*/ 10 w 56"/>
                <a:gd name="T3" fmla="*/ 35 h 63"/>
                <a:gd name="T4" fmla="*/ 14 w 56"/>
                <a:gd name="T5" fmla="*/ 17 h 63"/>
                <a:gd name="T6" fmla="*/ 50 w 56"/>
                <a:gd name="T7" fmla="*/ 9 h 63"/>
                <a:gd name="T8" fmla="*/ 44 w 56"/>
                <a:gd name="T9" fmla="*/ 27 h 63"/>
                <a:gd name="T10" fmla="*/ 38 w 56"/>
                <a:gd name="T11" fmla="*/ 46 h 63"/>
                <a:gd name="T12" fmla="*/ 28 w 56"/>
                <a:gd name="T13" fmla="*/ 63 h 63"/>
                <a:gd name="T14" fmla="*/ 7 w 56"/>
                <a:gd name="T15" fmla="*/ 5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3">
                  <a:moveTo>
                    <a:pt x="7" y="52"/>
                  </a:moveTo>
                  <a:cubicBezTo>
                    <a:pt x="12" y="38"/>
                    <a:pt x="0" y="41"/>
                    <a:pt x="10" y="35"/>
                  </a:cubicBezTo>
                  <a:cubicBezTo>
                    <a:pt x="15" y="28"/>
                    <a:pt x="17" y="25"/>
                    <a:pt x="14" y="17"/>
                  </a:cubicBezTo>
                  <a:cubicBezTo>
                    <a:pt x="20" y="0"/>
                    <a:pt x="32" y="8"/>
                    <a:pt x="50" y="9"/>
                  </a:cubicBezTo>
                  <a:cubicBezTo>
                    <a:pt x="56" y="11"/>
                    <a:pt x="46" y="21"/>
                    <a:pt x="44" y="27"/>
                  </a:cubicBezTo>
                  <a:cubicBezTo>
                    <a:pt x="42" y="33"/>
                    <a:pt x="33" y="40"/>
                    <a:pt x="38" y="46"/>
                  </a:cubicBezTo>
                  <a:cubicBezTo>
                    <a:pt x="33" y="54"/>
                    <a:pt x="37" y="60"/>
                    <a:pt x="28" y="63"/>
                  </a:cubicBezTo>
                  <a:cubicBezTo>
                    <a:pt x="18" y="60"/>
                    <a:pt x="14" y="59"/>
                    <a:pt x="7" y="5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8" name="Freeform 77"/>
            <p:cNvSpPr>
              <a:spLocks/>
            </p:cNvSpPr>
            <p:nvPr>
              <p:custDataLst>
                <p:tags r:id="rId64"/>
              </p:custDataLst>
            </p:nvPr>
          </p:nvSpPr>
          <p:spPr bwMode="gray">
            <a:xfrm>
              <a:off x="4896609" y="3179560"/>
              <a:ext cx="160534" cy="184867"/>
            </a:xfrm>
            <a:custGeom>
              <a:avLst/>
              <a:gdLst/>
              <a:ahLst/>
              <a:cxnLst/>
              <a:rect l="l" t="t" r="r" b="b"/>
              <a:pathLst>
                <a:path w="157329" h="181187">
                  <a:moveTo>
                    <a:pt x="93201" y="149225"/>
                  </a:moveTo>
                  <a:cubicBezTo>
                    <a:pt x="128471" y="153988"/>
                    <a:pt x="114043" y="166688"/>
                    <a:pt x="157329" y="171450"/>
                  </a:cubicBezTo>
                  <a:cubicBezTo>
                    <a:pt x="136488" y="185738"/>
                    <a:pt x="133281" y="180976"/>
                    <a:pt x="102820" y="177801"/>
                  </a:cubicBezTo>
                  <a:cubicBezTo>
                    <a:pt x="91598" y="169863"/>
                    <a:pt x="85185" y="171450"/>
                    <a:pt x="80375" y="158750"/>
                  </a:cubicBezTo>
                  <a:cubicBezTo>
                    <a:pt x="91598" y="155575"/>
                    <a:pt x="88391" y="158750"/>
                    <a:pt x="93201" y="149225"/>
                  </a:cubicBezTo>
                  <a:close/>
                  <a:moveTo>
                    <a:pt x="112439" y="0"/>
                  </a:moveTo>
                  <a:cubicBezTo>
                    <a:pt x="96407" y="15875"/>
                    <a:pt x="110836" y="-3175"/>
                    <a:pt x="115645" y="12700"/>
                  </a:cubicBezTo>
                  <a:cubicBezTo>
                    <a:pt x="110836" y="30162"/>
                    <a:pt x="67548" y="46037"/>
                    <a:pt x="56326" y="65087"/>
                  </a:cubicBezTo>
                  <a:cubicBezTo>
                    <a:pt x="46707" y="80962"/>
                    <a:pt x="57929" y="103187"/>
                    <a:pt x="56326" y="112712"/>
                  </a:cubicBezTo>
                  <a:cubicBezTo>
                    <a:pt x="54723" y="122237"/>
                    <a:pt x="49913" y="130175"/>
                    <a:pt x="41897" y="120650"/>
                  </a:cubicBezTo>
                  <a:cubicBezTo>
                    <a:pt x="13039" y="101600"/>
                    <a:pt x="9833" y="92075"/>
                    <a:pt x="3420" y="57150"/>
                  </a:cubicBezTo>
                  <a:cubicBezTo>
                    <a:pt x="1817" y="50800"/>
                    <a:pt x="-187" y="48815"/>
                    <a:pt x="13" y="47823"/>
                  </a:cubicBezTo>
                  <a:lnTo>
                    <a:pt x="9833" y="44450"/>
                  </a:lnTo>
                  <a:cubicBezTo>
                    <a:pt x="16246" y="42862"/>
                    <a:pt x="30674" y="50800"/>
                    <a:pt x="38691" y="46037"/>
                  </a:cubicBezTo>
                  <a:cubicBezTo>
                    <a:pt x="46707" y="41275"/>
                    <a:pt x="54723" y="19050"/>
                    <a:pt x="61136" y="14287"/>
                  </a:cubicBezTo>
                  <a:cubicBezTo>
                    <a:pt x="61136" y="14287"/>
                    <a:pt x="67548" y="9525"/>
                    <a:pt x="73961" y="6350"/>
                  </a:cubicBezTo>
                  <a:cubicBezTo>
                    <a:pt x="85184" y="0"/>
                    <a:pt x="99613" y="4762"/>
                    <a:pt x="11243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9" name="Freeform 79"/>
            <p:cNvSpPr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6064684" y="3210334"/>
              <a:ext cx="199241" cy="131200"/>
            </a:xfrm>
            <a:custGeom>
              <a:avLst/>
              <a:gdLst>
                <a:gd name="T0" fmla="*/ 98 w 121"/>
                <a:gd name="T1" fmla="*/ 26 h 81"/>
                <a:gd name="T2" fmla="*/ 98 w 121"/>
                <a:gd name="T3" fmla="*/ 40 h 81"/>
                <a:gd name="T4" fmla="*/ 109 w 121"/>
                <a:gd name="T5" fmla="*/ 34 h 81"/>
                <a:gd name="T6" fmla="*/ 113 w 121"/>
                <a:gd name="T7" fmla="*/ 46 h 81"/>
                <a:gd name="T8" fmla="*/ 119 w 121"/>
                <a:gd name="T9" fmla="*/ 62 h 81"/>
                <a:gd name="T10" fmla="*/ 101 w 121"/>
                <a:gd name="T11" fmla="*/ 68 h 81"/>
                <a:gd name="T12" fmla="*/ 80 w 121"/>
                <a:gd name="T13" fmla="*/ 74 h 81"/>
                <a:gd name="T14" fmla="*/ 64 w 121"/>
                <a:gd name="T15" fmla="*/ 77 h 81"/>
                <a:gd name="T16" fmla="*/ 62 w 121"/>
                <a:gd name="T17" fmla="*/ 52 h 81"/>
                <a:gd name="T18" fmla="*/ 58 w 121"/>
                <a:gd name="T19" fmla="*/ 40 h 81"/>
                <a:gd name="T20" fmla="*/ 44 w 121"/>
                <a:gd name="T21" fmla="*/ 58 h 81"/>
                <a:gd name="T22" fmla="*/ 32 w 121"/>
                <a:gd name="T23" fmla="*/ 64 h 81"/>
                <a:gd name="T24" fmla="*/ 11 w 121"/>
                <a:gd name="T25" fmla="*/ 67 h 81"/>
                <a:gd name="T26" fmla="*/ 8 w 121"/>
                <a:gd name="T27" fmla="*/ 53 h 81"/>
                <a:gd name="T28" fmla="*/ 8 w 121"/>
                <a:gd name="T29" fmla="*/ 39 h 81"/>
                <a:gd name="T30" fmla="*/ 2 w 121"/>
                <a:gd name="T31" fmla="*/ 25 h 81"/>
                <a:gd name="T32" fmla="*/ 20 w 121"/>
                <a:gd name="T33" fmla="*/ 11 h 81"/>
                <a:gd name="T34" fmla="*/ 28 w 121"/>
                <a:gd name="T35" fmla="*/ 1 h 81"/>
                <a:gd name="T36" fmla="*/ 37 w 121"/>
                <a:gd name="T37" fmla="*/ 4 h 81"/>
                <a:gd name="T38" fmla="*/ 50 w 121"/>
                <a:gd name="T39" fmla="*/ 19 h 81"/>
                <a:gd name="T40" fmla="*/ 52 w 121"/>
                <a:gd name="T41" fmla="*/ 32 h 81"/>
                <a:gd name="T42" fmla="*/ 58 w 121"/>
                <a:gd name="T43" fmla="*/ 23 h 81"/>
                <a:gd name="T44" fmla="*/ 79 w 121"/>
                <a:gd name="T45" fmla="*/ 26 h 81"/>
                <a:gd name="T46" fmla="*/ 98 w 121"/>
                <a:gd name="T47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1" h="81">
                  <a:moveTo>
                    <a:pt x="98" y="26"/>
                  </a:moveTo>
                  <a:cubicBezTo>
                    <a:pt x="101" y="28"/>
                    <a:pt x="96" y="39"/>
                    <a:pt x="98" y="40"/>
                  </a:cubicBezTo>
                  <a:cubicBezTo>
                    <a:pt x="100" y="41"/>
                    <a:pt x="107" y="33"/>
                    <a:pt x="109" y="34"/>
                  </a:cubicBezTo>
                  <a:cubicBezTo>
                    <a:pt x="111" y="35"/>
                    <a:pt x="111" y="41"/>
                    <a:pt x="113" y="46"/>
                  </a:cubicBezTo>
                  <a:cubicBezTo>
                    <a:pt x="115" y="51"/>
                    <a:pt x="121" y="58"/>
                    <a:pt x="119" y="62"/>
                  </a:cubicBezTo>
                  <a:cubicBezTo>
                    <a:pt x="117" y="66"/>
                    <a:pt x="107" y="66"/>
                    <a:pt x="101" y="68"/>
                  </a:cubicBezTo>
                  <a:cubicBezTo>
                    <a:pt x="95" y="70"/>
                    <a:pt x="86" y="73"/>
                    <a:pt x="80" y="74"/>
                  </a:cubicBezTo>
                  <a:cubicBezTo>
                    <a:pt x="74" y="75"/>
                    <a:pt x="67" y="81"/>
                    <a:pt x="64" y="77"/>
                  </a:cubicBezTo>
                  <a:cubicBezTo>
                    <a:pt x="61" y="73"/>
                    <a:pt x="63" y="58"/>
                    <a:pt x="62" y="52"/>
                  </a:cubicBezTo>
                  <a:cubicBezTo>
                    <a:pt x="61" y="46"/>
                    <a:pt x="61" y="39"/>
                    <a:pt x="58" y="40"/>
                  </a:cubicBezTo>
                  <a:cubicBezTo>
                    <a:pt x="55" y="41"/>
                    <a:pt x="48" y="54"/>
                    <a:pt x="44" y="58"/>
                  </a:cubicBezTo>
                  <a:cubicBezTo>
                    <a:pt x="40" y="62"/>
                    <a:pt x="37" y="63"/>
                    <a:pt x="32" y="64"/>
                  </a:cubicBezTo>
                  <a:cubicBezTo>
                    <a:pt x="27" y="65"/>
                    <a:pt x="15" y="69"/>
                    <a:pt x="11" y="67"/>
                  </a:cubicBezTo>
                  <a:cubicBezTo>
                    <a:pt x="7" y="65"/>
                    <a:pt x="8" y="58"/>
                    <a:pt x="8" y="53"/>
                  </a:cubicBezTo>
                  <a:cubicBezTo>
                    <a:pt x="8" y="48"/>
                    <a:pt x="9" y="44"/>
                    <a:pt x="8" y="39"/>
                  </a:cubicBezTo>
                  <a:cubicBezTo>
                    <a:pt x="7" y="34"/>
                    <a:pt x="0" y="30"/>
                    <a:pt x="2" y="25"/>
                  </a:cubicBezTo>
                  <a:cubicBezTo>
                    <a:pt x="4" y="20"/>
                    <a:pt x="16" y="15"/>
                    <a:pt x="20" y="11"/>
                  </a:cubicBezTo>
                  <a:cubicBezTo>
                    <a:pt x="24" y="7"/>
                    <a:pt x="25" y="2"/>
                    <a:pt x="28" y="1"/>
                  </a:cubicBezTo>
                  <a:cubicBezTo>
                    <a:pt x="31" y="0"/>
                    <a:pt x="33" y="1"/>
                    <a:pt x="37" y="4"/>
                  </a:cubicBezTo>
                  <a:cubicBezTo>
                    <a:pt x="41" y="7"/>
                    <a:pt x="48" y="14"/>
                    <a:pt x="50" y="19"/>
                  </a:cubicBezTo>
                  <a:cubicBezTo>
                    <a:pt x="52" y="24"/>
                    <a:pt x="51" y="31"/>
                    <a:pt x="52" y="32"/>
                  </a:cubicBezTo>
                  <a:cubicBezTo>
                    <a:pt x="53" y="33"/>
                    <a:pt x="54" y="24"/>
                    <a:pt x="58" y="23"/>
                  </a:cubicBezTo>
                  <a:cubicBezTo>
                    <a:pt x="62" y="22"/>
                    <a:pt x="73" y="26"/>
                    <a:pt x="79" y="26"/>
                  </a:cubicBezTo>
                  <a:cubicBezTo>
                    <a:pt x="85" y="26"/>
                    <a:pt x="95" y="24"/>
                    <a:pt x="98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0" name="Freeform 80"/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4138693" y="2675819"/>
              <a:ext cx="126348" cy="178172"/>
            </a:xfrm>
            <a:custGeom>
              <a:avLst/>
              <a:gdLst>
                <a:gd name="T0" fmla="*/ 40 w 76"/>
                <a:gd name="T1" fmla="*/ 41 h 110"/>
                <a:gd name="T2" fmla="*/ 66 w 76"/>
                <a:gd name="T3" fmla="*/ 55 h 110"/>
                <a:gd name="T4" fmla="*/ 73 w 76"/>
                <a:gd name="T5" fmla="*/ 91 h 110"/>
                <a:gd name="T6" fmla="*/ 51 w 76"/>
                <a:gd name="T7" fmla="*/ 103 h 110"/>
                <a:gd name="T8" fmla="*/ 36 w 76"/>
                <a:gd name="T9" fmla="*/ 103 h 110"/>
                <a:gd name="T10" fmla="*/ 16 w 76"/>
                <a:gd name="T11" fmla="*/ 91 h 110"/>
                <a:gd name="T12" fmla="*/ 15 w 76"/>
                <a:gd name="T13" fmla="*/ 82 h 110"/>
                <a:gd name="T14" fmla="*/ 28 w 76"/>
                <a:gd name="T15" fmla="*/ 64 h 110"/>
                <a:gd name="T16" fmla="*/ 12 w 76"/>
                <a:gd name="T17" fmla="*/ 53 h 110"/>
                <a:gd name="T18" fmla="*/ 3 w 76"/>
                <a:gd name="T19" fmla="*/ 37 h 110"/>
                <a:gd name="T20" fmla="*/ 30 w 76"/>
                <a:gd name="T21" fmla="*/ 25 h 110"/>
                <a:gd name="T22" fmla="*/ 21 w 76"/>
                <a:gd name="T23" fmla="*/ 8 h 110"/>
                <a:gd name="T24" fmla="*/ 55 w 76"/>
                <a:gd name="T25" fmla="*/ 2 h 110"/>
                <a:gd name="T26" fmla="*/ 43 w 76"/>
                <a:gd name="T27" fmla="*/ 19 h 110"/>
                <a:gd name="T28" fmla="*/ 40 w 76"/>
                <a:gd name="T29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0">
                  <a:moveTo>
                    <a:pt x="40" y="41"/>
                  </a:moveTo>
                  <a:cubicBezTo>
                    <a:pt x="46" y="45"/>
                    <a:pt x="61" y="47"/>
                    <a:pt x="66" y="55"/>
                  </a:cubicBezTo>
                  <a:cubicBezTo>
                    <a:pt x="71" y="63"/>
                    <a:pt x="76" y="83"/>
                    <a:pt x="73" y="91"/>
                  </a:cubicBezTo>
                  <a:cubicBezTo>
                    <a:pt x="66" y="94"/>
                    <a:pt x="59" y="101"/>
                    <a:pt x="51" y="103"/>
                  </a:cubicBezTo>
                  <a:cubicBezTo>
                    <a:pt x="50" y="110"/>
                    <a:pt x="42" y="100"/>
                    <a:pt x="36" y="103"/>
                  </a:cubicBezTo>
                  <a:cubicBezTo>
                    <a:pt x="13" y="99"/>
                    <a:pt x="23" y="104"/>
                    <a:pt x="16" y="91"/>
                  </a:cubicBezTo>
                  <a:cubicBezTo>
                    <a:pt x="15" y="84"/>
                    <a:pt x="6" y="84"/>
                    <a:pt x="15" y="82"/>
                  </a:cubicBezTo>
                  <a:cubicBezTo>
                    <a:pt x="21" y="72"/>
                    <a:pt x="18" y="72"/>
                    <a:pt x="28" y="64"/>
                  </a:cubicBezTo>
                  <a:cubicBezTo>
                    <a:pt x="26" y="52"/>
                    <a:pt x="17" y="62"/>
                    <a:pt x="12" y="53"/>
                  </a:cubicBezTo>
                  <a:cubicBezTo>
                    <a:pt x="10" y="48"/>
                    <a:pt x="0" y="42"/>
                    <a:pt x="3" y="37"/>
                  </a:cubicBezTo>
                  <a:cubicBezTo>
                    <a:pt x="6" y="32"/>
                    <a:pt x="27" y="30"/>
                    <a:pt x="30" y="25"/>
                  </a:cubicBezTo>
                  <a:cubicBezTo>
                    <a:pt x="33" y="20"/>
                    <a:pt x="17" y="12"/>
                    <a:pt x="21" y="8"/>
                  </a:cubicBezTo>
                  <a:cubicBezTo>
                    <a:pt x="25" y="4"/>
                    <a:pt x="52" y="0"/>
                    <a:pt x="55" y="2"/>
                  </a:cubicBezTo>
                  <a:cubicBezTo>
                    <a:pt x="58" y="4"/>
                    <a:pt x="45" y="13"/>
                    <a:pt x="43" y="19"/>
                  </a:cubicBezTo>
                  <a:cubicBezTo>
                    <a:pt x="41" y="25"/>
                    <a:pt x="31" y="37"/>
                    <a:pt x="40" y="4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1" name="Freeform 86"/>
            <p:cNvSpPr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4208347" y="3111531"/>
              <a:ext cx="301290" cy="239722"/>
            </a:xfrm>
            <a:custGeom>
              <a:avLst/>
              <a:gdLst>
                <a:gd name="T0" fmla="*/ 9 w 183"/>
                <a:gd name="T1" fmla="*/ 5 h 148"/>
                <a:gd name="T2" fmla="*/ 54 w 183"/>
                <a:gd name="T3" fmla="*/ 3 h 148"/>
                <a:gd name="T4" fmla="*/ 81 w 183"/>
                <a:gd name="T5" fmla="*/ 3 h 148"/>
                <a:gd name="T6" fmla="*/ 156 w 183"/>
                <a:gd name="T7" fmla="*/ 17 h 148"/>
                <a:gd name="T8" fmla="*/ 175 w 183"/>
                <a:gd name="T9" fmla="*/ 27 h 148"/>
                <a:gd name="T10" fmla="*/ 175 w 183"/>
                <a:gd name="T11" fmla="*/ 39 h 148"/>
                <a:gd name="T12" fmla="*/ 154 w 183"/>
                <a:gd name="T13" fmla="*/ 48 h 148"/>
                <a:gd name="T14" fmla="*/ 139 w 183"/>
                <a:gd name="T15" fmla="*/ 62 h 148"/>
                <a:gd name="T16" fmla="*/ 129 w 183"/>
                <a:gd name="T17" fmla="*/ 77 h 148"/>
                <a:gd name="T18" fmla="*/ 132 w 183"/>
                <a:gd name="T19" fmla="*/ 96 h 148"/>
                <a:gd name="T20" fmla="*/ 130 w 183"/>
                <a:gd name="T21" fmla="*/ 102 h 148"/>
                <a:gd name="T22" fmla="*/ 123 w 183"/>
                <a:gd name="T23" fmla="*/ 104 h 148"/>
                <a:gd name="T24" fmla="*/ 112 w 183"/>
                <a:gd name="T25" fmla="*/ 119 h 148"/>
                <a:gd name="T26" fmla="*/ 91 w 183"/>
                <a:gd name="T27" fmla="*/ 134 h 148"/>
                <a:gd name="T28" fmla="*/ 55 w 183"/>
                <a:gd name="T29" fmla="*/ 141 h 148"/>
                <a:gd name="T30" fmla="*/ 43 w 183"/>
                <a:gd name="T31" fmla="*/ 146 h 148"/>
                <a:gd name="T32" fmla="*/ 28 w 183"/>
                <a:gd name="T33" fmla="*/ 131 h 148"/>
                <a:gd name="T34" fmla="*/ 21 w 183"/>
                <a:gd name="T35" fmla="*/ 119 h 148"/>
                <a:gd name="T36" fmla="*/ 27 w 183"/>
                <a:gd name="T37" fmla="*/ 83 h 148"/>
                <a:gd name="T38" fmla="*/ 37 w 183"/>
                <a:gd name="T39" fmla="*/ 42 h 148"/>
                <a:gd name="T40" fmla="*/ 16 w 183"/>
                <a:gd name="T41" fmla="*/ 35 h 148"/>
                <a:gd name="T42" fmla="*/ 4 w 183"/>
                <a:gd name="T43" fmla="*/ 29 h 148"/>
                <a:gd name="T44" fmla="*/ 0 w 183"/>
                <a:gd name="T45" fmla="*/ 12 h 148"/>
                <a:gd name="T46" fmla="*/ 9 w 183"/>
                <a:gd name="T47" fmla="*/ 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148">
                  <a:moveTo>
                    <a:pt x="9" y="5"/>
                  </a:moveTo>
                  <a:cubicBezTo>
                    <a:pt x="13" y="0"/>
                    <a:pt x="48" y="3"/>
                    <a:pt x="54" y="3"/>
                  </a:cubicBezTo>
                  <a:cubicBezTo>
                    <a:pt x="62" y="9"/>
                    <a:pt x="72" y="7"/>
                    <a:pt x="81" y="3"/>
                  </a:cubicBezTo>
                  <a:cubicBezTo>
                    <a:pt x="113" y="5"/>
                    <a:pt x="122" y="15"/>
                    <a:pt x="156" y="17"/>
                  </a:cubicBezTo>
                  <a:cubicBezTo>
                    <a:pt x="167" y="25"/>
                    <a:pt x="155" y="25"/>
                    <a:pt x="175" y="27"/>
                  </a:cubicBezTo>
                  <a:cubicBezTo>
                    <a:pt x="177" y="34"/>
                    <a:pt x="183" y="37"/>
                    <a:pt x="175" y="39"/>
                  </a:cubicBezTo>
                  <a:cubicBezTo>
                    <a:pt x="171" y="46"/>
                    <a:pt x="162" y="47"/>
                    <a:pt x="154" y="48"/>
                  </a:cubicBezTo>
                  <a:cubicBezTo>
                    <a:pt x="148" y="53"/>
                    <a:pt x="147" y="59"/>
                    <a:pt x="139" y="62"/>
                  </a:cubicBezTo>
                  <a:cubicBezTo>
                    <a:pt x="135" y="68"/>
                    <a:pt x="136" y="74"/>
                    <a:pt x="129" y="77"/>
                  </a:cubicBezTo>
                  <a:cubicBezTo>
                    <a:pt x="123" y="84"/>
                    <a:pt x="125" y="91"/>
                    <a:pt x="132" y="96"/>
                  </a:cubicBezTo>
                  <a:cubicBezTo>
                    <a:pt x="131" y="98"/>
                    <a:pt x="132" y="101"/>
                    <a:pt x="130" y="102"/>
                  </a:cubicBezTo>
                  <a:cubicBezTo>
                    <a:pt x="128" y="104"/>
                    <a:pt x="125" y="102"/>
                    <a:pt x="123" y="104"/>
                  </a:cubicBezTo>
                  <a:cubicBezTo>
                    <a:pt x="115" y="114"/>
                    <a:pt x="125" y="111"/>
                    <a:pt x="112" y="119"/>
                  </a:cubicBezTo>
                  <a:cubicBezTo>
                    <a:pt x="105" y="129"/>
                    <a:pt x="102" y="130"/>
                    <a:pt x="91" y="134"/>
                  </a:cubicBezTo>
                  <a:cubicBezTo>
                    <a:pt x="78" y="144"/>
                    <a:pt x="78" y="140"/>
                    <a:pt x="55" y="141"/>
                  </a:cubicBezTo>
                  <a:cubicBezTo>
                    <a:pt x="48" y="145"/>
                    <a:pt x="52" y="148"/>
                    <a:pt x="43" y="146"/>
                  </a:cubicBezTo>
                  <a:cubicBezTo>
                    <a:pt x="39" y="140"/>
                    <a:pt x="35" y="132"/>
                    <a:pt x="28" y="131"/>
                  </a:cubicBezTo>
                  <a:cubicBezTo>
                    <a:pt x="25" y="126"/>
                    <a:pt x="24" y="124"/>
                    <a:pt x="21" y="119"/>
                  </a:cubicBezTo>
                  <a:cubicBezTo>
                    <a:pt x="28" y="108"/>
                    <a:pt x="21" y="95"/>
                    <a:pt x="27" y="83"/>
                  </a:cubicBezTo>
                  <a:cubicBezTo>
                    <a:pt x="30" y="67"/>
                    <a:pt x="29" y="56"/>
                    <a:pt x="37" y="42"/>
                  </a:cubicBezTo>
                  <a:cubicBezTo>
                    <a:pt x="31" y="34"/>
                    <a:pt x="27" y="36"/>
                    <a:pt x="16" y="35"/>
                  </a:cubicBezTo>
                  <a:cubicBezTo>
                    <a:pt x="11" y="33"/>
                    <a:pt x="9" y="32"/>
                    <a:pt x="4" y="29"/>
                  </a:cubicBezTo>
                  <a:cubicBezTo>
                    <a:pt x="3" y="24"/>
                    <a:pt x="1" y="17"/>
                    <a:pt x="0" y="12"/>
                  </a:cubicBezTo>
                  <a:cubicBezTo>
                    <a:pt x="3" y="10"/>
                    <a:pt x="9" y="8"/>
                    <a:pt x="9" y="8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2" name="Freeform 87"/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5510698" y="3234632"/>
              <a:ext cx="455176" cy="424373"/>
            </a:xfrm>
            <a:custGeom>
              <a:avLst/>
              <a:gdLst>
                <a:gd name="T0" fmla="*/ 5 w 277"/>
                <a:gd name="T1" fmla="*/ 5 h 262"/>
                <a:gd name="T2" fmla="*/ 1 w 277"/>
                <a:gd name="T3" fmla="*/ 37 h 262"/>
                <a:gd name="T4" fmla="*/ 2 w 277"/>
                <a:gd name="T5" fmla="*/ 53 h 262"/>
                <a:gd name="T6" fmla="*/ 15 w 277"/>
                <a:gd name="T7" fmla="*/ 67 h 262"/>
                <a:gd name="T8" fmla="*/ 26 w 277"/>
                <a:gd name="T9" fmla="*/ 77 h 262"/>
                <a:gd name="T10" fmla="*/ 14 w 277"/>
                <a:gd name="T11" fmla="*/ 100 h 262"/>
                <a:gd name="T12" fmla="*/ 28 w 277"/>
                <a:gd name="T13" fmla="*/ 121 h 262"/>
                <a:gd name="T14" fmla="*/ 46 w 277"/>
                <a:gd name="T15" fmla="*/ 139 h 262"/>
                <a:gd name="T16" fmla="*/ 53 w 277"/>
                <a:gd name="T17" fmla="*/ 173 h 262"/>
                <a:gd name="T18" fmla="*/ 85 w 277"/>
                <a:gd name="T19" fmla="*/ 182 h 262"/>
                <a:gd name="T20" fmla="*/ 94 w 277"/>
                <a:gd name="T21" fmla="*/ 208 h 262"/>
                <a:gd name="T22" fmla="*/ 115 w 277"/>
                <a:gd name="T23" fmla="*/ 218 h 262"/>
                <a:gd name="T24" fmla="*/ 119 w 277"/>
                <a:gd name="T25" fmla="*/ 220 h 262"/>
                <a:gd name="T26" fmla="*/ 130 w 277"/>
                <a:gd name="T27" fmla="*/ 221 h 262"/>
                <a:gd name="T28" fmla="*/ 145 w 277"/>
                <a:gd name="T29" fmla="*/ 233 h 262"/>
                <a:gd name="T30" fmla="*/ 173 w 277"/>
                <a:gd name="T31" fmla="*/ 215 h 262"/>
                <a:gd name="T32" fmla="*/ 193 w 277"/>
                <a:gd name="T33" fmla="*/ 221 h 262"/>
                <a:gd name="T34" fmla="*/ 202 w 277"/>
                <a:gd name="T35" fmla="*/ 251 h 262"/>
                <a:gd name="T36" fmla="*/ 236 w 277"/>
                <a:gd name="T37" fmla="*/ 257 h 262"/>
                <a:gd name="T38" fmla="*/ 256 w 277"/>
                <a:gd name="T39" fmla="*/ 241 h 262"/>
                <a:gd name="T40" fmla="*/ 268 w 277"/>
                <a:gd name="T41" fmla="*/ 233 h 262"/>
                <a:gd name="T42" fmla="*/ 277 w 277"/>
                <a:gd name="T43" fmla="*/ 230 h 262"/>
                <a:gd name="T44" fmla="*/ 269 w 277"/>
                <a:gd name="T45" fmla="*/ 208 h 262"/>
                <a:gd name="T46" fmla="*/ 253 w 277"/>
                <a:gd name="T47" fmla="*/ 199 h 262"/>
                <a:gd name="T48" fmla="*/ 248 w 277"/>
                <a:gd name="T49" fmla="*/ 176 h 262"/>
                <a:gd name="T50" fmla="*/ 251 w 277"/>
                <a:gd name="T51" fmla="*/ 164 h 262"/>
                <a:gd name="T52" fmla="*/ 243 w 277"/>
                <a:gd name="T53" fmla="*/ 146 h 262"/>
                <a:gd name="T54" fmla="*/ 239 w 277"/>
                <a:gd name="T55" fmla="*/ 127 h 262"/>
                <a:gd name="T56" fmla="*/ 247 w 277"/>
                <a:gd name="T57" fmla="*/ 80 h 262"/>
                <a:gd name="T58" fmla="*/ 227 w 277"/>
                <a:gd name="T59" fmla="*/ 61 h 262"/>
                <a:gd name="T60" fmla="*/ 209 w 277"/>
                <a:gd name="T61" fmla="*/ 49 h 262"/>
                <a:gd name="T62" fmla="*/ 185 w 277"/>
                <a:gd name="T63" fmla="*/ 40 h 262"/>
                <a:gd name="T64" fmla="*/ 165 w 277"/>
                <a:gd name="T65" fmla="*/ 38 h 262"/>
                <a:gd name="T66" fmla="*/ 146 w 277"/>
                <a:gd name="T67" fmla="*/ 44 h 262"/>
                <a:gd name="T68" fmla="*/ 128 w 277"/>
                <a:gd name="T69" fmla="*/ 52 h 262"/>
                <a:gd name="T70" fmla="*/ 97 w 277"/>
                <a:gd name="T71" fmla="*/ 61 h 262"/>
                <a:gd name="T72" fmla="*/ 73 w 277"/>
                <a:gd name="T73" fmla="*/ 41 h 262"/>
                <a:gd name="T74" fmla="*/ 53 w 277"/>
                <a:gd name="T75" fmla="*/ 19 h 262"/>
                <a:gd name="T76" fmla="*/ 43 w 277"/>
                <a:gd name="T77" fmla="*/ 8 h 262"/>
                <a:gd name="T78" fmla="*/ 31 w 277"/>
                <a:gd name="T79" fmla="*/ 10 h 262"/>
                <a:gd name="T80" fmla="*/ 17 w 277"/>
                <a:gd name="T81" fmla="*/ 8 h 262"/>
                <a:gd name="T82" fmla="*/ 5 w 277"/>
                <a:gd name="T83" fmla="*/ 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7" h="262">
                  <a:moveTo>
                    <a:pt x="5" y="5"/>
                  </a:moveTo>
                  <a:cubicBezTo>
                    <a:pt x="0" y="9"/>
                    <a:pt x="1" y="28"/>
                    <a:pt x="1" y="37"/>
                  </a:cubicBezTo>
                  <a:cubicBezTo>
                    <a:pt x="1" y="45"/>
                    <a:pt x="0" y="48"/>
                    <a:pt x="2" y="53"/>
                  </a:cubicBezTo>
                  <a:cubicBezTo>
                    <a:pt x="4" y="58"/>
                    <a:pt x="11" y="63"/>
                    <a:pt x="15" y="67"/>
                  </a:cubicBezTo>
                  <a:cubicBezTo>
                    <a:pt x="19" y="71"/>
                    <a:pt x="26" y="72"/>
                    <a:pt x="26" y="77"/>
                  </a:cubicBezTo>
                  <a:cubicBezTo>
                    <a:pt x="18" y="85"/>
                    <a:pt x="25" y="96"/>
                    <a:pt x="14" y="100"/>
                  </a:cubicBezTo>
                  <a:cubicBezTo>
                    <a:pt x="12" y="110"/>
                    <a:pt x="19" y="117"/>
                    <a:pt x="28" y="121"/>
                  </a:cubicBezTo>
                  <a:cubicBezTo>
                    <a:pt x="34" y="129"/>
                    <a:pt x="37" y="135"/>
                    <a:pt x="46" y="139"/>
                  </a:cubicBezTo>
                  <a:cubicBezTo>
                    <a:pt x="54" y="149"/>
                    <a:pt x="45" y="163"/>
                    <a:pt x="53" y="173"/>
                  </a:cubicBezTo>
                  <a:cubicBezTo>
                    <a:pt x="67" y="170"/>
                    <a:pt x="78" y="169"/>
                    <a:pt x="85" y="182"/>
                  </a:cubicBezTo>
                  <a:cubicBezTo>
                    <a:pt x="87" y="192"/>
                    <a:pt x="90" y="199"/>
                    <a:pt x="94" y="208"/>
                  </a:cubicBezTo>
                  <a:cubicBezTo>
                    <a:pt x="96" y="221"/>
                    <a:pt x="104" y="216"/>
                    <a:pt x="115" y="218"/>
                  </a:cubicBezTo>
                  <a:cubicBezTo>
                    <a:pt x="116" y="219"/>
                    <a:pt x="118" y="220"/>
                    <a:pt x="119" y="220"/>
                  </a:cubicBezTo>
                  <a:cubicBezTo>
                    <a:pt x="123" y="221"/>
                    <a:pt x="127" y="220"/>
                    <a:pt x="130" y="221"/>
                  </a:cubicBezTo>
                  <a:cubicBezTo>
                    <a:pt x="136" y="224"/>
                    <a:pt x="134" y="231"/>
                    <a:pt x="145" y="233"/>
                  </a:cubicBezTo>
                  <a:cubicBezTo>
                    <a:pt x="153" y="237"/>
                    <a:pt x="166" y="220"/>
                    <a:pt x="173" y="215"/>
                  </a:cubicBezTo>
                  <a:cubicBezTo>
                    <a:pt x="178" y="216"/>
                    <a:pt x="189" y="218"/>
                    <a:pt x="193" y="221"/>
                  </a:cubicBezTo>
                  <a:cubicBezTo>
                    <a:pt x="198" y="224"/>
                    <a:pt x="190" y="249"/>
                    <a:pt x="202" y="251"/>
                  </a:cubicBezTo>
                  <a:cubicBezTo>
                    <a:pt x="224" y="262"/>
                    <a:pt x="198" y="256"/>
                    <a:pt x="236" y="257"/>
                  </a:cubicBezTo>
                  <a:cubicBezTo>
                    <a:pt x="274" y="255"/>
                    <a:pt x="241" y="262"/>
                    <a:pt x="256" y="241"/>
                  </a:cubicBezTo>
                  <a:cubicBezTo>
                    <a:pt x="262" y="241"/>
                    <a:pt x="266" y="233"/>
                    <a:pt x="268" y="233"/>
                  </a:cubicBezTo>
                  <a:cubicBezTo>
                    <a:pt x="271" y="230"/>
                    <a:pt x="277" y="234"/>
                    <a:pt x="277" y="230"/>
                  </a:cubicBezTo>
                  <a:cubicBezTo>
                    <a:pt x="277" y="226"/>
                    <a:pt x="273" y="213"/>
                    <a:pt x="269" y="208"/>
                  </a:cubicBezTo>
                  <a:cubicBezTo>
                    <a:pt x="268" y="201"/>
                    <a:pt x="258" y="204"/>
                    <a:pt x="253" y="199"/>
                  </a:cubicBezTo>
                  <a:cubicBezTo>
                    <a:pt x="248" y="186"/>
                    <a:pt x="247" y="198"/>
                    <a:pt x="248" y="176"/>
                  </a:cubicBezTo>
                  <a:cubicBezTo>
                    <a:pt x="247" y="170"/>
                    <a:pt x="252" y="168"/>
                    <a:pt x="251" y="164"/>
                  </a:cubicBezTo>
                  <a:cubicBezTo>
                    <a:pt x="250" y="159"/>
                    <a:pt x="245" y="152"/>
                    <a:pt x="243" y="146"/>
                  </a:cubicBezTo>
                  <a:cubicBezTo>
                    <a:pt x="237" y="138"/>
                    <a:pt x="238" y="136"/>
                    <a:pt x="239" y="127"/>
                  </a:cubicBezTo>
                  <a:cubicBezTo>
                    <a:pt x="239" y="117"/>
                    <a:pt x="249" y="91"/>
                    <a:pt x="247" y="80"/>
                  </a:cubicBezTo>
                  <a:cubicBezTo>
                    <a:pt x="245" y="69"/>
                    <a:pt x="233" y="66"/>
                    <a:pt x="227" y="61"/>
                  </a:cubicBezTo>
                  <a:cubicBezTo>
                    <a:pt x="223" y="54"/>
                    <a:pt x="218" y="50"/>
                    <a:pt x="209" y="49"/>
                  </a:cubicBezTo>
                  <a:cubicBezTo>
                    <a:pt x="202" y="46"/>
                    <a:pt x="192" y="41"/>
                    <a:pt x="185" y="40"/>
                  </a:cubicBezTo>
                  <a:cubicBezTo>
                    <a:pt x="177" y="38"/>
                    <a:pt x="171" y="37"/>
                    <a:pt x="165" y="38"/>
                  </a:cubicBezTo>
                  <a:cubicBezTo>
                    <a:pt x="159" y="39"/>
                    <a:pt x="152" y="42"/>
                    <a:pt x="146" y="44"/>
                  </a:cubicBezTo>
                  <a:cubicBezTo>
                    <a:pt x="141" y="48"/>
                    <a:pt x="135" y="51"/>
                    <a:pt x="128" y="52"/>
                  </a:cubicBezTo>
                  <a:cubicBezTo>
                    <a:pt x="120" y="53"/>
                    <a:pt x="106" y="63"/>
                    <a:pt x="97" y="61"/>
                  </a:cubicBezTo>
                  <a:cubicBezTo>
                    <a:pt x="88" y="59"/>
                    <a:pt x="80" y="48"/>
                    <a:pt x="73" y="41"/>
                  </a:cubicBezTo>
                  <a:cubicBezTo>
                    <a:pt x="69" y="35"/>
                    <a:pt x="57" y="24"/>
                    <a:pt x="53" y="19"/>
                  </a:cubicBezTo>
                  <a:cubicBezTo>
                    <a:pt x="48" y="13"/>
                    <a:pt x="50" y="11"/>
                    <a:pt x="43" y="8"/>
                  </a:cubicBezTo>
                  <a:cubicBezTo>
                    <a:pt x="38" y="11"/>
                    <a:pt x="36" y="6"/>
                    <a:pt x="31" y="10"/>
                  </a:cubicBezTo>
                  <a:cubicBezTo>
                    <a:pt x="27" y="4"/>
                    <a:pt x="24" y="11"/>
                    <a:pt x="17" y="8"/>
                  </a:cubicBezTo>
                  <a:cubicBezTo>
                    <a:pt x="11" y="0"/>
                    <a:pt x="12" y="9"/>
                    <a:pt x="5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3" name="Freeform 88"/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5351954" y="3315619"/>
              <a:ext cx="246216" cy="233243"/>
            </a:xfrm>
            <a:custGeom>
              <a:avLst/>
              <a:gdLst>
                <a:gd name="T0" fmla="*/ 92 w 149"/>
                <a:gd name="T1" fmla="*/ 3 h 144"/>
                <a:gd name="T2" fmla="*/ 76 w 149"/>
                <a:gd name="T3" fmla="*/ 8 h 144"/>
                <a:gd name="T4" fmla="*/ 49 w 149"/>
                <a:gd name="T5" fmla="*/ 5 h 144"/>
                <a:gd name="T6" fmla="*/ 41 w 149"/>
                <a:gd name="T7" fmla="*/ 40 h 144"/>
                <a:gd name="T8" fmla="*/ 32 w 149"/>
                <a:gd name="T9" fmla="*/ 51 h 144"/>
                <a:gd name="T10" fmla="*/ 22 w 149"/>
                <a:gd name="T11" fmla="*/ 66 h 144"/>
                <a:gd name="T12" fmla="*/ 7 w 149"/>
                <a:gd name="T13" fmla="*/ 71 h 144"/>
                <a:gd name="T14" fmla="*/ 20 w 149"/>
                <a:gd name="T15" fmla="*/ 95 h 144"/>
                <a:gd name="T16" fmla="*/ 34 w 149"/>
                <a:gd name="T17" fmla="*/ 95 h 144"/>
                <a:gd name="T18" fmla="*/ 49 w 149"/>
                <a:gd name="T19" fmla="*/ 102 h 144"/>
                <a:gd name="T20" fmla="*/ 58 w 149"/>
                <a:gd name="T21" fmla="*/ 107 h 144"/>
                <a:gd name="T22" fmla="*/ 71 w 149"/>
                <a:gd name="T23" fmla="*/ 117 h 144"/>
                <a:gd name="T24" fmla="*/ 83 w 149"/>
                <a:gd name="T25" fmla="*/ 131 h 144"/>
                <a:gd name="T26" fmla="*/ 97 w 149"/>
                <a:gd name="T27" fmla="*/ 134 h 144"/>
                <a:gd name="T28" fmla="*/ 110 w 149"/>
                <a:gd name="T29" fmla="*/ 143 h 144"/>
                <a:gd name="T30" fmla="*/ 128 w 149"/>
                <a:gd name="T31" fmla="*/ 140 h 144"/>
                <a:gd name="T32" fmla="*/ 146 w 149"/>
                <a:gd name="T33" fmla="*/ 125 h 144"/>
                <a:gd name="T34" fmla="*/ 147 w 149"/>
                <a:gd name="T35" fmla="*/ 114 h 144"/>
                <a:gd name="T36" fmla="*/ 145 w 149"/>
                <a:gd name="T37" fmla="*/ 93 h 144"/>
                <a:gd name="T38" fmla="*/ 122 w 149"/>
                <a:gd name="T39" fmla="*/ 71 h 144"/>
                <a:gd name="T40" fmla="*/ 110 w 149"/>
                <a:gd name="T41" fmla="*/ 59 h 144"/>
                <a:gd name="T42" fmla="*/ 119 w 149"/>
                <a:gd name="T43" fmla="*/ 45 h 144"/>
                <a:gd name="T44" fmla="*/ 119 w 149"/>
                <a:gd name="T45" fmla="*/ 35 h 144"/>
                <a:gd name="T46" fmla="*/ 121 w 149"/>
                <a:gd name="T47" fmla="*/ 23 h 144"/>
                <a:gd name="T48" fmla="*/ 113 w 149"/>
                <a:gd name="T49" fmla="*/ 18 h 144"/>
                <a:gd name="T50" fmla="*/ 103 w 149"/>
                <a:gd name="T51" fmla="*/ 14 h 144"/>
                <a:gd name="T52" fmla="*/ 95 w 149"/>
                <a:gd name="T53" fmla="*/ 6 h 144"/>
                <a:gd name="T54" fmla="*/ 92 w 149"/>
                <a:gd name="T55" fmla="*/ 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9" h="144">
                  <a:moveTo>
                    <a:pt x="92" y="3"/>
                  </a:moveTo>
                  <a:cubicBezTo>
                    <a:pt x="89" y="2"/>
                    <a:pt x="83" y="8"/>
                    <a:pt x="76" y="8"/>
                  </a:cubicBezTo>
                  <a:cubicBezTo>
                    <a:pt x="69" y="8"/>
                    <a:pt x="55" y="0"/>
                    <a:pt x="49" y="5"/>
                  </a:cubicBezTo>
                  <a:cubicBezTo>
                    <a:pt x="41" y="12"/>
                    <a:pt x="44" y="32"/>
                    <a:pt x="41" y="40"/>
                  </a:cubicBezTo>
                  <a:cubicBezTo>
                    <a:pt x="38" y="48"/>
                    <a:pt x="35" y="47"/>
                    <a:pt x="32" y="51"/>
                  </a:cubicBezTo>
                  <a:cubicBezTo>
                    <a:pt x="28" y="55"/>
                    <a:pt x="26" y="63"/>
                    <a:pt x="22" y="66"/>
                  </a:cubicBezTo>
                  <a:cubicBezTo>
                    <a:pt x="18" y="69"/>
                    <a:pt x="7" y="66"/>
                    <a:pt x="7" y="71"/>
                  </a:cubicBezTo>
                  <a:cubicBezTo>
                    <a:pt x="0" y="85"/>
                    <a:pt x="8" y="93"/>
                    <a:pt x="20" y="95"/>
                  </a:cubicBezTo>
                  <a:cubicBezTo>
                    <a:pt x="24" y="100"/>
                    <a:pt x="29" y="94"/>
                    <a:pt x="34" y="95"/>
                  </a:cubicBezTo>
                  <a:cubicBezTo>
                    <a:pt x="39" y="96"/>
                    <a:pt x="45" y="100"/>
                    <a:pt x="49" y="102"/>
                  </a:cubicBezTo>
                  <a:cubicBezTo>
                    <a:pt x="53" y="104"/>
                    <a:pt x="54" y="105"/>
                    <a:pt x="58" y="107"/>
                  </a:cubicBezTo>
                  <a:cubicBezTo>
                    <a:pt x="61" y="110"/>
                    <a:pt x="67" y="113"/>
                    <a:pt x="71" y="117"/>
                  </a:cubicBezTo>
                  <a:cubicBezTo>
                    <a:pt x="75" y="121"/>
                    <a:pt x="79" y="128"/>
                    <a:pt x="83" y="131"/>
                  </a:cubicBezTo>
                  <a:cubicBezTo>
                    <a:pt x="89" y="135"/>
                    <a:pt x="90" y="133"/>
                    <a:pt x="97" y="134"/>
                  </a:cubicBezTo>
                  <a:cubicBezTo>
                    <a:pt x="102" y="135"/>
                    <a:pt x="105" y="142"/>
                    <a:pt x="110" y="143"/>
                  </a:cubicBezTo>
                  <a:cubicBezTo>
                    <a:pt x="115" y="144"/>
                    <a:pt x="122" y="143"/>
                    <a:pt x="128" y="140"/>
                  </a:cubicBezTo>
                  <a:cubicBezTo>
                    <a:pt x="134" y="137"/>
                    <a:pt x="147" y="136"/>
                    <a:pt x="146" y="125"/>
                  </a:cubicBezTo>
                  <a:cubicBezTo>
                    <a:pt x="149" y="121"/>
                    <a:pt x="147" y="119"/>
                    <a:pt x="147" y="114"/>
                  </a:cubicBezTo>
                  <a:cubicBezTo>
                    <a:pt x="147" y="109"/>
                    <a:pt x="149" y="100"/>
                    <a:pt x="145" y="93"/>
                  </a:cubicBezTo>
                  <a:cubicBezTo>
                    <a:pt x="141" y="86"/>
                    <a:pt x="128" y="77"/>
                    <a:pt x="122" y="71"/>
                  </a:cubicBezTo>
                  <a:cubicBezTo>
                    <a:pt x="118" y="65"/>
                    <a:pt x="114" y="64"/>
                    <a:pt x="110" y="59"/>
                  </a:cubicBezTo>
                  <a:cubicBezTo>
                    <a:pt x="108" y="54"/>
                    <a:pt x="118" y="49"/>
                    <a:pt x="119" y="45"/>
                  </a:cubicBezTo>
                  <a:cubicBezTo>
                    <a:pt x="120" y="41"/>
                    <a:pt x="119" y="39"/>
                    <a:pt x="119" y="35"/>
                  </a:cubicBezTo>
                  <a:cubicBezTo>
                    <a:pt x="120" y="29"/>
                    <a:pt x="124" y="26"/>
                    <a:pt x="121" y="23"/>
                  </a:cubicBezTo>
                  <a:cubicBezTo>
                    <a:pt x="120" y="20"/>
                    <a:pt x="116" y="20"/>
                    <a:pt x="113" y="18"/>
                  </a:cubicBezTo>
                  <a:cubicBezTo>
                    <a:pt x="110" y="16"/>
                    <a:pt x="106" y="16"/>
                    <a:pt x="103" y="14"/>
                  </a:cubicBezTo>
                  <a:cubicBezTo>
                    <a:pt x="99" y="7"/>
                    <a:pt x="102" y="11"/>
                    <a:pt x="95" y="6"/>
                  </a:cubicBezTo>
                  <a:cubicBezTo>
                    <a:pt x="90" y="3"/>
                    <a:pt x="89" y="3"/>
                    <a:pt x="92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4" name="Freeform 89"/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695918" y="4191900"/>
              <a:ext cx="176563" cy="212187"/>
            </a:xfrm>
            <a:custGeom>
              <a:avLst/>
              <a:gdLst>
                <a:gd name="T0" fmla="*/ 67 w 107"/>
                <a:gd name="T1" fmla="*/ 14 h 131"/>
                <a:gd name="T2" fmla="*/ 70 w 107"/>
                <a:gd name="T3" fmla="*/ 16 h 131"/>
                <a:gd name="T4" fmla="*/ 86 w 107"/>
                <a:gd name="T5" fmla="*/ 1 h 131"/>
                <a:gd name="T6" fmla="*/ 103 w 107"/>
                <a:gd name="T7" fmla="*/ 2 h 131"/>
                <a:gd name="T8" fmla="*/ 106 w 107"/>
                <a:gd name="T9" fmla="*/ 29 h 131"/>
                <a:gd name="T10" fmla="*/ 98 w 107"/>
                <a:gd name="T11" fmla="*/ 43 h 131"/>
                <a:gd name="T12" fmla="*/ 100 w 107"/>
                <a:gd name="T13" fmla="*/ 64 h 131"/>
                <a:gd name="T14" fmla="*/ 86 w 107"/>
                <a:gd name="T15" fmla="*/ 73 h 131"/>
                <a:gd name="T16" fmla="*/ 77 w 107"/>
                <a:gd name="T17" fmla="*/ 86 h 131"/>
                <a:gd name="T18" fmla="*/ 71 w 107"/>
                <a:gd name="T19" fmla="*/ 101 h 131"/>
                <a:gd name="T20" fmla="*/ 65 w 107"/>
                <a:gd name="T21" fmla="*/ 113 h 131"/>
                <a:gd name="T22" fmla="*/ 50 w 107"/>
                <a:gd name="T23" fmla="*/ 119 h 131"/>
                <a:gd name="T24" fmla="*/ 39 w 107"/>
                <a:gd name="T25" fmla="*/ 119 h 131"/>
                <a:gd name="T26" fmla="*/ 25 w 107"/>
                <a:gd name="T27" fmla="*/ 121 h 131"/>
                <a:gd name="T28" fmla="*/ 11 w 107"/>
                <a:gd name="T29" fmla="*/ 130 h 131"/>
                <a:gd name="T30" fmla="*/ 1 w 107"/>
                <a:gd name="T31" fmla="*/ 115 h 131"/>
                <a:gd name="T32" fmla="*/ 16 w 107"/>
                <a:gd name="T33" fmla="*/ 103 h 131"/>
                <a:gd name="T34" fmla="*/ 16 w 107"/>
                <a:gd name="T35" fmla="*/ 88 h 131"/>
                <a:gd name="T36" fmla="*/ 26 w 107"/>
                <a:gd name="T37" fmla="*/ 80 h 131"/>
                <a:gd name="T38" fmla="*/ 49 w 107"/>
                <a:gd name="T39" fmla="*/ 85 h 131"/>
                <a:gd name="T40" fmla="*/ 53 w 107"/>
                <a:gd name="T41" fmla="*/ 71 h 131"/>
                <a:gd name="T42" fmla="*/ 46 w 107"/>
                <a:gd name="T43" fmla="*/ 50 h 131"/>
                <a:gd name="T44" fmla="*/ 47 w 107"/>
                <a:gd name="T45" fmla="*/ 37 h 131"/>
                <a:gd name="T46" fmla="*/ 35 w 107"/>
                <a:gd name="T47" fmla="*/ 37 h 131"/>
                <a:gd name="T48" fmla="*/ 28 w 107"/>
                <a:gd name="T49" fmla="*/ 20 h 131"/>
                <a:gd name="T50" fmla="*/ 58 w 107"/>
                <a:gd name="T51" fmla="*/ 22 h 131"/>
                <a:gd name="T52" fmla="*/ 73 w 107"/>
                <a:gd name="T53" fmla="*/ 1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131">
                  <a:moveTo>
                    <a:pt x="67" y="14"/>
                  </a:moveTo>
                  <a:cubicBezTo>
                    <a:pt x="76" y="18"/>
                    <a:pt x="67" y="23"/>
                    <a:pt x="70" y="16"/>
                  </a:cubicBezTo>
                  <a:cubicBezTo>
                    <a:pt x="67" y="7"/>
                    <a:pt x="76" y="2"/>
                    <a:pt x="86" y="1"/>
                  </a:cubicBezTo>
                  <a:cubicBezTo>
                    <a:pt x="92" y="1"/>
                    <a:pt x="98" y="0"/>
                    <a:pt x="103" y="2"/>
                  </a:cubicBezTo>
                  <a:cubicBezTo>
                    <a:pt x="106" y="6"/>
                    <a:pt x="107" y="22"/>
                    <a:pt x="106" y="29"/>
                  </a:cubicBezTo>
                  <a:cubicBezTo>
                    <a:pt x="105" y="36"/>
                    <a:pt x="99" y="37"/>
                    <a:pt x="98" y="43"/>
                  </a:cubicBezTo>
                  <a:cubicBezTo>
                    <a:pt x="97" y="53"/>
                    <a:pt x="102" y="59"/>
                    <a:pt x="100" y="64"/>
                  </a:cubicBezTo>
                  <a:cubicBezTo>
                    <a:pt x="98" y="69"/>
                    <a:pt x="90" y="69"/>
                    <a:pt x="86" y="73"/>
                  </a:cubicBezTo>
                  <a:cubicBezTo>
                    <a:pt x="85" y="81"/>
                    <a:pt x="81" y="80"/>
                    <a:pt x="77" y="86"/>
                  </a:cubicBezTo>
                  <a:cubicBezTo>
                    <a:pt x="75" y="92"/>
                    <a:pt x="73" y="97"/>
                    <a:pt x="71" y="101"/>
                  </a:cubicBezTo>
                  <a:cubicBezTo>
                    <a:pt x="69" y="105"/>
                    <a:pt x="68" y="110"/>
                    <a:pt x="65" y="113"/>
                  </a:cubicBezTo>
                  <a:cubicBezTo>
                    <a:pt x="60" y="117"/>
                    <a:pt x="56" y="118"/>
                    <a:pt x="50" y="119"/>
                  </a:cubicBezTo>
                  <a:cubicBezTo>
                    <a:pt x="46" y="120"/>
                    <a:pt x="43" y="119"/>
                    <a:pt x="39" y="119"/>
                  </a:cubicBezTo>
                  <a:cubicBezTo>
                    <a:pt x="35" y="119"/>
                    <a:pt x="30" y="119"/>
                    <a:pt x="25" y="121"/>
                  </a:cubicBezTo>
                  <a:cubicBezTo>
                    <a:pt x="19" y="121"/>
                    <a:pt x="15" y="131"/>
                    <a:pt x="11" y="130"/>
                  </a:cubicBezTo>
                  <a:cubicBezTo>
                    <a:pt x="7" y="129"/>
                    <a:pt x="0" y="119"/>
                    <a:pt x="1" y="115"/>
                  </a:cubicBezTo>
                  <a:cubicBezTo>
                    <a:pt x="0" y="109"/>
                    <a:pt x="14" y="107"/>
                    <a:pt x="16" y="103"/>
                  </a:cubicBezTo>
                  <a:cubicBezTo>
                    <a:pt x="18" y="99"/>
                    <a:pt x="14" y="92"/>
                    <a:pt x="16" y="88"/>
                  </a:cubicBezTo>
                  <a:cubicBezTo>
                    <a:pt x="18" y="84"/>
                    <a:pt x="21" y="80"/>
                    <a:pt x="26" y="80"/>
                  </a:cubicBezTo>
                  <a:cubicBezTo>
                    <a:pt x="31" y="80"/>
                    <a:pt x="45" y="86"/>
                    <a:pt x="49" y="85"/>
                  </a:cubicBezTo>
                  <a:cubicBezTo>
                    <a:pt x="53" y="84"/>
                    <a:pt x="53" y="77"/>
                    <a:pt x="53" y="71"/>
                  </a:cubicBezTo>
                  <a:cubicBezTo>
                    <a:pt x="53" y="65"/>
                    <a:pt x="47" y="56"/>
                    <a:pt x="46" y="50"/>
                  </a:cubicBezTo>
                  <a:cubicBezTo>
                    <a:pt x="45" y="44"/>
                    <a:pt x="49" y="39"/>
                    <a:pt x="47" y="37"/>
                  </a:cubicBezTo>
                  <a:cubicBezTo>
                    <a:pt x="45" y="35"/>
                    <a:pt x="38" y="40"/>
                    <a:pt x="35" y="37"/>
                  </a:cubicBezTo>
                  <a:cubicBezTo>
                    <a:pt x="32" y="34"/>
                    <a:pt x="24" y="22"/>
                    <a:pt x="28" y="20"/>
                  </a:cubicBezTo>
                  <a:cubicBezTo>
                    <a:pt x="32" y="18"/>
                    <a:pt x="51" y="23"/>
                    <a:pt x="58" y="22"/>
                  </a:cubicBezTo>
                  <a:cubicBezTo>
                    <a:pt x="65" y="21"/>
                    <a:pt x="70" y="13"/>
                    <a:pt x="73" y="1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5" name="Freeform 90"/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4645703" y="4224295"/>
              <a:ext cx="137687" cy="155496"/>
            </a:xfrm>
            <a:custGeom>
              <a:avLst/>
              <a:gdLst>
                <a:gd name="T0" fmla="*/ 4 w 83"/>
                <a:gd name="T1" fmla="*/ 24 h 96"/>
                <a:gd name="T2" fmla="*/ 32 w 83"/>
                <a:gd name="T3" fmla="*/ 17 h 96"/>
                <a:gd name="T4" fmla="*/ 37 w 83"/>
                <a:gd name="T5" fmla="*/ 0 h 96"/>
                <a:gd name="T6" fmla="*/ 55 w 83"/>
                <a:gd name="T7" fmla="*/ 2 h 96"/>
                <a:gd name="T8" fmla="*/ 65 w 83"/>
                <a:gd name="T9" fmla="*/ 17 h 96"/>
                <a:gd name="T10" fmla="*/ 80 w 83"/>
                <a:gd name="T11" fmla="*/ 21 h 96"/>
                <a:gd name="T12" fmla="*/ 79 w 83"/>
                <a:gd name="T13" fmla="*/ 26 h 96"/>
                <a:gd name="T14" fmla="*/ 77 w 83"/>
                <a:gd name="T15" fmla="*/ 32 h 96"/>
                <a:gd name="T16" fmla="*/ 77 w 83"/>
                <a:gd name="T17" fmla="*/ 41 h 96"/>
                <a:gd name="T18" fmla="*/ 81 w 83"/>
                <a:gd name="T19" fmla="*/ 49 h 96"/>
                <a:gd name="T20" fmla="*/ 79 w 83"/>
                <a:gd name="T21" fmla="*/ 65 h 96"/>
                <a:gd name="T22" fmla="*/ 56 w 83"/>
                <a:gd name="T23" fmla="*/ 59 h 96"/>
                <a:gd name="T24" fmla="*/ 49 w 83"/>
                <a:gd name="T25" fmla="*/ 69 h 96"/>
                <a:gd name="T26" fmla="*/ 29 w 83"/>
                <a:gd name="T27" fmla="*/ 96 h 96"/>
                <a:gd name="T28" fmla="*/ 8 w 83"/>
                <a:gd name="T29" fmla="*/ 77 h 96"/>
                <a:gd name="T30" fmla="*/ 4 w 83"/>
                <a:gd name="T3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96">
                  <a:moveTo>
                    <a:pt x="4" y="24"/>
                  </a:moveTo>
                  <a:cubicBezTo>
                    <a:pt x="13" y="24"/>
                    <a:pt x="24" y="22"/>
                    <a:pt x="32" y="17"/>
                  </a:cubicBezTo>
                  <a:cubicBezTo>
                    <a:pt x="37" y="14"/>
                    <a:pt x="37" y="0"/>
                    <a:pt x="37" y="0"/>
                  </a:cubicBezTo>
                  <a:cubicBezTo>
                    <a:pt x="44" y="1"/>
                    <a:pt x="49" y="0"/>
                    <a:pt x="55" y="2"/>
                  </a:cubicBezTo>
                  <a:cubicBezTo>
                    <a:pt x="60" y="3"/>
                    <a:pt x="59" y="14"/>
                    <a:pt x="65" y="17"/>
                  </a:cubicBezTo>
                  <a:cubicBezTo>
                    <a:pt x="72" y="14"/>
                    <a:pt x="76" y="15"/>
                    <a:pt x="80" y="21"/>
                  </a:cubicBezTo>
                  <a:cubicBezTo>
                    <a:pt x="80" y="23"/>
                    <a:pt x="80" y="25"/>
                    <a:pt x="79" y="26"/>
                  </a:cubicBezTo>
                  <a:cubicBezTo>
                    <a:pt x="77" y="27"/>
                    <a:pt x="78" y="30"/>
                    <a:pt x="77" y="32"/>
                  </a:cubicBezTo>
                  <a:cubicBezTo>
                    <a:pt x="77" y="34"/>
                    <a:pt x="78" y="35"/>
                    <a:pt x="77" y="41"/>
                  </a:cubicBezTo>
                  <a:cubicBezTo>
                    <a:pt x="78" y="44"/>
                    <a:pt x="81" y="45"/>
                    <a:pt x="81" y="49"/>
                  </a:cubicBezTo>
                  <a:cubicBezTo>
                    <a:pt x="81" y="53"/>
                    <a:pt x="83" y="63"/>
                    <a:pt x="79" y="65"/>
                  </a:cubicBezTo>
                  <a:cubicBezTo>
                    <a:pt x="69" y="64"/>
                    <a:pt x="62" y="67"/>
                    <a:pt x="56" y="59"/>
                  </a:cubicBezTo>
                  <a:cubicBezTo>
                    <a:pt x="46" y="60"/>
                    <a:pt x="55" y="61"/>
                    <a:pt x="49" y="69"/>
                  </a:cubicBezTo>
                  <a:cubicBezTo>
                    <a:pt x="51" y="79"/>
                    <a:pt x="38" y="89"/>
                    <a:pt x="29" y="96"/>
                  </a:cubicBezTo>
                  <a:cubicBezTo>
                    <a:pt x="20" y="93"/>
                    <a:pt x="16" y="83"/>
                    <a:pt x="8" y="77"/>
                  </a:cubicBezTo>
                  <a:cubicBezTo>
                    <a:pt x="4" y="65"/>
                    <a:pt x="0" y="34"/>
                    <a:pt x="4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6" name="Freeform 91"/>
            <p:cNvSpPr>
              <a:spLocks/>
            </p:cNvSpPr>
            <p:nvPr>
              <p:custDataLst>
                <p:tags r:id="rId72"/>
              </p:custDataLst>
            </p:nvPr>
          </p:nvSpPr>
          <p:spPr bwMode="gray">
            <a:xfrm>
              <a:off x="5168912" y="4530428"/>
              <a:ext cx="264035" cy="404936"/>
            </a:xfrm>
            <a:custGeom>
              <a:avLst/>
              <a:gdLst>
                <a:gd name="T0" fmla="*/ 38 w 161"/>
                <a:gd name="T1" fmla="*/ 237 h 250"/>
                <a:gd name="T2" fmla="*/ 63 w 161"/>
                <a:gd name="T3" fmla="*/ 221 h 250"/>
                <a:gd name="T4" fmla="*/ 77 w 161"/>
                <a:gd name="T5" fmla="*/ 204 h 250"/>
                <a:gd name="T6" fmla="*/ 75 w 161"/>
                <a:gd name="T7" fmla="*/ 173 h 250"/>
                <a:gd name="T8" fmla="*/ 65 w 161"/>
                <a:gd name="T9" fmla="*/ 150 h 250"/>
                <a:gd name="T10" fmla="*/ 77 w 161"/>
                <a:gd name="T11" fmla="*/ 134 h 250"/>
                <a:gd name="T12" fmla="*/ 87 w 161"/>
                <a:gd name="T13" fmla="*/ 123 h 250"/>
                <a:gd name="T14" fmla="*/ 96 w 161"/>
                <a:gd name="T15" fmla="*/ 116 h 250"/>
                <a:gd name="T16" fmla="*/ 134 w 161"/>
                <a:gd name="T17" fmla="*/ 102 h 250"/>
                <a:gd name="T18" fmla="*/ 149 w 161"/>
                <a:gd name="T19" fmla="*/ 71 h 250"/>
                <a:gd name="T20" fmla="*/ 140 w 161"/>
                <a:gd name="T21" fmla="*/ 0 h 250"/>
                <a:gd name="T22" fmla="*/ 120 w 161"/>
                <a:gd name="T23" fmla="*/ 15 h 250"/>
                <a:gd name="T24" fmla="*/ 99 w 161"/>
                <a:gd name="T25" fmla="*/ 23 h 250"/>
                <a:gd name="T26" fmla="*/ 65 w 161"/>
                <a:gd name="T27" fmla="*/ 24 h 250"/>
                <a:gd name="T28" fmla="*/ 68 w 161"/>
                <a:gd name="T29" fmla="*/ 47 h 250"/>
                <a:gd name="T30" fmla="*/ 74 w 161"/>
                <a:gd name="T31" fmla="*/ 62 h 250"/>
                <a:gd name="T32" fmla="*/ 71 w 161"/>
                <a:gd name="T33" fmla="*/ 99 h 250"/>
                <a:gd name="T34" fmla="*/ 57 w 161"/>
                <a:gd name="T35" fmla="*/ 86 h 250"/>
                <a:gd name="T36" fmla="*/ 45 w 161"/>
                <a:gd name="T37" fmla="*/ 63 h 250"/>
                <a:gd name="T38" fmla="*/ 32 w 161"/>
                <a:gd name="T39" fmla="*/ 54 h 250"/>
                <a:gd name="T40" fmla="*/ 18 w 161"/>
                <a:gd name="T41" fmla="*/ 63 h 250"/>
                <a:gd name="T42" fmla="*/ 5 w 161"/>
                <a:gd name="T43" fmla="*/ 72 h 250"/>
                <a:gd name="T44" fmla="*/ 8 w 161"/>
                <a:gd name="T45" fmla="*/ 84 h 250"/>
                <a:gd name="T46" fmla="*/ 17 w 161"/>
                <a:gd name="T47" fmla="*/ 87 h 250"/>
                <a:gd name="T48" fmla="*/ 35 w 161"/>
                <a:gd name="T49" fmla="*/ 99 h 250"/>
                <a:gd name="T50" fmla="*/ 35 w 161"/>
                <a:gd name="T51" fmla="*/ 138 h 250"/>
                <a:gd name="T52" fmla="*/ 30 w 161"/>
                <a:gd name="T53" fmla="*/ 158 h 250"/>
                <a:gd name="T54" fmla="*/ 27 w 161"/>
                <a:gd name="T55" fmla="*/ 174 h 250"/>
                <a:gd name="T56" fmla="*/ 6 w 161"/>
                <a:gd name="T57" fmla="*/ 189 h 250"/>
                <a:gd name="T58" fmla="*/ 17 w 161"/>
                <a:gd name="T59" fmla="*/ 206 h 250"/>
                <a:gd name="T60" fmla="*/ 24 w 161"/>
                <a:gd name="T61" fmla="*/ 230 h 250"/>
                <a:gd name="T62" fmla="*/ 29 w 161"/>
                <a:gd name="T63" fmla="*/ 249 h 250"/>
                <a:gd name="T64" fmla="*/ 38 w 161"/>
                <a:gd name="T65" fmla="*/ 2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50">
                  <a:moveTo>
                    <a:pt x="38" y="237"/>
                  </a:moveTo>
                  <a:cubicBezTo>
                    <a:pt x="40" y="223"/>
                    <a:pt x="51" y="222"/>
                    <a:pt x="63" y="221"/>
                  </a:cubicBezTo>
                  <a:cubicBezTo>
                    <a:pt x="70" y="218"/>
                    <a:pt x="73" y="211"/>
                    <a:pt x="77" y="204"/>
                  </a:cubicBezTo>
                  <a:cubicBezTo>
                    <a:pt x="79" y="194"/>
                    <a:pt x="80" y="183"/>
                    <a:pt x="75" y="173"/>
                  </a:cubicBezTo>
                  <a:cubicBezTo>
                    <a:pt x="73" y="164"/>
                    <a:pt x="70" y="158"/>
                    <a:pt x="65" y="150"/>
                  </a:cubicBezTo>
                  <a:cubicBezTo>
                    <a:pt x="66" y="135"/>
                    <a:pt x="65" y="136"/>
                    <a:pt x="77" y="134"/>
                  </a:cubicBezTo>
                  <a:cubicBezTo>
                    <a:pt x="87" y="129"/>
                    <a:pt x="82" y="129"/>
                    <a:pt x="87" y="123"/>
                  </a:cubicBezTo>
                  <a:cubicBezTo>
                    <a:pt x="89" y="120"/>
                    <a:pt x="96" y="116"/>
                    <a:pt x="96" y="116"/>
                  </a:cubicBezTo>
                  <a:cubicBezTo>
                    <a:pt x="104" y="102"/>
                    <a:pt x="119" y="104"/>
                    <a:pt x="134" y="102"/>
                  </a:cubicBezTo>
                  <a:cubicBezTo>
                    <a:pt x="135" y="89"/>
                    <a:pt x="143" y="82"/>
                    <a:pt x="149" y="71"/>
                  </a:cubicBezTo>
                  <a:cubicBezTo>
                    <a:pt x="148" y="50"/>
                    <a:pt x="161" y="15"/>
                    <a:pt x="140" y="0"/>
                  </a:cubicBezTo>
                  <a:cubicBezTo>
                    <a:pt x="134" y="7"/>
                    <a:pt x="129" y="14"/>
                    <a:pt x="120" y="15"/>
                  </a:cubicBezTo>
                  <a:cubicBezTo>
                    <a:pt x="107" y="13"/>
                    <a:pt x="109" y="22"/>
                    <a:pt x="99" y="23"/>
                  </a:cubicBezTo>
                  <a:cubicBezTo>
                    <a:pt x="88" y="24"/>
                    <a:pt x="76" y="24"/>
                    <a:pt x="65" y="24"/>
                  </a:cubicBezTo>
                  <a:cubicBezTo>
                    <a:pt x="62" y="33"/>
                    <a:pt x="59" y="42"/>
                    <a:pt x="68" y="47"/>
                  </a:cubicBezTo>
                  <a:cubicBezTo>
                    <a:pt x="72" y="52"/>
                    <a:pt x="72" y="56"/>
                    <a:pt x="74" y="62"/>
                  </a:cubicBezTo>
                  <a:cubicBezTo>
                    <a:pt x="76" y="74"/>
                    <a:pt x="83" y="90"/>
                    <a:pt x="71" y="99"/>
                  </a:cubicBezTo>
                  <a:cubicBezTo>
                    <a:pt x="60" y="97"/>
                    <a:pt x="61" y="94"/>
                    <a:pt x="57" y="86"/>
                  </a:cubicBezTo>
                  <a:cubicBezTo>
                    <a:pt x="56" y="62"/>
                    <a:pt x="60" y="68"/>
                    <a:pt x="45" y="63"/>
                  </a:cubicBezTo>
                  <a:cubicBezTo>
                    <a:pt x="41" y="58"/>
                    <a:pt x="38" y="56"/>
                    <a:pt x="32" y="54"/>
                  </a:cubicBezTo>
                  <a:cubicBezTo>
                    <a:pt x="28" y="61"/>
                    <a:pt x="26" y="62"/>
                    <a:pt x="18" y="63"/>
                  </a:cubicBezTo>
                  <a:cubicBezTo>
                    <a:pt x="14" y="70"/>
                    <a:pt x="11" y="68"/>
                    <a:pt x="5" y="72"/>
                  </a:cubicBezTo>
                  <a:cubicBezTo>
                    <a:pt x="1" y="78"/>
                    <a:pt x="0" y="82"/>
                    <a:pt x="8" y="84"/>
                  </a:cubicBezTo>
                  <a:cubicBezTo>
                    <a:pt x="11" y="85"/>
                    <a:pt x="14" y="85"/>
                    <a:pt x="17" y="87"/>
                  </a:cubicBezTo>
                  <a:cubicBezTo>
                    <a:pt x="24" y="92"/>
                    <a:pt x="25" y="97"/>
                    <a:pt x="35" y="99"/>
                  </a:cubicBezTo>
                  <a:cubicBezTo>
                    <a:pt x="38" y="107"/>
                    <a:pt x="36" y="128"/>
                    <a:pt x="35" y="138"/>
                  </a:cubicBezTo>
                  <a:cubicBezTo>
                    <a:pt x="34" y="148"/>
                    <a:pt x="31" y="152"/>
                    <a:pt x="30" y="158"/>
                  </a:cubicBezTo>
                  <a:cubicBezTo>
                    <a:pt x="29" y="165"/>
                    <a:pt x="33" y="170"/>
                    <a:pt x="27" y="174"/>
                  </a:cubicBezTo>
                  <a:cubicBezTo>
                    <a:pt x="24" y="182"/>
                    <a:pt x="13" y="185"/>
                    <a:pt x="6" y="189"/>
                  </a:cubicBezTo>
                  <a:cubicBezTo>
                    <a:pt x="8" y="194"/>
                    <a:pt x="15" y="201"/>
                    <a:pt x="17" y="206"/>
                  </a:cubicBezTo>
                  <a:cubicBezTo>
                    <a:pt x="18" y="222"/>
                    <a:pt x="16" y="220"/>
                    <a:pt x="24" y="230"/>
                  </a:cubicBezTo>
                  <a:cubicBezTo>
                    <a:pt x="26" y="243"/>
                    <a:pt x="18" y="247"/>
                    <a:pt x="29" y="249"/>
                  </a:cubicBezTo>
                  <a:cubicBezTo>
                    <a:pt x="31" y="250"/>
                    <a:pt x="32" y="242"/>
                    <a:pt x="38" y="2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7" name="Freeform 92"/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5126796" y="4339297"/>
              <a:ext cx="48595" cy="50213"/>
            </a:xfrm>
            <a:custGeom>
              <a:avLst/>
              <a:gdLst>
                <a:gd name="T0" fmla="*/ 25 w 29"/>
                <a:gd name="T1" fmla="*/ 0 h 31"/>
                <a:gd name="T2" fmla="*/ 3 w 29"/>
                <a:gd name="T3" fmla="*/ 7 h 31"/>
                <a:gd name="T4" fmla="*/ 4 w 29"/>
                <a:gd name="T5" fmla="*/ 28 h 31"/>
                <a:gd name="T6" fmla="*/ 18 w 29"/>
                <a:gd name="T7" fmla="*/ 25 h 31"/>
                <a:gd name="T8" fmla="*/ 27 w 29"/>
                <a:gd name="T9" fmla="*/ 18 h 31"/>
                <a:gd name="T10" fmla="*/ 25 w 29"/>
                <a:gd name="T11" fmla="*/ 7 h 31"/>
                <a:gd name="T12" fmla="*/ 25 w 29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1">
                  <a:moveTo>
                    <a:pt x="25" y="0"/>
                  </a:moveTo>
                  <a:cubicBezTo>
                    <a:pt x="16" y="1"/>
                    <a:pt x="9" y="0"/>
                    <a:pt x="3" y="7"/>
                  </a:cubicBezTo>
                  <a:cubicBezTo>
                    <a:pt x="0" y="11"/>
                    <a:pt x="2" y="25"/>
                    <a:pt x="4" y="28"/>
                  </a:cubicBezTo>
                  <a:cubicBezTo>
                    <a:pt x="6" y="31"/>
                    <a:pt x="14" y="27"/>
                    <a:pt x="18" y="25"/>
                  </a:cubicBezTo>
                  <a:cubicBezTo>
                    <a:pt x="21" y="23"/>
                    <a:pt x="26" y="21"/>
                    <a:pt x="27" y="18"/>
                  </a:cubicBezTo>
                  <a:cubicBezTo>
                    <a:pt x="28" y="15"/>
                    <a:pt x="25" y="10"/>
                    <a:pt x="25" y="7"/>
                  </a:cubicBezTo>
                  <a:cubicBezTo>
                    <a:pt x="25" y="4"/>
                    <a:pt x="29" y="0"/>
                    <a:pt x="2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8" name="Freeform 93"/>
            <p:cNvSpPr>
              <a:spLocks/>
            </p:cNvSpPr>
            <p:nvPr>
              <p:custDataLst>
                <p:tags r:id="rId74"/>
              </p:custDataLst>
            </p:nvPr>
          </p:nvSpPr>
          <p:spPr bwMode="gray">
            <a:xfrm>
              <a:off x="5130035" y="4303663"/>
              <a:ext cx="278613" cy="270498"/>
            </a:xfrm>
            <a:custGeom>
              <a:avLst/>
              <a:gdLst>
                <a:gd name="T0" fmla="*/ 10 w 169"/>
                <a:gd name="T1" fmla="*/ 2 h 167"/>
                <a:gd name="T2" fmla="*/ 53 w 169"/>
                <a:gd name="T3" fmla="*/ 2 h 167"/>
                <a:gd name="T4" fmla="*/ 77 w 169"/>
                <a:gd name="T5" fmla="*/ 5 h 167"/>
                <a:gd name="T6" fmla="*/ 103 w 169"/>
                <a:gd name="T7" fmla="*/ 13 h 167"/>
                <a:gd name="T8" fmla="*/ 128 w 169"/>
                <a:gd name="T9" fmla="*/ 37 h 167"/>
                <a:gd name="T10" fmla="*/ 149 w 169"/>
                <a:gd name="T11" fmla="*/ 49 h 167"/>
                <a:gd name="T12" fmla="*/ 154 w 169"/>
                <a:gd name="T13" fmla="*/ 106 h 167"/>
                <a:gd name="T14" fmla="*/ 157 w 169"/>
                <a:gd name="T15" fmla="*/ 122 h 167"/>
                <a:gd name="T16" fmla="*/ 155 w 169"/>
                <a:gd name="T17" fmla="*/ 151 h 167"/>
                <a:gd name="T18" fmla="*/ 136 w 169"/>
                <a:gd name="T19" fmla="*/ 155 h 167"/>
                <a:gd name="T20" fmla="*/ 124 w 169"/>
                <a:gd name="T21" fmla="*/ 163 h 167"/>
                <a:gd name="T22" fmla="*/ 106 w 169"/>
                <a:gd name="T23" fmla="*/ 164 h 167"/>
                <a:gd name="T24" fmla="*/ 89 w 169"/>
                <a:gd name="T25" fmla="*/ 160 h 167"/>
                <a:gd name="T26" fmla="*/ 38 w 169"/>
                <a:gd name="T27" fmla="*/ 121 h 167"/>
                <a:gd name="T28" fmla="*/ 20 w 169"/>
                <a:gd name="T29" fmla="*/ 109 h 167"/>
                <a:gd name="T30" fmla="*/ 23 w 169"/>
                <a:gd name="T31" fmla="*/ 92 h 167"/>
                <a:gd name="T32" fmla="*/ 10 w 169"/>
                <a:gd name="T33" fmla="*/ 85 h 167"/>
                <a:gd name="T34" fmla="*/ 1 w 169"/>
                <a:gd name="T35" fmla="*/ 73 h 167"/>
                <a:gd name="T36" fmla="*/ 2 w 169"/>
                <a:gd name="T37" fmla="*/ 53 h 167"/>
                <a:gd name="T38" fmla="*/ 12 w 169"/>
                <a:gd name="T39" fmla="*/ 52 h 167"/>
                <a:gd name="T40" fmla="*/ 26 w 169"/>
                <a:gd name="T41" fmla="*/ 38 h 167"/>
                <a:gd name="T42" fmla="*/ 23 w 169"/>
                <a:gd name="T43" fmla="*/ 23 h 167"/>
                <a:gd name="T44" fmla="*/ 25 w 169"/>
                <a:gd name="T45" fmla="*/ 13 h 167"/>
                <a:gd name="T46" fmla="*/ 10 w 169"/>
                <a:gd name="T47" fmla="*/ 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9" h="167">
                  <a:moveTo>
                    <a:pt x="10" y="2"/>
                  </a:moveTo>
                  <a:cubicBezTo>
                    <a:pt x="15" y="0"/>
                    <a:pt x="38" y="0"/>
                    <a:pt x="53" y="2"/>
                  </a:cubicBezTo>
                  <a:cubicBezTo>
                    <a:pt x="64" y="2"/>
                    <a:pt x="69" y="3"/>
                    <a:pt x="77" y="5"/>
                  </a:cubicBezTo>
                  <a:cubicBezTo>
                    <a:pt x="85" y="7"/>
                    <a:pt x="95" y="8"/>
                    <a:pt x="103" y="13"/>
                  </a:cubicBezTo>
                  <a:cubicBezTo>
                    <a:pt x="113" y="20"/>
                    <a:pt x="117" y="32"/>
                    <a:pt x="128" y="37"/>
                  </a:cubicBezTo>
                  <a:cubicBezTo>
                    <a:pt x="136" y="48"/>
                    <a:pt x="136" y="45"/>
                    <a:pt x="149" y="49"/>
                  </a:cubicBezTo>
                  <a:cubicBezTo>
                    <a:pt x="138" y="64"/>
                    <a:pt x="147" y="89"/>
                    <a:pt x="154" y="106"/>
                  </a:cubicBezTo>
                  <a:cubicBezTo>
                    <a:pt x="155" y="113"/>
                    <a:pt x="153" y="117"/>
                    <a:pt x="157" y="122"/>
                  </a:cubicBezTo>
                  <a:cubicBezTo>
                    <a:pt x="159" y="134"/>
                    <a:pt x="169" y="149"/>
                    <a:pt x="155" y="151"/>
                  </a:cubicBezTo>
                  <a:cubicBezTo>
                    <a:pt x="152" y="157"/>
                    <a:pt x="141" y="153"/>
                    <a:pt x="136" y="155"/>
                  </a:cubicBezTo>
                  <a:cubicBezTo>
                    <a:pt x="131" y="157"/>
                    <a:pt x="129" y="162"/>
                    <a:pt x="124" y="163"/>
                  </a:cubicBezTo>
                  <a:cubicBezTo>
                    <a:pt x="119" y="164"/>
                    <a:pt x="112" y="164"/>
                    <a:pt x="106" y="164"/>
                  </a:cubicBezTo>
                  <a:cubicBezTo>
                    <a:pt x="100" y="167"/>
                    <a:pt x="95" y="161"/>
                    <a:pt x="89" y="160"/>
                  </a:cubicBezTo>
                  <a:cubicBezTo>
                    <a:pt x="87" y="131"/>
                    <a:pt x="64" y="122"/>
                    <a:pt x="38" y="121"/>
                  </a:cubicBezTo>
                  <a:cubicBezTo>
                    <a:pt x="32" y="117"/>
                    <a:pt x="26" y="113"/>
                    <a:pt x="20" y="109"/>
                  </a:cubicBezTo>
                  <a:cubicBezTo>
                    <a:pt x="17" y="105"/>
                    <a:pt x="25" y="96"/>
                    <a:pt x="23" y="92"/>
                  </a:cubicBezTo>
                  <a:cubicBezTo>
                    <a:pt x="21" y="88"/>
                    <a:pt x="14" y="88"/>
                    <a:pt x="10" y="85"/>
                  </a:cubicBezTo>
                  <a:cubicBezTo>
                    <a:pt x="8" y="78"/>
                    <a:pt x="2" y="78"/>
                    <a:pt x="1" y="73"/>
                  </a:cubicBezTo>
                  <a:cubicBezTo>
                    <a:pt x="0" y="68"/>
                    <a:pt x="0" y="56"/>
                    <a:pt x="2" y="53"/>
                  </a:cubicBezTo>
                  <a:cubicBezTo>
                    <a:pt x="4" y="50"/>
                    <a:pt x="8" y="54"/>
                    <a:pt x="12" y="52"/>
                  </a:cubicBezTo>
                  <a:cubicBezTo>
                    <a:pt x="16" y="50"/>
                    <a:pt x="24" y="43"/>
                    <a:pt x="26" y="38"/>
                  </a:cubicBezTo>
                  <a:cubicBezTo>
                    <a:pt x="25" y="32"/>
                    <a:pt x="26" y="29"/>
                    <a:pt x="23" y="23"/>
                  </a:cubicBezTo>
                  <a:cubicBezTo>
                    <a:pt x="25" y="20"/>
                    <a:pt x="24" y="16"/>
                    <a:pt x="25" y="13"/>
                  </a:cubicBezTo>
                  <a:cubicBezTo>
                    <a:pt x="29" y="2"/>
                    <a:pt x="15" y="3"/>
                    <a:pt x="1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9" name="Freeform 94"/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5133275" y="4306902"/>
              <a:ext cx="53455" cy="40494"/>
            </a:xfrm>
            <a:custGeom>
              <a:avLst/>
              <a:gdLst>
                <a:gd name="T0" fmla="*/ 11 w 32"/>
                <a:gd name="T1" fmla="*/ 2 h 25"/>
                <a:gd name="T2" fmla="*/ 21 w 32"/>
                <a:gd name="T3" fmla="*/ 14 h 25"/>
                <a:gd name="T4" fmla="*/ 0 w 32"/>
                <a:gd name="T5" fmla="*/ 24 h 25"/>
                <a:gd name="T6" fmla="*/ 6 w 32"/>
                <a:gd name="T7" fmla="*/ 8 h 25"/>
                <a:gd name="T8" fmla="*/ 11 w 32"/>
                <a:gd name="T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5">
                  <a:moveTo>
                    <a:pt x="11" y="2"/>
                  </a:moveTo>
                  <a:cubicBezTo>
                    <a:pt x="23" y="0"/>
                    <a:pt x="32" y="10"/>
                    <a:pt x="21" y="14"/>
                  </a:cubicBezTo>
                  <a:cubicBezTo>
                    <a:pt x="16" y="21"/>
                    <a:pt x="8" y="25"/>
                    <a:pt x="0" y="24"/>
                  </a:cubicBezTo>
                  <a:cubicBezTo>
                    <a:pt x="1" y="16"/>
                    <a:pt x="0" y="13"/>
                    <a:pt x="6" y="8"/>
                  </a:cubicBezTo>
                  <a:cubicBezTo>
                    <a:pt x="9" y="2"/>
                    <a:pt x="7" y="2"/>
                    <a:pt x="11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0" name="Freeform 95"/>
            <p:cNvSpPr>
              <a:spLocks/>
            </p:cNvSpPr>
            <p:nvPr>
              <p:custDataLst>
                <p:tags r:id="rId76"/>
              </p:custDataLst>
            </p:nvPr>
          </p:nvSpPr>
          <p:spPr bwMode="gray">
            <a:xfrm>
              <a:off x="5220747" y="4510991"/>
              <a:ext cx="77752" cy="179792"/>
            </a:xfrm>
            <a:custGeom>
              <a:avLst/>
              <a:gdLst>
                <a:gd name="T0" fmla="*/ 7 w 47"/>
                <a:gd name="T1" fmla="*/ 0 h 111"/>
                <a:gd name="T2" fmla="*/ 33 w 47"/>
                <a:gd name="T3" fmla="*/ 20 h 111"/>
                <a:gd name="T4" fmla="*/ 34 w 47"/>
                <a:gd name="T5" fmla="*/ 33 h 111"/>
                <a:gd name="T6" fmla="*/ 31 w 47"/>
                <a:gd name="T7" fmla="*/ 54 h 111"/>
                <a:gd name="T8" fmla="*/ 45 w 47"/>
                <a:gd name="T9" fmla="*/ 78 h 111"/>
                <a:gd name="T10" fmla="*/ 45 w 47"/>
                <a:gd name="T11" fmla="*/ 101 h 111"/>
                <a:gd name="T12" fmla="*/ 30 w 47"/>
                <a:gd name="T13" fmla="*/ 108 h 111"/>
                <a:gd name="T14" fmla="*/ 24 w 47"/>
                <a:gd name="T15" fmla="*/ 80 h 111"/>
                <a:gd name="T16" fmla="*/ 9 w 47"/>
                <a:gd name="T17" fmla="*/ 68 h 111"/>
                <a:gd name="T18" fmla="*/ 1 w 47"/>
                <a:gd name="T19" fmla="*/ 56 h 111"/>
                <a:gd name="T20" fmla="*/ 12 w 47"/>
                <a:gd name="T21" fmla="*/ 35 h 111"/>
                <a:gd name="T22" fmla="*/ 7 w 47"/>
                <a:gd name="T2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111">
                  <a:moveTo>
                    <a:pt x="7" y="0"/>
                  </a:moveTo>
                  <a:cubicBezTo>
                    <a:pt x="21" y="2"/>
                    <a:pt x="28" y="6"/>
                    <a:pt x="33" y="20"/>
                  </a:cubicBezTo>
                  <a:cubicBezTo>
                    <a:pt x="37" y="26"/>
                    <a:pt x="34" y="27"/>
                    <a:pt x="34" y="33"/>
                  </a:cubicBezTo>
                  <a:cubicBezTo>
                    <a:pt x="34" y="39"/>
                    <a:pt x="29" y="47"/>
                    <a:pt x="31" y="54"/>
                  </a:cubicBezTo>
                  <a:cubicBezTo>
                    <a:pt x="35" y="60"/>
                    <a:pt x="43" y="71"/>
                    <a:pt x="45" y="78"/>
                  </a:cubicBezTo>
                  <a:cubicBezTo>
                    <a:pt x="47" y="86"/>
                    <a:pt x="47" y="96"/>
                    <a:pt x="45" y="101"/>
                  </a:cubicBezTo>
                  <a:cubicBezTo>
                    <a:pt x="43" y="106"/>
                    <a:pt x="33" y="111"/>
                    <a:pt x="30" y="108"/>
                  </a:cubicBezTo>
                  <a:cubicBezTo>
                    <a:pt x="26" y="100"/>
                    <a:pt x="26" y="88"/>
                    <a:pt x="24" y="80"/>
                  </a:cubicBezTo>
                  <a:cubicBezTo>
                    <a:pt x="22" y="73"/>
                    <a:pt x="14" y="72"/>
                    <a:pt x="9" y="68"/>
                  </a:cubicBezTo>
                  <a:cubicBezTo>
                    <a:pt x="6" y="63"/>
                    <a:pt x="2" y="62"/>
                    <a:pt x="1" y="56"/>
                  </a:cubicBezTo>
                  <a:cubicBezTo>
                    <a:pt x="0" y="50"/>
                    <a:pt x="11" y="44"/>
                    <a:pt x="12" y="35"/>
                  </a:cubicBezTo>
                  <a:cubicBezTo>
                    <a:pt x="13" y="26"/>
                    <a:pt x="8" y="7"/>
                    <a:pt x="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1" name="Freeform 96"/>
            <p:cNvSpPr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4613307" y="3313998"/>
              <a:ext cx="98811" cy="181411"/>
            </a:xfrm>
            <a:custGeom>
              <a:avLst/>
              <a:gdLst>
                <a:gd name="T0" fmla="*/ 19 w 60"/>
                <a:gd name="T1" fmla="*/ 9 h 112"/>
                <a:gd name="T2" fmla="*/ 39 w 60"/>
                <a:gd name="T3" fmla="*/ 4 h 112"/>
                <a:gd name="T4" fmla="*/ 48 w 60"/>
                <a:gd name="T5" fmla="*/ 34 h 112"/>
                <a:gd name="T6" fmla="*/ 37 w 60"/>
                <a:gd name="T7" fmla="*/ 51 h 112"/>
                <a:gd name="T8" fmla="*/ 51 w 60"/>
                <a:gd name="T9" fmla="*/ 73 h 112"/>
                <a:gd name="T10" fmla="*/ 54 w 60"/>
                <a:gd name="T11" fmla="*/ 90 h 112"/>
                <a:gd name="T12" fmla="*/ 41 w 60"/>
                <a:gd name="T13" fmla="*/ 99 h 112"/>
                <a:gd name="T14" fmla="*/ 34 w 60"/>
                <a:gd name="T15" fmla="*/ 103 h 112"/>
                <a:gd name="T16" fmla="*/ 27 w 60"/>
                <a:gd name="T17" fmla="*/ 109 h 112"/>
                <a:gd name="T18" fmla="*/ 7 w 60"/>
                <a:gd name="T19" fmla="*/ 87 h 112"/>
                <a:gd name="T20" fmla="*/ 0 w 60"/>
                <a:gd name="T21" fmla="*/ 73 h 112"/>
                <a:gd name="T22" fmla="*/ 9 w 60"/>
                <a:gd name="T23" fmla="*/ 34 h 112"/>
                <a:gd name="T24" fmla="*/ 19 w 60"/>
                <a:gd name="T25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2">
                  <a:moveTo>
                    <a:pt x="19" y="9"/>
                  </a:moveTo>
                  <a:cubicBezTo>
                    <a:pt x="24" y="0"/>
                    <a:pt x="29" y="3"/>
                    <a:pt x="39" y="4"/>
                  </a:cubicBezTo>
                  <a:cubicBezTo>
                    <a:pt x="49" y="12"/>
                    <a:pt x="43" y="23"/>
                    <a:pt x="48" y="34"/>
                  </a:cubicBezTo>
                  <a:cubicBezTo>
                    <a:pt x="50" y="44"/>
                    <a:pt x="47" y="48"/>
                    <a:pt x="37" y="51"/>
                  </a:cubicBezTo>
                  <a:cubicBezTo>
                    <a:pt x="35" y="64"/>
                    <a:pt x="38" y="70"/>
                    <a:pt x="51" y="73"/>
                  </a:cubicBezTo>
                  <a:cubicBezTo>
                    <a:pt x="55" y="80"/>
                    <a:pt x="60" y="86"/>
                    <a:pt x="54" y="90"/>
                  </a:cubicBezTo>
                  <a:cubicBezTo>
                    <a:pt x="52" y="94"/>
                    <a:pt x="44" y="97"/>
                    <a:pt x="41" y="99"/>
                  </a:cubicBezTo>
                  <a:cubicBezTo>
                    <a:pt x="38" y="101"/>
                    <a:pt x="36" y="101"/>
                    <a:pt x="34" y="103"/>
                  </a:cubicBezTo>
                  <a:cubicBezTo>
                    <a:pt x="32" y="105"/>
                    <a:pt x="32" y="112"/>
                    <a:pt x="27" y="109"/>
                  </a:cubicBezTo>
                  <a:cubicBezTo>
                    <a:pt x="25" y="100"/>
                    <a:pt x="15" y="92"/>
                    <a:pt x="7" y="87"/>
                  </a:cubicBezTo>
                  <a:cubicBezTo>
                    <a:pt x="4" y="82"/>
                    <a:pt x="1" y="79"/>
                    <a:pt x="0" y="73"/>
                  </a:cubicBezTo>
                  <a:cubicBezTo>
                    <a:pt x="1" y="61"/>
                    <a:pt x="3" y="45"/>
                    <a:pt x="9" y="34"/>
                  </a:cubicBezTo>
                  <a:cubicBezTo>
                    <a:pt x="9" y="28"/>
                    <a:pt x="8" y="9"/>
                    <a:pt x="19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2" name="Freeform 100"/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755853" y="2706594"/>
              <a:ext cx="255935" cy="207327"/>
            </a:xfrm>
            <a:custGeom>
              <a:avLst/>
              <a:gdLst>
                <a:gd name="T0" fmla="*/ 0 w 155"/>
                <a:gd name="T1" fmla="*/ 18 h 128"/>
                <a:gd name="T2" fmla="*/ 33 w 155"/>
                <a:gd name="T3" fmla="*/ 15 h 128"/>
                <a:gd name="T4" fmla="*/ 54 w 155"/>
                <a:gd name="T5" fmla="*/ 0 h 128"/>
                <a:gd name="T6" fmla="*/ 87 w 155"/>
                <a:gd name="T7" fmla="*/ 4 h 128"/>
                <a:gd name="T8" fmla="*/ 96 w 155"/>
                <a:gd name="T9" fmla="*/ 16 h 128"/>
                <a:gd name="T10" fmla="*/ 120 w 155"/>
                <a:gd name="T11" fmla="*/ 15 h 128"/>
                <a:gd name="T12" fmla="*/ 147 w 155"/>
                <a:gd name="T13" fmla="*/ 19 h 128"/>
                <a:gd name="T14" fmla="*/ 153 w 155"/>
                <a:gd name="T15" fmla="*/ 39 h 128"/>
                <a:gd name="T16" fmla="*/ 145 w 155"/>
                <a:gd name="T17" fmla="*/ 57 h 128"/>
                <a:gd name="T18" fmla="*/ 150 w 155"/>
                <a:gd name="T19" fmla="*/ 76 h 128"/>
                <a:gd name="T20" fmla="*/ 153 w 155"/>
                <a:gd name="T21" fmla="*/ 99 h 128"/>
                <a:gd name="T22" fmla="*/ 136 w 155"/>
                <a:gd name="T23" fmla="*/ 118 h 128"/>
                <a:gd name="T24" fmla="*/ 123 w 155"/>
                <a:gd name="T25" fmla="*/ 124 h 128"/>
                <a:gd name="T26" fmla="*/ 94 w 155"/>
                <a:gd name="T27" fmla="*/ 127 h 128"/>
                <a:gd name="T28" fmla="*/ 73 w 155"/>
                <a:gd name="T29" fmla="*/ 121 h 128"/>
                <a:gd name="T30" fmla="*/ 39 w 155"/>
                <a:gd name="T31" fmla="*/ 96 h 128"/>
                <a:gd name="T32" fmla="*/ 12 w 155"/>
                <a:gd name="T33" fmla="*/ 88 h 128"/>
                <a:gd name="T34" fmla="*/ 10 w 155"/>
                <a:gd name="T35" fmla="*/ 52 h 128"/>
                <a:gd name="T36" fmla="*/ 0 w 155"/>
                <a:gd name="T37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28">
                  <a:moveTo>
                    <a:pt x="0" y="18"/>
                  </a:moveTo>
                  <a:cubicBezTo>
                    <a:pt x="5" y="17"/>
                    <a:pt x="33" y="15"/>
                    <a:pt x="33" y="15"/>
                  </a:cubicBezTo>
                  <a:cubicBezTo>
                    <a:pt x="42" y="10"/>
                    <a:pt x="42" y="2"/>
                    <a:pt x="54" y="0"/>
                  </a:cubicBezTo>
                  <a:cubicBezTo>
                    <a:pt x="78" y="1"/>
                    <a:pt x="63" y="0"/>
                    <a:pt x="87" y="4"/>
                  </a:cubicBezTo>
                  <a:cubicBezTo>
                    <a:pt x="91" y="5"/>
                    <a:pt x="96" y="16"/>
                    <a:pt x="96" y="16"/>
                  </a:cubicBezTo>
                  <a:cubicBezTo>
                    <a:pt x="100" y="18"/>
                    <a:pt x="112" y="15"/>
                    <a:pt x="120" y="15"/>
                  </a:cubicBezTo>
                  <a:cubicBezTo>
                    <a:pt x="128" y="15"/>
                    <a:pt x="142" y="15"/>
                    <a:pt x="147" y="19"/>
                  </a:cubicBezTo>
                  <a:cubicBezTo>
                    <a:pt x="153" y="23"/>
                    <a:pt x="153" y="33"/>
                    <a:pt x="153" y="39"/>
                  </a:cubicBezTo>
                  <a:cubicBezTo>
                    <a:pt x="153" y="45"/>
                    <a:pt x="145" y="51"/>
                    <a:pt x="145" y="57"/>
                  </a:cubicBezTo>
                  <a:cubicBezTo>
                    <a:pt x="148" y="73"/>
                    <a:pt x="146" y="67"/>
                    <a:pt x="150" y="76"/>
                  </a:cubicBezTo>
                  <a:cubicBezTo>
                    <a:pt x="151" y="83"/>
                    <a:pt x="155" y="92"/>
                    <a:pt x="153" y="99"/>
                  </a:cubicBezTo>
                  <a:cubicBezTo>
                    <a:pt x="151" y="106"/>
                    <a:pt x="141" y="114"/>
                    <a:pt x="136" y="118"/>
                  </a:cubicBezTo>
                  <a:cubicBezTo>
                    <a:pt x="131" y="120"/>
                    <a:pt x="127" y="121"/>
                    <a:pt x="123" y="124"/>
                  </a:cubicBezTo>
                  <a:cubicBezTo>
                    <a:pt x="117" y="125"/>
                    <a:pt x="102" y="128"/>
                    <a:pt x="94" y="127"/>
                  </a:cubicBezTo>
                  <a:cubicBezTo>
                    <a:pt x="86" y="126"/>
                    <a:pt x="82" y="126"/>
                    <a:pt x="73" y="121"/>
                  </a:cubicBezTo>
                  <a:cubicBezTo>
                    <a:pt x="61" y="120"/>
                    <a:pt x="52" y="99"/>
                    <a:pt x="39" y="96"/>
                  </a:cubicBezTo>
                  <a:cubicBezTo>
                    <a:pt x="28" y="88"/>
                    <a:pt x="25" y="92"/>
                    <a:pt x="12" y="88"/>
                  </a:cubicBezTo>
                  <a:cubicBezTo>
                    <a:pt x="6" y="80"/>
                    <a:pt x="11" y="64"/>
                    <a:pt x="10" y="52"/>
                  </a:cubicBezTo>
                  <a:cubicBezTo>
                    <a:pt x="8" y="40"/>
                    <a:pt x="1" y="25"/>
                    <a:pt x="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3" name="Freeform 102"/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616637" y="2577012"/>
              <a:ext cx="176968" cy="162079"/>
            </a:xfrm>
            <a:custGeom>
              <a:avLst/>
              <a:gdLst/>
              <a:ahLst/>
              <a:cxnLst/>
              <a:rect l="l" t="t" r="r" b="b"/>
              <a:pathLst>
                <a:path w="173435" h="158852">
                  <a:moveTo>
                    <a:pt x="161866" y="104174"/>
                  </a:moveTo>
                  <a:cubicBezTo>
                    <a:pt x="177799" y="106608"/>
                    <a:pt x="177890" y="118745"/>
                    <a:pt x="158299" y="114301"/>
                  </a:cubicBezTo>
                  <a:close/>
                  <a:moveTo>
                    <a:pt x="158299" y="103189"/>
                  </a:moveTo>
                  <a:cubicBezTo>
                    <a:pt x="161692" y="103189"/>
                    <a:pt x="162413" y="102751"/>
                    <a:pt x="161866" y="104174"/>
                  </a:cubicBezTo>
                  <a:close/>
                  <a:moveTo>
                    <a:pt x="51691" y="0"/>
                  </a:moveTo>
                  <a:cubicBezTo>
                    <a:pt x="61383" y="3175"/>
                    <a:pt x="74297" y="22223"/>
                    <a:pt x="74297" y="22223"/>
                  </a:cubicBezTo>
                  <a:cubicBezTo>
                    <a:pt x="71074" y="39684"/>
                    <a:pt x="59766" y="44446"/>
                    <a:pt x="64606" y="57145"/>
                  </a:cubicBezTo>
                  <a:cubicBezTo>
                    <a:pt x="56531" y="79368"/>
                    <a:pt x="51691" y="74605"/>
                    <a:pt x="67840" y="79368"/>
                  </a:cubicBezTo>
                  <a:lnTo>
                    <a:pt x="78619" y="73638"/>
                  </a:lnTo>
                  <a:cubicBezTo>
                    <a:pt x="82783" y="68355"/>
                    <a:pt x="73087" y="65081"/>
                    <a:pt x="103383" y="69843"/>
                  </a:cubicBezTo>
                  <a:cubicBezTo>
                    <a:pt x="109840" y="87320"/>
                    <a:pt x="100148" y="109543"/>
                    <a:pt x="96914" y="127004"/>
                  </a:cubicBezTo>
                  <a:cubicBezTo>
                    <a:pt x="72691" y="119067"/>
                    <a:pt x="82383" y="125417"/>
                    <a:pt x="67840" y="111131"/>
                  </a:cubicBezTo>
                  <a:cubicBezTo>
                    <a:pt x="59766" y="134941"/>
                    <a:pt x="67840" y="128591"/>
                    <a:pt x="45223" y="133353"/>
                  </a:cubicBezTo>
                  <a:cubicBezTo>
                    <a:pt x="42000" y="136528"/>
                    <a:pt x="32297" y="133353"/>
                    <a:pt x="30692" y="138115"/>
                  </a:cubicBezTo>
                  <a:cubicBezTo>
                    <a:pt x="27457" y="142877"/>
                    <a:pt x="37149" y="160338"/>
                    <a:pt x="32297" y="158751"/>
                  </a:cubicBezTo>
                  <a:cubicBezTo>
                    <a:pt x="12914" y="155576"/>
                    <a:pt x="9692" y="109543"/>
                    <a:pt x="9692" y="98432"/>
                  </a:cubicBezTo>
                  <a:lnTo>
                    <a:pt x="9692" y="123829"/>
                  </a:lnTo>
                  <a:cubicBezTo>
                    <a:pt x="8074" y="115893"/>
                    <a:pt x="8074" y="106368"/>
                    <a:pt x="6457" y="98432"/>
                  </a:cubicBezTo>
                  <a:cubicBezTo>
                    <a:pt x="4840" y="92082"/>
                    <a:pt x="0" y="79368"/>
                    <a:pt x="0" y="79368"/>
                  </a:cubicBezTo>
                  <a:cubicBezTo>
                    <a:pt x="3223" y="44446"/>
                    <a:pt x="-4852" y="36509"/>
                    <a:pt x="32297" y="31747"/>
                  </a:cubicBezTo>
                  <a:cubicBezTo>
                    <a:pt x="43606" y="20636"/>
                    <a:pt x="48457" y="14286"/>
                    <a:pt x="5169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4" name="Freeform 105"/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5901080" y="3268645"/>
              <a:ext cx="270514" cy="272117"/>
            </a:xfrm>
            <a:custGeom>
              <a:avLst/>
              <a:gdLst>
                <a:gd name="T0" fmla="*/ 165 w 165"/>
                <a:gd name="T1" fmla="*/ 37 h 168"/>
                <a:gd name="T2" fmla="*/ 159 w 165"/>
                <a:gd name="T3" fmla="*/ 45 h 168"/>
                <a:gd name="T4" fmla="*/ 159 w 165"/>
                <a:gd name="T5" fmla="*/ 70 h 168"/>
                <a:gd name="T6" fmla="*/ 159 w 165"/>
                <a:gd name="T7" fmla="*/ 81 h 168"/>
                <a:gd name="T8" fmla="*/ 147 w 165"/>
                <a:gd name="T9" fmla="*/ 85 h 168"/>
                <a:gd name="T10" fmla="*/ 133 w 165"/>
                <a:gd name="T11" fmla="*/ 85 h 168"/>
                <a:gd name="T12" fmla="*/ 144 w 165"/>
                <a:gd name="T13" fmla="*/ 96 h 168"/>
                <a:gd name="T14" fmla="*/ 132 w 165"/>
                <a:gd name="T15" fmla="*/ 103 h 168"/>
                <a:gd name="T16" fmla="*/ 130 w 165"/>
                <a:gd name="T17" fmla="*/ 123 h 168"/>
                <a:gd name="T18" fmla="*/ 112 w 165"/>
                <a:gd name="T19" fmla="*/ 127 h 168"/>
                <a:gd name="T20" fmla="*/ 84 w 165"/>
                <a:gd name="T21" fmla="*/ 138 h 168"/>
                <a:gd name="T22" fmla="*/ 84 w 165"/>
                <a:gd name="T23" fmla="*/ 157 h 168"/>
                <a:gd name="T24" fmla="*/ 70 w 165"/>
                <a:gd name="T25" fmla="*/ 163 h 168"/>
                <a:gd name="T26" fmla="*/ 58 w 165"/>
                <a:gd name="T27" fmla="*/ 160 h 168"/>
                <a:gd name="T28" fmla="*/ 48 w 165"/>
                <a:gd name="T29" fmla="*/ 166 h 168"/>
                <a:gd name="T30" fmla="*/ 7 w 165"/>
                <a:gd name="T31" fmla="*/ 165 h 168"/>
                <a:gd name="T32" fmla="*/ 14 w 165"/>
                <a:gd name="T33" fmla="*/ 149 h 168"/>
                <a:gd name="T34" fmla="*/ 10 w 165"/>
                <a:gd name="T35" fmla="*/ 134 h 168"/>
                <a:gd name="T36" fmla="*/ 10 w 165"/>
                <a:gd name="T37" fmla="*/ 127 h 168"/>
                <a:gd name="T38" fmla="*/ 0 w 165"/>
                <a:gd name="T39" fmla="*/ 120 h 168"/>
                <a:gd name="T40" fmla="*/ 7 w 165"/>
                <a:gd name="T41" fmla="*/ 88 h 168"/>
                <a:gd name="T42" fmla="*/ 10 w 165"/>
                <a:gd name="T43" fmla="*/ 79 h 168"/>
                <a:gd name="T44" fmla="*/ 10 w 165"/>
                <a:gd name="T45" fmla="*/ 73 h 168"/>
                <a:gd name="T46" fmla="*/ 9 w 165"/>
                <a:gd name="T47" fmla="*/ 58 h 168"/>
                <a:gd name="T48" fmla="*/ 25 w 165"/>
                <a:gd name="T49" fmla="*/ 61 h 168"/>
                <a:gd name="T50" fmla="*/ 35 w 165"/>
                <a:gd name="T51" fmla="*/ 67 h 168"/>
                <a:gd name="T52" fmla="*/ 46 w 165"/>
                <a:gd name="T53" fmla="*/ 55 h 168"/>
                <a:gd name="T54" fmla="*/ 58 w 165"/>
                <a:gd name="T55" fmla="*/ 50 h 168"/>
                <a:gd name="T56" fmla="*/ 67 w 165"/>
                <a:gd name="T57" fmla="*/ 28 h 168"/>
                <a:gd name="T58" fmla="*/ 79 w 165"/>
                <a:gd name="T59" fmla="*/ 21 h 168"/>
                <a:gd name="T60" fmla="*/ 94 w 165"/>
                <a:gd name="T61" fmla="*/ 32 h 168"/>
                <a:gd name="T62" fmla="*/ 112 w 165"/>
                <a:gd name="T63" fmla="*/ 28 h 168"/>
                <a:gd name="T64" fmla="*/ 136 w 165"/>
                <a:gd name="T65" fmla="*/ 28 h 168"/>
                <a:gd name="T66" fmla="*/ 149 w 165"/>
                <a:gd name="T67" fmla="*/ 16 h 168"/>
                <a:gd name="T68" fmla="*/ 153 w 165"/>
                <a:gd name="T69" fmla="*/ 1 h 168"/>
                <a:gd name="T70" fmla="*/ 162 w 165"/>
                <a:gd name="T71" fmla="*/ 9 h 168"/>
                <a:gd name="T72" fmla="*/ 165 w 165"/>
                <a:gd name="T73" fmla="*/ 3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68">
                  <a:moveTo>
                    <a:pt x="165" y="37"/>
                  </a:moveTo>
                  <a:cubicBezTo>
                    <a:pt x="165" y="43"/>
                    <a:pt x="160" y="40"/>
                    <a:pt x="159" y="45"/>
                  </a:cubicBezTo>
                  <a:cubicBezTo>
                    <a:pt x="158" y="50"/>
                    <a:pt x="159" y="64"/>
                    <a:pt x="159" y="70"/>
                  </a:cubicBezTo>
                  <a:cubicBezTo>
                    <a:pt x="159" y="76"/>
                    <a:pt x="161" y="78"/>
                    <a:pt x="159" y="81"/>
                  </a:cubicBezTo>
                  <a:cubicBezTo>
                    <a:pt x="157" y="84"/>
                    <a:pt x="151" y="84"/>
                    <a:pt x="147" y="85"/>
                  </a:cubicBezTo>
                  <a:cubicBezTo>
                    <a:pt x="143" y="86"/>
                    <a:pt x="133" y="83"/>
                    <a:pt x="133" y="85"/>
                  </a:cubicBezTo>
                  <a:cubicBezTo>
                    <a:pt x="133" y="87"/>
                    <a:pt x="144" y="93"/>
                    <a:pt x="144" y="96"/>
                  </a:cubicBezTo>
                  <a:cubicBezTo>
                    <a:pt x="144" y="99"/>
                    <a:pt x="134" y="99"/>
                    <a:pt x="132" y="103"/>
                  </a:cubicBezTo>
                  <a:cubicBezTo>
                    <a:pt x="130" y="107"/>
                    <a:pt x="133" y="119"/>
                    <a:pt x="130" y="123"/>
                  </a:cubicBezTo>
                  <a:cubicBezTo>
                    <a:pt x="127" y="127"/>
                    <a:pt x="120" y="124"/>
                    <a:pt x="112" y="127"/>
                  </a:cubicBezTo>
                  <a:cubicBezTo>
                    <a:pt x="104" y="130"/>
                    <a:pt x="89" y="133"/>
                    <a:pt x="84" y="138"/>
                  </a:cubicBezTo>
                  <a:cubicBezTo>
                    <a:pt x="79" y="143"/>
                    <a:pt x="86" y="153"/>
                    <a:pt x="84" y="157"/>
                  </a:cubicBezTo>
                  <a:cubicBezTo>
                    <a:pt x="82" y="161"/>
                    <a:pt x="74" y="163"/>
                    <a:pt x="70" y="163"/>
                  </a:cubicBezTo>
                  <a:cubicBezTo>
                    <a:pt x="66" y="163"/>
                    <a:pt x="62" y="159"/>
                    <a:pt x="58" y="160"/>
                  </a:cubicBezTo>
                  <a:cubicBezTo>
                    <a:pt x="54" y="161"/>
                    <a:pt x="56" y="165"/>
                    <a:pt x="48" y="166"/>
                  </a:cubicBezTo>
                  <a:cubicBezTo>
                    <a:pt x="40" y="167"/>
                    <a:pt x="13" y="168"/>
                    <a:pt x="7" y="165"/>
                  </a:cubicBezTo>
                  <a:cubicBezTo>
                    <a:pt x="1" y="162"/>
                    <a:pt x="14" y="154"/>
                    <a:pt x="14" y="149"/>
                  </a:cubicBezTo>
                  <a:cubicBezTo>
                    <a:pt x="14" y="144"/>
                    <a:pt x="11" y="138"/>
                    <a:pt x="10" y="134"/>
                  </a:cubicBezTo>
                  <a:cubicBezTo>
                    <a:pt x="9" y="130"/>
                    <a:pt x="12" y="129"/>
                    <a:pt x="10" y="127"/>
                  </a:cubicBezTo>
                  <a:cubicBezTo>
                    <a:pt x="8" y="125"/>
                    <a:pt x="0" y="126"/>
                    <a:pt x="0" y="120"/>
                  </a:cubicBezTo>
                  <a:cubicBezTo>
                    <a:pt x="0" y="114"/>
                    <a:pt x="5" y="95"/>
                    <a:pt x="7" y="88"/>
                  </a:cubicBezTo>
                  <a:cubicBezTo>
                    <a:pt x="9" y="81"/>
                    <a:pt x="10" y="81"/>
                    <a:pt x="10" y="79"/>
                  </a:cubicBezTo>
                  <a:cubicBezTo>
                    <a:pt x="10" y="77"/>
                    <a:pt x="10" y="76"/>
                    <a:pt x="10" y="73"/>
                  </a:cubicBezTo>
                  <a:cubicBezTo>
                    <a:pt x="10" y="70"/>
                    <a:pt x="6" y="60"/>
                    <a:pt x="9" y="58"/>
                  </a:cubicBezTo>
                  <a:cubicBezTo>
                    <a:pt x="12" y="56"/>
                    <a:pt x="21" y="60"/>
                    <a:pt x="25" y="61"/>
                  </a:cubicBezTo>
                  <a:cubicBezTo>
                    <a:pt x="29" y="62"/>
                    <a:pt x="32" y="68"/>
                    <a:pt x="35" y="67"/>
                  </a:cubicBezTo>
                  <a:cubicBezTo>
                    <a:pt x="38" y="66"/>
                    <a:pt x="42" y="58"/>
                    <a:pt x="46" y="55"/>
                  </a:cubicBezTo>
                  <a:cubicBezTo>
                    <a:pt x="50" y="52"/>
                    <a:pt x="55" y="54"/>
                    <a:pt x="58" y="50"/>
                  </a:cubicBezTo>
                  <a:cubicBezTo>
                    <a:pt x="61" y="46"/>
                    <a:pt x="64" y="33"/>
                    <a:pt x="67" y="28"/>
                  </a:cubicBezTo>
                  <a:cubicBezTo>
                    <a:pt x="70" y="23"/>
                    <a:pt x="75" y="20"/>
                    <a:pt x="79" y="21"/>
                  </a:cubicBezTo>
                  <a:cubicBezTo>
                    <a:pt x="83" y="22"/>
                    <a:pt x="89" y="31"/>
                    <a:pt x="94" y="32"/>
                  </a:cubicBezTo>
                  <a:cubicBezTo>
                    <a:pt x="99" y="33"/>
                    <a:pt x="105" y="29"/>
                    <a:pt x="112" y="28"/>
                  </a:cubicBezTo>
                  <a:cubicBezTo>
                    <a:pt x="119" y="27"/>
                    <a:pt x="130" y="30"/>
                    <a:pt x="136" y="28"/>
                  </a:cubicBezTo>
                  <a:cubicBezTo>
                    <a:pt x="142" y="26"/>
                    <a:pt x="146" y="20"/>
                    <a:pt x="149" y="16"/>
                  </a:cubicBezTo>
                  <a:cubicBezTo>
                    <a:pt x="152" y="12"/>
                    <a:pt x="151" y="2"/>
                    <a:pt x="153" y="1"/>
                  </a:cubicBezTo>
                  <a:cubicBezTo>
                    <a:pt x="155" y="0"/>
                    <a:pt x="161" y="3"/>
                    <a:pt x="162" y="9"/>
                  </a:cubicBezTo>
                  <a:cubicBezTo>
                    <a:pt x="163" y="15"/>
                    <a:pt x="165" y="31"/>
                    <a:pt x="165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5" name="Freeform 106"/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5920518" y="3322097"/>
              <a:ext cx="338547" cy="362823"/>
            </a:xfrm>
            <a:custGeom>
              <a:avLst/>
              <a:gdLst>
                <a:gd name="T0" fmla="*/ 3 w 206"/>
                <a:gd name="T1" fmla="*/ 133 h 224"/>
                <a:gd name="T2" fmla="*/ 6 w 206"/>
                <a:gd name="T3" fmla="*/ 145 h 224"/>
                <a:gd name="T4" fmla="*/ 19 w 206"/>
                <a:gd name="T5" fmla="*/ 150 h 224"/>
                <a:gd name="T6" fmla="*/ 25 w 206"/>
                <a:gd name="T7" fmla="*/ 165 h 224"/>
                <a:gd name="T8" fmla="*/ 28 w 206"/>
                <a:gd name="T9" fmla="*/ 177 h 224"/>
                <a:gd name="T10" fmla="*/ 16 w 206"/>
                <a:gd name="T11" fmla="*/ 178 h 224"/>
                <a:gd name="T12" fmla="*/ 7 w 206"/>
                <a:gd name="T13" fmla="*/ 188 h 224"/>
                <a:gd name="T14" fmla="*/ 7 w 206"/>
                <a:gd name="T15" fmla="*/ 202 h 224"/>
                <a:gd name="T16" fmla="*/ 25 w 206"/>
                <a:gd name="T17" fmla="*/ 199 h 224"/>
                <a:gd name="T18" fmla="*/ 37 w 206"/>
                <a:gd name="T19" fmla="*/ 196 h 224"/>
                <a:gd name="T20" fmla="*/ 55 w 206"/>
                <a:gd name="T21" fmla="*/ 201 h 224"/>
                <a:gd name="T22" fmla="*/ 64 w 206"/>
                <a:gd name="T23" fmla="*/ 190 h 224"/>
                <a:gd name="T24" fmla="*/ 75 w 206"/>
                <a:gd name="T25" fmla="*/ 199 h 224"/>
                <a:gd name="T26" fmla="*/ 88 w 206"/>
                <a:gd name="T27" fmla="*/ 208 h 224"/>
                <a:gd name="T28" fmla="*/ 94 w 206"/>
                <a:gd name="T29" fmla="*/ 222 h 224"/>
                <a:gd name="T30" fmla="*/ 108 w 206"/>
                <a:gd name="T31" fmla="*/ 219 h 224"/>
                <a:gd name="T32" fmla="*/ 143 w 206"/>
                <a:gd name="T33" fmla="*/ 218 h 224"/>
                <a:gd name="T34" fmla="*/ 149 w 206"/>
                <a:gd name="T35" fmla="*/ 206 h 224"/>
                <a:gd name="T36" fmla="*/ 130 w 206"/>
                <a:gd name="T37" fmla="*/ 180 h 224"/>
                <a:gd name="T38" fmla="*/ 123 w 206"/>
                <a:gd name="T39" fmla="*/ 166 h 224"/>
                <a:gd name="T40" fmla="*/ 135 w 206"/>
                <a:gd name="T41" fmla="*/ 161 h 224"/>
                <a:gd name="T42" fmla="*/ 165 w 206"/>
                <a:gd name="T43" fmla="*/ 164 h 224"/>
                <a:gd name="T44" fmla="*/ 165 w 206"/>
                <a:gd name="T45" fmla="*/ 143 h 224"/>
                <a:gd name="T46" fmla="*/ 180 w 206"/>
                <a:gd name="T47" fmla="*/ 130 h 224"/>
                <a:gd name="T48" fmla="*/ 202 w 206"/>
                <a:gd name="T49" fmla="*/ 100 h 224"/>
                <a:gd name="T50" fmla="*/ 204 w 206"/>
                <a:gd name="T51" fmla="*/ 78 h 224"/>
                <a:gd name="T52" fmla="*/ 187 w 206"/>
                <a:gd name="T53" fmla="*/ 66 h 224"/>
                <a:gd name="T54" fmla="*/ 181 w 206"/>
                <a:gd name="T55" fmla="*/ 57 h 224"/>
                <a:gd name="T56" fmla="*/ 180 w 206"/>
                <a:gd name="T57" fmla="*/ 45 h 224"/>
                <a:gd name="T58" fmla="*/ 186 w 206"/>
                <a:gd name="T59" fmla="*/ 30 h 224"/>
                <a:gd name="T60" fmla="*/ 168 w 206"/>
                <a:gd name="T61" fmla="*/ 15 h 224"/>
                <a:gd name="T62" fmla="*/ 165 w 206"/>
                <a:gd name="T63" fmla="*/ 0 h 224"/>
                <a:gd name="T64" fmla="*/ 145 w 206"/>
                <a:gd name="T65" fmla="*/ 16 h 224"/>
                <a:gd name="T66" fmla="*/ 147 w 206"/>
                <a:gd name="T67" fmla="*/ 30 h 224"/>
                <a:gd name="T68" fmla="*/ 147 w 206"/>
                <a:gd name="T69" fmla="*/ 49 h 224"/>
                <a:gd name="T70" fmla="*/ 135 w 206"/>
                <a:gd name="T71" fmla="*/ 51 h 224"/>
                <a:gd name="T72" fmla="*/ 131 w 206"/>
                <a:gd name="T73" fmla="*/ 58 h 224"/>
                <a:gd name="T74" fmla="*/ 121 w 206"/>
                <a:gd name="T75" fmla="*/ 67 h 224"/>
                <a:gd name="T76" fmla="*/ 117 w 206"/>
                <a:gd name="T77" fmla="*/ 88 h 224"/>
                <a:gd name="T78" fmla="*/ 97 w 206"/>
                <a:gd name="T79" fmla="*/ 96 h 224"/>
                <a:gd name="T80" fmla="*/ 76 w 206"/>
                <a:gd name="T81" fmla="*/ 100 h 224"/>
                <a:gd name="T82" fmla="*/ 72 w 206"/>
                <a:gd name="T83" fmla="*/ 117 h 224"/>
                <a:gd name="T84" fmla="*/ 69 w 206"/>
                <a:gd name="T85" fmla="*/ 129 h 224"/>
                <a:gd name="T86" fmla="*/ 58 w 206"/>
                <a:gd name="T87" fmla="*/ 130 h 224"/>
                <a:gd name="T88" fmla="*/ 48 w 206"/>
                <a:gd name="T89" fmla="*/ 129 h 224"/>
                <a:gd name="T90" fmla="*/ 27 w 206"/>
                <a:gd name="T91" fmla="*/ 133 h 224"/>
                <a:gd name="T92" fmla="*/ 3 w 206"/>
                <a:gd name="T93" fmla="*/ 1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" h="224">
                  <a:moveTo>
                    <a:pt x="3" y="133"/>
                  </a:moveTo>
                  <a:cubicBezTo>
                    <a:pt x="0" y="135"/>
                    <a:pt x="3" y="142"/>
                    <a:pt x="6" y="145"/>
                  </a:cubicBezTo>
                  <a:cubicBezTo>
                    <a:pt x="9" y="148"/>
                    <a:pt x="16" y="147"/>
                    <a:pt x="19" y="150"/>
                  </a:cubicBezTo>
                  <a:cubicBezTo>
                    <a:pt x="22" y="153"/>
                    <a:pt x="24" y="161"/>
                    <a:pt x="25" y="165"/>
                  </a:cubicBezTo>
                  <a:cubicBezTo>
                    <a:pt x="26" y="169"/>
                    <a:pt x="29" y="175"/>
                    <a:pt x="28" y="177"/>
                  </a:cubicBezTo>
                  <a:cubicBezTo>
                    <a:pt x="27" y="179"/>
                    <a:pt x="19" y="176"/>
                    <a:pt x="16" y="178"/>
                  </a:cubicBezTo>
                  <a:cubicBezTo>
                    <a:pt x="13" y="180"/>
                    <a:pt x="8" y="184"/>
                    <a:pt x="7" y="188"/>
                  </a:cubicBezTo>
                  <a:cubicBezTo>
                    <a:pt x="6" y="192"/>
                    <a:pt x="4" y="200"/>
                    <a:pt x="7" y="202"/>
                  </a:cubicBezTo>
                  <a:cubicBezTo>
                    <a:pt x="10" y="204"/>
                    <a:pt x="20" y="200"/>
                    <a:pt x="25" y="199"/>
                  </a:cubicBezTo>
                  <a:cubicBezTo>
                    <a:pt x="30" y="198"/>
                    <a:pt x="32" y="196"/>
                    <a:pt x="37" y="196"/>
                  </a:cubicBezTo>
                  <a:cubicBezTo>
                    <a:pt x="42" y="196"/>
                    <a:pt x="51" y="202"/>
                    <a:pt x="55" y="201"/>
                  </a:cubicBezTo>
                  <a:cubicBezTo>
                    <a:pt x="59" y="200"/>
                    <a:pt x="61" y="190"/>
                    <a:pt x="64" y="190"/>
                  </a:cubicBezTo>
                  <a:cubicBezTo>
                    <a:pt x="67" y="190"/>
                    <a:pt x="71" y="196"/>
                    <a:pt x="75" y="199"/>
                  </a:cubicBezTo>
                  <a:cubicBezTo>
                    <a:pt x="79" y="202"/>
                    <a:pt x="85" y="204"/>
                    <a:pt x="88" y="208"/>
                  </a:cubicBezTo>
                  <a:cubicBezTo>
                    <a:pt x="91" y="212"/>
                    <a:pt x="91" y="220"/>
                    <a:pt x="94" y="222"/>
                  </a:cubicBezTo>
                  <a:cubicBezTo>
                    <a:pt x="97" y="224"/>
                    <a:pt x="100" y="220"/>
                    <a:pt x="108" y="219"/>
                  </a:cubicBezTo>
                  <a:cubicBezTo>
                    <a:pt x="116" y="218"/>
                    <a:pt x="136" y="220"/>
                    <a:pt x="143" y="218"/>
                  </a:cubicBezTo>
                  <a:cubicBezTo>
                    <a:pt x="150" y="216"/>
                    <a:pt x="151" y="212"/>
                    <a:pt x="149" y="206"/>
                  </a:cubicBezTo>
                  <a:cubicBezTo>
                    <a:pt x="147" y="200"/>
                    <a:pt x="134" y="187"/>
                    <a:pt x="130" y="180"/>
                  </a:cubicBezTo>
                  <a:cubicBezTo>
                    <a:pt x="126" y="173"/>
                    <a:pt x="122" y="169"/>
                    <a:pt x="123" y="166"/>
                  </a:cubicBezTo>
                  <a:cubicBezTo>
                    <a:pt x="124" y="163"/>
                    <a:pt x="128" y="161"/>
                    <a:pt x="135" y="161"/>
                  </a:cubicBezTo>
                  <a:cubicBezTo>
                    <a:pt x="142" y="161"/>
                    <a:pt x="160" y="167"/>
                    <a:pt x="165" y="164"/>
                  </a:cubicBezTo>
                  <a:cubicBezTo>
                    <a:pt x="170" y="161"/>
                    <a:pt x="163" y="149"/>
                    <a:pt x="165" y="143"/>
                  </a:cubicBezTo>
                  <a:cubicBezTo>
                    <a:pt x="167" y="137"/>
                    <a:pt x="174" y="137"/>
                    <a:pt x="180" y="130"/>
                  </a:cubicBezTo>
                  <a:cubicBezTo>
                    <a:pt x="186" y="123"/>
                    <a:pt x="198" y="109"/>
                    <a:pt x="202" y="100"/>
                  </a:cubicBezTo>
                  <a:cubicBezTo>
                    <a:pt x="206" y="91"/>
                    <a:pt x="206" y="84"/>
                    <a:pt x="204" y="78"/>
                  </a:cubicBezTo>
                  <a:cubicBezTo>
                    <a:pt x="202" y="72"/>
                    <a:pt x="191" y="69"/>
                    <a:pt x="187" y="66"/>
                  </a:cubicBezTo>
                  <a:cubicBezTo>
                    <a:pt x="183" y="63"/>
                    <a:pt x="182" y="60"/>
                    <a:pt x="181" y="57"/>
                  </a:cubicBezTo>
                  <a:cubicBezTo>
                    <a:pt x="180" y="54"/>
                    <a:pt x="179" y="49"/>
                    <a:pt x="180" y="45"/>
                  </a:cubicBezTo>
                  <a:cubicBezTo>
                    <a:pt x="181" y="41"/>
                    <a:pt x="188" y="35"/>
                    <a:pt x="186" y="30"/>
                  </a:cubicBezTo>
                  <a:cubicBezTo>
                    <a:pt x="184" y="25"/>
                    <a:pt x="171" y="20"/>
                    <a:pt x="168" y="15"/>
                  </a:cubicBezTo>
                  <a:cubicBezTo>
                    <a:pt x="165" y="10"/>
                    <a:pt x="169" y="0"/>
                    <a:pt x="165" y="0"/>
                  </a:cubicBezTo>
                  <a:cubicBezTo>
                    <a:pt x="161" y="0"/>
                    <a:pt x="148" y="11"/>
                    <a:pt x="145" y="16"/>
                  </a:cubicBezTo>
                  <a:cubicBezTo>
                    <a:pt x="142" y="21"/>
                    <a:pt x="147" y="25"/>
                    <a:pt x="147" y="30"/>
                  </a:cubicBezTo>
                  <a:cubicBezTo>
                    <a:pt x="147" y="35"/>
                    <a:pt x="149" y="46"/>
                    <a:pt x="147" y="49"/>
                  </a:cubicBezTo>
                  <a:cubicBezTo>
                    <a:pt x="145" y="52"/>
                    <a:pt x="138" y="50"/>
                    <a:pt x="135" y="51"/>
                  </a:cubicBezTo>
                  <a:cubicBezTo>
                    <a:pt x="132" y="52"/>
                    <a:pt x="133" y="55"/>
                    <a:pt x="131" y="58"/>
                  </a:cubicBezTo>
                  <a:cubicBezTo>
                    <a:pt x="129" y="61"/>
                    <a:pt x="123" y="62"/>
                    <a:pt x="121" y="67"/>
                  </a:cubicBezTo>
                  <a:cubicBezTo>
                    <a:pt x="119" y="72"/>
                    <a:pt x="121" y="83"/>
                    <a:pt x="117" y="88"/>
                  </a:cubicBezTo>
                  <a:cubicBezTo>
                    <a:pt x="113" y="93"/>
                    <a:pt x="104" y="94"/>
                    <a:pt x="97" y="96"/>
                  </a:cubicBezTo>
                  <a:cubicBezTo>
                    <a:pt x="90" y="98"/>
                    <a:pt x="80" y="97"/>
                    <a:pt x="76" y="100"/>
                  </a:cubicBezTo>
                  <a:cubicBezTo>
                    <a:pt x="72" y="103"/>
                    <a:pt x="73" y="112"/>
                    <a:pt x="72" y="117"/>
                  </a:cubicBezTo>
                  <a:cubicBezTo>
                    <a:pt x="71" y="122"/>
                    <a:pt x="71" y="127"/>
                    <a:pt x="69" y="129"/>
                  </a:cubicBezTo>
                  <a:cubicBezTo>
                    <a:pt x="67" y="131"/>
                    <a:pt x="61" y="130"/>
                    <a:pt x="58" y="130"/>
                  </a:cubicBezTo>
                  <a:cubicBezTo>
                    <a:pt x="55" y="130"/>
                    <a:pt x="53" y="129"/>
                    <a:pt x="48" y="129"/>
                  </a:cubicBezTo>
                  <a:cubicBezTo>
                    <a:pt x="43" y="129"/>
                    <a:pt x="33" y="132"/>
                    <a:pt x="27" y="133"/>
                  </a:cubicBezTo>
                  <a:cubicBezTo>
                    <a:pt x="21" y="134"/>
                    <a:pt x="6" y="131"/>
                    <a:pt x="3" y="1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6" name="Freeform 107"/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4676480" y="2925259"/>
              <a:ext cx="163604" cy="98805"/>
            </a:xfrm>
            <a:custGeom>
              <a:avLst/>
              <a:gdLst>
                <a:gd name="T0" fmla="*/ 12 w 100"/>
                <a:gd name="T1" fmla="*/ 37 h 61"/>
                <a:gd name="T2" fmla="*/ 20 w 100"/>
                <a:gd name="T3" fmla="*/ 31 h 61"/>
                <a:gd name="T4" fmla="*/ 30 w 100"/>
                <a:gd name="T5" fmla="*/ 29 h 61"/>
                <a:gd name="T6" fmla="*/ 49 w 100"/>
                <a:gd name="T7" fmla="*/ 7 h 61"/>
                <a:gd name="T8" fmla="*/ 73 w 100"/>
                <a:gd name="T9" fmla="*/ 0 h 61"/>
                <a:gd name="T10" fmla="*/ 92 w 100"/>
                <a:gd name="T11" fmla="*/ 6 h 61"/>
                <a:gd name="T12" fmla="*/ 98 w 100"/>
                <a:gd name="T13" fmla="*/ 21 h 61"/>
                <a:gd name="T14" fmla="*/ 97 w 100"/>
                <a:gd name="T15" fmla="*/ 33 h 61"/>
                <a:gd name="T16" fmla="*/ 91 w 100"/>
                <a:gd name="T17" fmla="*/ 34 h 61"/>
                <a:gd name="T18" fmla="*/ 71 w 100"/>
                <a:gd name="T19" fmla="*/ 52 h 61"/>
                <a:gd name="T20" fmla="*/ 61 w 100"/>
                <a:gd name="T21" fmla="*/ 60 h 61"/>
                <a:gd name="T22" fmla="*/ 34 w 100"/>
                <a:gd name="T23" fmla="*/ 51 h 61"/>
                <a:gd name="T24" fmla="*/ 16 w 100"/>
                <a:gd name="T25" fmla="*/ 51 h 61"/>
                <a:gd name="T26" fmla="*/ 7 w 100"/>
                <a:gd name="T27" fmla="*/ 51 h 61"/>
                <a:gd name="T28" fmla="*/ 2 w 100"/>
                <a:gd name="T29" fmla="*/ 49 h 61"/>
                <a:gd name="T30" fmla="*/ 12 w 100"/>
                <a:gd name="T31" fmla="*/ 3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61">
                  <a:moveTo>
                    <a:pt x="12" y="37"/>
                  </a:moveTo>
                  <a:cubicBezTo>
                    <a:pt x="10" y="34"/>
                    <a:pt x="17" y="32"/>
                    <a:pt x="20" y="31"/>
                  </a:cubicBezTo>
                  <a:cubicBezTo>
                    <a:pt x="23" y="30"/>
                    <a:pt x="25" y="33"/>
                    <a:pt x="30" y="29"/>
                  </a:cubicBezTo>
                  <a:cubicBezTo>
                    <a:pt x="35" y="25"/>
                    <a:pt x="42" y="12"/>
                    <a:pt x="49" y="7"/>
                  </a:cubicBezTo>
                  <a:cubicBezTo>
                    <a:pt x="55" y="2"/>
                    <a:pt x="65" y="2"/>
                    <a:pt x="73" y="0"/>
                  </a:cubicBezTo>
                  <a:cubicBezTo>
                    <a:pt x="80" y="1"/>
                    <a:pt x="85" y="4"/>
                    <a:pt x="92" y="6"/>
                  </a:cubicBezTo>
                  <a:cubicBezTo>
                    <a:pt x="95" y="11"/>
                    <a:pt x="95" y="16"/>
                    <a:pt x="98" y="21"/>
                  </a:cubicBezTo>
                  <a:cubicBezTo>
                    <a:pt x="98" y="25"/>
                    <a:pt x="99" y="29"/>
                    <a:pt x="97" y="33"/>
                  </a:cubicBezTo>
                  <a:cubicBezTo>
                    <a:pt x="96" y="35"/>
                    <a:pt x="92" y="32"/>
                    <a:pt x="91" y="34"/>
                  </a:cubicBezTo>
                  <a:cubicBezTo>
                    <a:pt x="80" y="50"/>
                    <a:pt x="100" y="49"/>
                    <a:pt x="71" y="52"/>
                  </a:cubicBezTo>
                  <a:cubicBezTo>
                    <a:pt x="70" y="59"/>
                    <a:pt x="67" y="57"/>
                    <a:pt x="61" y="60"/>
                  </a:cubicBezTo>
                  <a:cubicBezTo>
                    <a:pt x="53" y="61"/>
                    <a:pt x="44" y="52"/>
                    <a:pt x="34" y="51"/>
                  </a:cubicBezTo>
                  <a:cubicBezTo>
                    <a:pt x="27" y="50"/>
                    <a:pt x="20" y="51"/>
                    <a:pt x="16" y="51"/>
                  </a:cubicBezTo>
                  <a:cubicBezTo>
                    <a:pt x="12" y="51"/>
                    <a:pt x="9" y="51"/>
                    <a:pt x="7" y="51"/>
                  </a:cubicBezTo>
                  <a:cubicBezTo>
                    <a:pt x="7" y="47"/>
                    <a:pt x="0" y="53"/>
                    <a:pt x="2" y="49"/>
                  </a:cubicBezTo>
                  <a:cubicBezTo>
                    <a:pt x="4" y="45"/>
                    <a:pt x="12" y="44"/>
                    <a:pt x="12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7" name="Freeform 108"/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4739655" y="3004628"/>
              <a:ext cx="80992" cy="50213"/>
            </a:xfrm>
            <a:custGeom>
              <a:avLst/>
              <a:gdLst>
                <a:gd name="T0" fmla="*/ 46 w 49"/>
                <a:gd name="T1" fmla="*/ 2 h 31"/>
                <a:gd name="T2" fmla="*/ 25 w 49"/>
                <a:gd name="T3" fmla="*/ 12 h 31"/>
                <a:gd name="T4" fmla="*/ 2 w 49"/>
                <a:gd name="T5" fmla="*/ 9 h 31"/>
                <a:gd name="T6" fmla="*/ 17 w 49"/>
                <a:gd name="T7" fmla="*/ 27 h 31"/>
                <a:gd name="T8" fmla="*/ 32 w 49"/>
                <a:gd name="T9" fmla="*/ 27 h 31"/>
                <a:gd name="T10" fmla="*/ 44 w 49"/>
                <a:gd name="T11" fmla="*/ 15 h 31"/>
                <a:gd name="T12" fmla="*/ 46 w 49"/>
                <a:gd name="T13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31">
                  <a:moveTo>
                    <a:pt x="46" y="2"/>
                  </a:moveTo>
                  <a:cubicBezTo>
                    <a:pt x="43" y="0"/>
                    <a:pt x="32" y="11"/>
                    <a:pt x="25" y="12"/>
                  </a:cubicBezTo>
                  <a:cubicBezTo>
                    <a:pt x="18" y="13"/>
                    <a:pt x="3" y="7"/>
                    <a:pt x="2" y="9"/>
                  </a:cubicBezTo>
                  <a:cubicBezTo>
                    <a:pt x="0" y="19"/>
                    <a:pt x="6" y="26"/>
                    <a:pt x="17" y="27"/>
                  </a:cubicBezTo>
                  <a:cubicBezTo>
                    <a:pt x="22" y="31"/>
                    <a:pt x="25" y="26"/>
                    <a:pt x="32" y="27"/>
                  </a:cubicBezTo>
                  <a:cubicBezTo>
                    <a:pt x="36" y="22"/>
                    <a:pt x="39" y="18"/>
                    <a:pt x="44" y="15"/>
                  </a:cubicBezTo>
                  <a:cubicBezTo>
                    <a:pt x="49" y="8"/>
                    <a:pt x="44" y="16"/>
                    <a:pt x="46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8" name="Freeform 109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5261243" y="3398225"/>
              <a:ext cx="50216" cy="90706"/>
            </a:xfrm>
            <a:custGeom>
              <a:avLst/>
              <a:gdLst>
                <a:gd name="T0" fmla="*/ 29 w 30"/>
                <a:gd name="T1" fmla="*/ 0 h 56"/>
                <a:gd name="T2" fmla="*/ 15 w 30"/>
                <a:gd name="T3" fmla="*/ 15 h 56"/>
                <a:gd name="T4" fmla="*/ 3 w 30"/>
                <a:gd name="T5" fmla="*/ 35 h 56"/>
                <a:gd name="T6" fmla="*/ 2 w 30"/>
                <a:gd name="T7" fmla="*/ 56 h 56"/>
                <a:gd name="T8" fmla="*/ 20 w 30"/>
                <a:gd name="T9" fmla="*/ 30 h 56"/>
                <a:gd name="T10" fmla="*/ 29 w 30"/>
                <a:gd name="T11" fmla="*/ 17 h 56"/>
                <a:gd name="T12" fmla="*/ 29 w 30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6">
                  <a:moveTo>
                    <a:pt x="29" y="0"/>
                  </a:moveTo>
                  <a:cubicBezTo>
                    <a:pt x="17" y="3"/>
                    <a:pt x="20" y="6"/>
                    <a:pt x="15" y="15"/>
                  </a:cubicBezTo>
                  <a:cubicBezTo>
                    <a:pt x="13" y="24"/>
                    <a:pt x="12" y="32"/>
                    <a:pt x="3" y="35"/>
                  </a:cubicBezTo>
                  <a:cubicBezTo>
                    <a:pt x="1" y="45"/>
                    <a:pt x="0" y="44"/>
                    <a:pt x="2" y="56"/>
                  </a:cubicBezTo>
                  <a:cubicBezTo>
                    <a:pt x="17" y="52"/>
                    <a:pt x="8" y="37"/>
                    <a:pt x="20" y="30"/>
                  </a:cubicBezTo>
                  <a:cubicBezTo>
                    <a:pt x="23" y="26"/>
                    <a:pt x="26" y="21"/>
                    <a:pt x="29" y="17"/>
                  </a:cubicBezTo>
                  <a:cubicBezTo>
                    <a:pt x="30" y="11"/>
                    <a:pt x="29" y="6"/>
                    <a:pt x="2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9" name="Freeform 110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5245044" y="3475973"/>
              <a:ext cx="51835" cy="50213"/>
            </a:xfrm>
            <a:custGeom>
              <a:avLst/>
              <a:gdLst>
                <a:gd name="T0" fmla="*/ 22 w 31"/>
                <a:gd name="T1" fmla="*/ 0 h 31"/>
                <a:gd name="T2" fmla="*/ 12 w 31"/>
                <a:gd name="T3" fmla="*/ 29 h 31"/>
                <a:gd name="T4" fmla="*/ 15 w 31"/>
                <a:gd name="T5" fmla="*/ 2 h 31"/>
                <a:gd name="T6" fmla="*/ 22 w 31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22" y="0"/>
                  </a:moveTo>
                  <a:cubicBezTo>
                    <a:pt x="24" y="18"/>
                    <a:pt x="31" y="31"/>
                    <a:pt x="12" y="29"/>
                  </a:cubicBezTo>
                  <a:cubicBezTo>
                    <a:pt x="7" y="20"/>
                    <a:pt x="0" y="4"/>
                    <a:pt x="15" y="2"/>
                  </a:cubicBezTo>
                  <a:cubicBezTo>
                    <a:pt x="23" y="3"/>
                    <a:pt x="22" y="5"/>
                    <a:pt x="2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0" name="Freeform 111"/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645703" y="4230774"/>
              <a:ext cx="66414" cy="35634"/>
            </a:xfrm>
            <a:custGeom>
              <a:avLst/>
              <a:gdLst>
                <a:gd name="T0" fmla="*/ 10 w 40"/>
                <a:gd name="T1" fmla="*/ 5 h 22"/>
                <a:gd name="T2" fmla="*/ 2 w 40"/>
                <a:gd name="T3" fmla="*/ 22 h 22"/>
                <a:gd name="T4" fmla="*/ 35 w 40"/>
                <a:gd name="T5" fmla="*/ 14 h 22"/>
                <a:gd name="T6" fmla="*/ 29 w 40"/>
                <a:gd name="T7" fmla="*/ 1 h 22"/>
                <a:gd name="T8" fmla="*/ 10 w 40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2">
                  <a:moveTo>
                    <a:pt x="10" y="5"/>
                  </a:moveTo>
                  <a:cubicBezTo>
                    <a:pt x="6" y="12"/>
                    <a:pt x="0" y="13"/>
                    <a:pt x="2" y="22"/>
                  </a:cubicBezTo>
                  <a:cubicBezTo>
                    <a:pt x="11" y="21"/>
                    <a:pt x="28" y="19"/>
                    <a:pt x="35" y="14"/>
                  </a:cubicBezTo>
                  <a:cubicBezTo>
                    <a:pt x="40" y="11"/>
                    <a:pt x="33" y="2"/>
                    <a:pt x="29" y="1"/>
                  </a:cubicBezTo>
                  <a:cubicBezTo>
                    <a:pt x="25" y="0"/>
                    <a:pt x="14" y="4"/>
                    <a:pt x="1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1" name="Freeform 112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930795" y="1888623"/>
              <a:ext cx="260795" cy="579869"/>
            </a:xfrm>
            <a:custGeom>
              <a:avLst/>
              <a:gdLst>
                <a:gd name="T0" fmla="*/ 123 w 158"/>
                <a:gd name="T1" fmla="*/ 16 h 358"/>
                <a:gd name="T2" fmla="*/ 117 w 158"/>
                <a:gd name="T3" fmla="*/ 41 h 358"/>
                <a:gd name="T4" fmla="*/ 111 w 158"/>
                <a:gd name="T5" fmla="*/ 49 h 358"/>
                <a:gd name="T6" fmla="*/ 129 w 158"/>
                <a:gd name="T7" fmla="*/ 92 h 358"/>
                <a:gd name="T8" fmla="*/ 129 w 158"/>
                <a:gd name="T9" fmla="*/ 131 h 358"/>
                <a:gd name="T10" fmla="*/ 132 w 158"/>
                <a:gd name="T11" fmla="*/ 154 h 358"/>
                <a:gd name="T12" fmla="*/ 141 w 158"/>
                <a:gd name="T13" fmla="*/ 188 h 358"/>
                <a:gd name="T14" fmla="*/ 143 w 158"/>
                <a:gd name="T15" fmla="*/ 256 h 358"/>
                <a:gd name="T16" fmla="*/ 152 w 158"/>
                <a:gd name="T17" fmla="*/ 271 h 358"/>
                <a:gd name="T18" fmla="*/ 153 w 158"/>
                <a:gd name="T19" fmla="*/ 298 h 358"/>
                <a:gd name="T20" fmla="*/ 140 w 158"/>
                <a:gd name="T21" fmla="*/ 308 h 358"/>
                <a:gd name="T22" fmla="*/ 140 w 158"/>
                <a:gd name="T23" fmla="*/ 323 h 358"/>
                <a:gd name="T24" fmla="*/ 129 w 158"/>
                <a:gd name="T25" fmla="*/ 331 h 358"/>
                <a:gd name="T26" fmla="*/ 111 w 158"/>
                <a:gd name="T27" fmla="*/ 329 h 358"/>
                <a:gd name="T28" fmla="*/ 104 w 158"/>
                <a:gd name="T29" fmla="*/ 346 h 358"/>
                <a:gd name="T30" fmla="*/ 71 w 158"/>
                <a:gd name="T31" fmla="*/ 349 h 358"/>
                <a:gd name="T32" fmla="*/ 54 w 158"/>
                <a:gd name="T33" fmla="*/ 353 h 358"/>
                <a:gd name="T34" fmla="*/ 41 w 158"/>
                <a:gd name="T35" fmla="*/ 358 h 358"/>
                <a:gd name="T36" fmla="*/ 12 w 158"/>
                <a:gd name="T37" fmla="*/ 334 h 358"/>
                <a:gd name="T38" fmla="*/ 5 w 158"/>
                <a:gd name="T39" fmla="*/ 265 h 358"/>
                <a:gd name="T40" fmla="*/ 27 w 158"/>
                <a:gd name="T41" fmla="*/ 247 h 358"/>
                <a:gd name="T42" fmla="*/ 39 w 158"/>
                <a:gd name="T43" fmla="*/ 221 h 358"/>
                <a:gd name="T44" fmla="*/ 53 w 158"/>
                <a:gd name="T45" fmla="*/ 211 h 358"/>
                <a:gd name="T46" fmla="*/ 47 w 158"/>
                <a:gd name="T47" fmla="*/ 175 h 358"/>
                <a:gd name="T48" fmla="*/ 50 w 158"/>
                <a:gd name="T49" fmla="*/ 116 h 358"/>
                <a:gd name="T50" fmla="*/ 42 w 158"/>
                <a:gd name="T51" fmla="*/ 88 h 358"/>
                <a:gd name="T52" fmla="*/ 36 w 158"/>
                <a:gd name="T53" fmla="*/ 76 h 358"/>
                <a:gd name="T54" fmla="*/ 33 w 158"/>
                <a:gd name="T55" fmla="*/ 71 h 358"/>
                <a:gd name="T56" fmla="*/ 24 w 158"/>
                <a:gd name="T57" fmla="*/ 62 h 358"/>
                <a:gd name="T58" fmla="*/ 35 w 158"/>
                <a:gd name="T59" fmla="*/ 55 h 358"/>
                <a:gd name="T60" fmla="*/ 51 w 158"/>
                <a:gd name="T61" fmla="*/ 55 h 358"/>
                <a:gd name="T62" fmla="*/ 66 w 158"/>
                <a:gd name="T63" fmla="*/ 64 h 358"/>
                <a:gd name="T64" fmla="*/ 75 w 158"/>
                <a:gd name="T65" fmla="*/ 38 h 358"/>
                <a:gd name="T66" fmla="*/ 74 w 158"/>
                <a:gd name="T67" fmla="*/ 25 h 358"/>
                <a:gd name="T68" fmla="*/ 77 w 158"/>
                <a:gd name="T69" fmla="*/ 13 h 358"/>
                <a:gd name="T70" fmla="*/ 98 w 158"/>
                <a:gd name="T71" fmla="*/ 10 h 358"/>
                <a:gd name="T72" fmla="*/ 123 w 158"/>
                <a:gd name="T73" fmla="*/ 16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358">
                  <a:moveTo>
                    <a:pt x="123" y="16"/>
                  </a:moveTo>
                  <a:cubicBezTo>
                    <a:pt x="122" y="24"/>
                    <a:pt x="121" y="33"/>
                    <a:pt x="117" y="41"/>
                  </a:cubicBezTo>
                  <a:cubicBezTo>
                    <a:pt x="116" y="44"/>
                    <a:pt x="111" y="46"/>
                    <a:pt x="111" y="49"/>
                  </a:cubicBezTo>
                  <a:cubicBezTo>
                    <a:pt x="109" y="74"/>
                    <a:pt x="119" y="75"/>
                    <a:pt x="129" y="92"/>
                  </a:cubicBezTo>
                  <a:cubicBezTo>
                    <a:pt x="131" y="105"/>
                    <a:pt x="135" y="119"/>
                    <a:pt x="129" y="131"/>
                  </a:cubicBezTo>
                  <a:cubicBezTo>
                    <a:pt x="131" y="138"/>
                    <a:pt x="130" y="147"/>
                    <a:pt x="132" y="154"/>
                  </a:cubicBezTo>
                  <a:cubicBezTo>
                    <a:pt x="133" y="167"/>
                    <a:pt x="140" y="175"/>
                    <a:pt x="141" y="188"/>
                  </a:cubicBezTo>
                  <a:cubicBezTo>
                    <a:pt x="141" y="211"/>
                    <a:pt x="134" y="229"/>
                    <a:pt x="143" y="256"/>
                  </a:cubicBezTo>
                  <a:cubicBezTo>
                    <a:pt x="146" y="262"/>
                    <a:pt x="149" y="263"/>
                    <a:pt x="152" y="271"/>
                  </a:cubicBezTo>
                  <a:cubicBezTo>
                    <a:pt x="153" y="280"/>
                    <a:pt x="158" y="290"/>
                    <a:pt x="153" y="298"/>
                  </a:cubicBezTo>
                  <a:cubicBezTo>
                    <a:pt x="152" y="305"/>
                    <a:pt x="145" y="304"/>
                    <a:pt x="140" y="308"/>
                  </a:cubicBezTo>
                  <a:cubicBezTo>
                    <a:pt x="137" y="311"/>
                    <a:pt x="142" y="319"/>
                    <a:pt x="140" y="323"/>
                  </a:cubicBezTo>
                  <a:cubicBezTo>
                    <a:pt x="138" y="327"/>
                    <a:pt x="134" y="330"/>
                    <a:pt x="129" y="331"/>
                  </a:cubicBezTo>
                  <a:cubicBezTo>
                    <a:pt x="126" y="334"/>
                    <a:pt x="111" y="329"/>
                    <a:pt x="111" y="329"/>
                  </a:cubicBezTo>
                  <a:cubicBezTo>
                    <a:pt x="109" y="337"/>
                    <a:pt x="113" y="345"/>
                    <a:pt x="104" y="346"/>
                  </a:cubicBezTo>
                  <a:cubicBezTo>
                    <a:pt x="93" y="347"/>
                    <a:pt x="71" y="349"/>
                    <a:pt x="71" y="349"/>
                  </a:cubicBezTo>
                  <a:cubicBezTo>
                    <a:pt x="65" y="350"/>
                    <a:pt x="60" y="352"/>
                    <a:pt x="54" y="353"/>
                  </a:cubicBezTo>
                  <a:cubicBezTo>
                    <a:pt x="50" y="355"/>
                    <a:pt x="45" y="356"/>
                    <a:pt x="41" y="358"/>
                  </a:cubicBezTo>
                  <a:cubicBezTo>
                    <a:pt x="29" y="353"/>
                    <a:pt x="22" y="342"/>
                    <a:pt x="12" y="334"/>
                  </a:cubicBezTo>
                  <a:cubicBezTo>
                    <a:pt x="0" y="311"/>
                    <a:pt x="18" y="287"/>
                    <a:pt x="5" y="265"/>
                  </a:cubicBezTo>
                  <a:cubicBezTo>
                    <a:pt x="7" y="254"/>
                    <a:pt x="20" y="254"/>
                    <a:pt x="27" y="247"/>
                  </a:cubicBezTo>
                  <a:cubicBezTo>
                    <a:pt x="32" y="235"/>
                    <a:pt x="29" y="228"/>
                    <a:pt x="39" y="221"/>
                  </a:cubicBezTo>
                  <a:cubicBezTo>
                    <a:pt x="44" y="212"/>
                    <a:pt x="41" y="213"/>
                    <a:pt x="53" y="211"/>
                  </a:cubicBezTo>
                  <a:cubicBezTo>
                    <a:pt x="59" y="201"/>
                    <a:pt x="56" y="182"/>
                    <a:pt x="47" y="175"/>
                  </a:cubicBezTo>
                  <a:cubicBezTo>
                    <a:pt x="46" y="159"/>
                    <a:pt x="51" y="130"/>
                    <a:pt x="50" y="116"/>
                  </a:cubicBezTo>
                  <a:cubicBezTo>
                    <a:pt x="49" y="102"/>
                    <a:pt x="44" y="95"/>
                    <a:pt x="42" y="88"/>
                  </a:cubicBezTo>
                  <a:cubicBezTo>
                    <a:pt x="40" y="81"/>
                    <a:pt x="37" y="79"/>
                    <a:pt x="36" y="76"/>
                  </a:cubicBezTo>
                  <a:cubicBezTo>
                    <a:pt x="35" y="73"/>
                    <a:pt x="35" y="73"/>
                    <a:pt x="33" y="71"/>
                  </a:cubicBezTo>
                  <a:cubicBezTo>
                    <a:pt x="31" y="69"/>
                    <a:pt x="24" y="65"/>
                    <a:pt x="24" y="62"/>
                  </a:cubicBezTo>
                  <a:cubicBezTo>
                    <a:pt x="24" y="59"/>
                    <a:pt x="31" y="56"/>
                    <a:pt x="35" y="55"/>
                  </a:cubicBezTo>
                  <a:cubicBezTo>
                    <a:pt x="39" y="54"/>
                    <a:pt x="46" y="54"/>
                    <a:pt x="51" y="55"/>
                  </a:cubicBezTo>
                  <a:cubicBezTo>
                    <a:pt x="58" y="52"/>
                    <a:pt x="62" y="67"/>
                    <a:pt x="66" y="64"/>
                  </a:cubicBezTo>
                  <a:cubicBezTo>
                    <a:pt x="70" y="61"/>
                    <a:pt x="74" y="45"/>
                    <a:pt x="75" y="38"/>
                  </a:cubicBezTo>
                  <a:cubicBezTo>
                    <a:pt x="76" y="31"/>
                    <a:pt x="74" y="29"/>
                    <a:pt x="74" y="25"/>
                  </a:cubicBezTo>
                  <a:cubicBezTo>
                    <a:pt x="74" y="21"/>
                    <a:pt x="73" y="15"/>
                    <a:pt x="77" y="13"/>
                  </a:cubicBezTo>
                  <a:cubicBezTo>
                    <a:pt x="84" y="11"/>
                    <a:pt x="91" y="11"/>
                    <a:pt x="98" y="10"/>
                  </a:cubicBezTo>
                  <a:cubicBezTo>
                    <a:pt x="112" y="0"/>
                    <a:pt x="112" y="16"/>
                    <a:pt x="123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2" name="Freeform 115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4706840" y="1967994"/>
              <a:ext cx="308187" cy="694107"/>
            </a:xfrm>
            <a:custGeom>
              <a:avLst/>
              <a:gdLst/>
              <a:ahLst/>
              <a:cxnLst/>
              <a:rect l="l" t="t" r="r" b="b"/>
              <a:pathLst>
                <a:path w="302034" h="680289">
                  <a:moveTo>
                    <a:pt x="184297" y="582611"/>
                  </a:moveTo>
                  <a:lnTo>
                    <a:pt x="189135" y="586183"/>
                  </a:lnTo>
                  <a:lnTo>
                    <a:pt x="184297" y="592136"/>
                  </a:lnTo>
                  <a:cubicBezTo>
                    <a:pt x="174620" y="598486"/>
                    <a:pt x="171394" y="608011"/>
                    <a:pt x="169782" y="619124"/>
                  </a:cubicBezTo>
                  <a:cubicBezTo>
                    <a:pt x="158492" y="642936"/>
                    <a:pt x="156879" y="652461"/>
                    <a:pt x="155266" y="606424"/>
                  </a:cubicBezTo>
                  <a:cubicBezTo>
                    <a:pt x="158492" y="584199"/>
                    <a:pt x="160105" y="585786"/>
                    <a:pt x="184297" y="582611"/>
                  </a:cubicBezTo>
                  <a:close/>
                  <a:moveTo>
                    <a:pt x="184559" y="558798"/>
                  </a:moveTo>
                  <a:cubicBezTo>
                    <a:pt x="182972" y="563561"/>
                    <a:pt x="184559" y="569911"/>
                    <a:pt x="181384" y="573086"/>
                  </a:cubicBezTo>
                  <a:cubicBezTo>
                    <a:pt x="176621" y="577848"/>
                    <a:pt x="173446" y="558798"/>
                    <a:pt x="184559" y="558798"/>
                  </a:cubicBezTo>
                  <a:close/>
                  <a:moveTo>
                    <a:pt x="242362" y="0"/>
                  </a:moveTo>
                  <a:cubicBezTo>
                    <a:pt x="242121" y="2178"/>
                    <a:pt x="239917" y="9529"/>
                    <a:pt x="242362" y="9529"/>
                  </a:cubicBezTo>
                  <a:lnTo>
                    <a:pt x="248820" y="19059"/>
                  </a:lnTo>
                  <a:cubicBezTo>
                    <a:pt x="253641" y="28589"/>
                    <a:pt x="255248" y="27001"/>
                    <a:pt x="266558" y="28589"/>
                  </a:cubicBezTo>
                  <a:cubicBezTo>
                    <a:pt x="277838" y="33354"/>
                    <a:pt x="269772" y="47648"/>
                    <a:pt x="281082" y="49237"/>
                  </a:cubicBezTo>
                  <a:cubicBezTo>
                    <a:pt x="282689" y="57178"/>
                    <a:pt x="295576" y="72992"/>
                    <a:pt x="295576" y="72992"/>
                  </a:cubicBezTo>
                  <a:cubicBezTo>
                    <a:pt x="297183" y="82522"/>
                    <a:pt x="302034" y="93640"/>
                    <a:pt x="302034" y="101581"/>
                  </a:cubicBezTo>
                  <a:cubicBezTo>
                    <a:pt x="302034" y="109523"/>
                    <a:pt x="298820" y="117464"/>
                    <a:pt x="297183" y="125406"/>
                  </a:cubicBezTo>
                  <a:cubicBezTo>
                    <a:pt x="295576" y="133347"/>
                    <a:pt x="297183" y="144465"/>
                    <a:pt x="297183" y="152407"/>
                  </a:cubicBezTo>
                  <a:cubicBezTo>
                    <a:pt x="295576" y="161937"/>
                    <a:pt x="293969" y="161937"/>
                    <a:pt x="297183" y="171466"/>
                  </a:cubicBezTo>
                  <a:cubicBezTo>
                    <a:pt x="290755" y="211105"/>
                    <a:pt x="269772" y="176231"/>
                    <a:pt x="242362" y="196879"/>
                  </a:cubicBezTo>
                  <a:cubicBezTo>
                    <a:pt x="232689" y="222223"/>
                    <a:pt x="231082" y="247635"/>
                    <a:pt x="219773" y="273048"/>
                  </a:cubicBezTo>
                  <a:cubicBezTo>
                    <a:pt x="218165" y="285755"/>
                    <a:pt x="218165" y="288931"/>
                    <a:pt x="208493" y="296873"/>
                  </a:cubicBezTo>
                  <a:cubicBezTo>
                    <a:pt x="202035" y="307991"/>
                    <a:pt x="198820" y="309579"/>
                    <a:pt x="185904" y="311167"/>
                  </a:cubicBezTo>
                  <a:cubicBezTo>
                    <a:pt x="177838" y="325462"/>
                    <a:pt x="156886" y="325462"/>
                    <a:pt x="145576" y="339757"/>
                  </a:cubicBezTo>
                  <a:cubicBezTo>
                    <a:pt x="140755" y="353982"/>
                    <a:pt x="143969" y="368277"/>
                    <a:pt x="131083" y="377807"/>
                  </a:cubicBezTo>
                  <a:cubicBezTo>
                    <a:pt x="129476" y="398454"/>
                    <a:pt x="121410" y="434985"/>
                    <a:pt x="135904" y="454045"/>
                  </a:cubicBezTo>
                  <a:cubicBezTo>
                    <a:pt x="137511" y="465163"/>
                    <a:pt x="150428" y="469928"/>
                    <a:pt x="160100" y="476281"/>
                  </a:cubicBezTo>
                  <a:cubicBezTo>
                    <a:pt x="169773" y="495271"/>
                    <a:pt x="168166" y="517507"/>
                    <a:pt x="145576" y="520684"/>
                  </a:cubicBezTo>
                  <a:cubicBezTo>
                    <a:pt x="140755" y="530214"/>
                    <a:pt x="132690" y="547685"/>
                    <a:pt x="126231" y="552450"/>
                  </a:cubicBezTo>
                  <a:cubicBezTo>
                    <a:pt x="119773" y="557215"/>
                    <a:pt x="108493" y="544509"/>
                    <a:pt x="106886" y="547685"/>
                  </a:cubicBezTo>
                  <a:cubicBezTo>
                    <a:pt x="108493" y="557215"/>
                    <a:pt x="111707" y="566745"/>
                    <a:pt x="113345" y="576274"/>
                  </a:cubicBezTo>
                  <a:cubicBezTo>
                    <a:pt x="111707" y="595334"/>
                    <a:pt x="121410" y="601687"/>
                    <a:pt x="108493" y="611217"/>
                  </a:cubicBezTo>
                  <a:lnTo>
                    <a:pt x="105849" y="624662"/>
                  </a:lnTo>
                  <a:cubicBezTo>
                    <a:pt x="106079" y="629935"/>
                    <a:pt x="113345" y="617156"/>
                    <a:pt x="113345" y="644502"/>
                  </a:cubicBezTo>
                  <a:cubicBezTo>
                    <a:pt x="113345" y="663562"/>
                    <a:pt x="63345" y="671503"/>
                    <a:pt x="50428" y="676268"/>
                  </a:cubicBezTo>
                  <a:cubicBezTo>
                    <a:pt x="35904" y="687386"/>
                    <a:pt x="35904" y="673091"/>
                    <a:pt x="31083" y="661973"/>
                  </a:cubicBezTo>
                  <a:cubicBezTo>
                    <a:pt x="29476" y="641325"/>
                    <a:pt x="19773" y="625442"/>
                    <a:pt x="6887" y="609629"/>
                  </a:cubicBezTo>
                  <a:cubicBezTo>
                    <a:pt x="5279" y="601687"/>
                    <a:pt x="2035" y="595334"/>
                    <a:pt x="428" y="587392"/>
                  </a:cubicBezTo>
                  <a:cubicBezTo>
                    <a:pt x="-1179" y="574686"/>
                    <a:pt x="2035" y="542920"/>
                    <a:pt x="5279" y="528626"/>
                  </a:cubicBezTo>
                  <a:cubicBezTo>
                    <a:pt x="8494" y="514331"/>
                    <a:pt x="11738" y="512743"/>
                    <a:pt x="14952" y="506389"/>
                  </a:cubicBezTo>
                  <a:cubicBezTo>
                    <a:pt x="19773" y="500036"/>
                    <a:pt x="21410" y="493683"/>
                    <a:pt x="24624" y="485742"/>
                  </a:cubicBezTo>
                  <a:cubicBezTo>
                    <a:pt x="23017" y="460398"/>
                    <a:pt x="31083" y="428632"/>
                    <a:pt x="6887" y="414337"/>
                  </a:cubicBezTo>
                  <a:cubicBezTo>
                    <a:pt x="5279" y="404808"/>
                    <a:pt x="5279" y="398454"/>
                    <a:pt x="10101" y="390513"/>
                  </a:cubicBezTo>
                  <a:cubicBezTo>
                    <a:pt x="11738" y="355570"/>
                    <a:pt x="428" y="320697"/>
                    <a:pt x="31083" y="301637"/>
                  </a:cubicBezTo>
                  <a:cubicBezTo>
                    <a:pt x="34297" y="287343"/>
                    <a:pt x="50428" y="292108"/>
                    <a:pt x="63345" y="290519"/>
                  </a:cubicBezTo>
                  <a:cubicBezTo>
                    <a:pt x="69773" y="279401"/>
                    <a:pt x="68166" y="277813"/>
                    <a:pt x="58493" y="271460"/>
                  </a:cubicBezTo>
                  <a:cubicBezTo>
                    <a:pt x="56886" y="265107"/>
                    <a:pt x="48821" y="263518"/>
                    <a:pt x="48821" y="258754"/>
                  </a:cubicBezTo>
                  <a:cubicBezTo>
                    <a:pt x="48821" y="253989"/>
                    <a:pt x="52035" y="249224"/>
                    <a:pt x="55279" y="239694"/>
                  </a:cubicBezTo>
                  <a:cubicBezTo>
                    <a:pt x="58493" y="230164"/>
                    <a:pt x="66559" y="207928"/>
                    <a:pt x="69773" y="196879"/>
                  </a:cubicBezTo>
                  <a:cubicBezTo>
                    <a:pt x="73017" y="185761"/>
                    <a:pt x="68166" y="179408"/>
                    <a:pt x="73017" y="173055"/>
                  </a:cubicBezTo>
                  <a:cubicBezTo>
                    <a:pt x="76231" y="165113"/>
                    <a:pt x="82690" y="160348"/>
                    <a:pt x="87541" y="152407"/>
                  </a:cubicBezTo>
                  <a:cubicBezTo>
                    <a:pt x="93969" y="142877"/>
                    <a:pt x="102035" y="138112"/>
                    <a:pt x="106886" y="128582"/>
                  </a:cubicBezTo>
                  <a:cubicBezTo>
                    <a:pt x="108493" y="117464"/>
                    <a:pt x="113345" y="107935"/>
                    <a:pt x="116559" y="96816"/>
                  </a:cubicBezTo>
                  <a:cubicBezTo>
                    <a:pt x="119773" y="84110"/>
                    <a:pt x="119773" y="68227"/>
                    <a:pt x="127838" y="58766"/>
                  </a:cubicBezTo>
                  <a:cubicBezTo>
                    <a:pt x="135904" y="49237"/>
                    <a:pt x="148821" y="49237"/>
                    <a:pt x="161707" y="42883"/>
                  </a:cubicBezTo>
                  <a:cubicBezTo>
                    <a:pt x="192362" y="23824"/>
                    <a:pt x="140755" y="27001"/>
                    <a:pt x="203642" y="20647"/>
                  </a:cubicBezTo>
                  <a:cubicBezTo>
                    <a:pt x="213314" y="14294"/>
                    <a:pt x="213314" y="7941"/>
                    <a:pt x="219773" y="4764"/>
                  </a:cubicBezTo>
                  <a:cubicBezTo>
                    <a:pt x="226231" y="1588"/>
                    <a:pt x="239148" y="0"/>
                    <a:pt x="24236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3" name="Freeform 116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4525836" y="1806016"/>
              <a:ext cx="664135" cy="759661"/>
            </a:xfrm>
            <a:custGeom>
              <a:avLst/>
              <a:gdLst>
                <a:gd name="T0" fmla="*/ 369 w 403"/>
                <a:gd name="T1" fmla="*/ 56 h 469"/>
                <a:gd name="T2" fmla="*/ 398 w 403"/>
                <a:gd name="T3" fmla="*/ 46 h 469"/>
                <a:gd name="T4" fmla="*/ 380 w 403"/>
                <a:gd name="T5" fmla="*/ 29 h 469"/>
                <a:gd name="T6" fmla="*/ 330 w 403"/>
                <a:gd name="T7" fmla="*/ 8 h 469"/>
                <a:gd name="T8" fmla="*/ 266 w 403"/>
                <a:gd name="T9" fmla="*/ 20 h 469"/>
                <a:gd name="T10" fmla="*/ 246 w 403"/>
                <a:gd name="T11" fmla="*/ 41 h 469"/>
                <a:gd name="T12" fmla="*/ 213 w 403"/>
                <a:gd name="T13" fmla="*/ 41 h 469"/>
                <a:gd name="T14" fmla="*/ 188 w 403"/>
                <a:gd name="T15" fmla="*/ 76 h 469"/>
                <a:gd name="T16" fmla="*/ 171 w 403"/>
                <a:gd name="T17" fmla="*/ 86 h 469"/>
                <a:gd name="T18" fmla="*/ 144 w 403"/>
                <a:gd name="T19" fmla="*/ 115 h 469"/>
                <a:gd name="T20" fmla="*/ 111 w 403"/>
                <a:gd name="T21" fmla="*/ 155 h 469"/>
                <a:gd name="T22" fmla="*/ 155 w 403"/>
                <a:gd name="T23" fmla="*/ 133 h 469"/>
                <a:gd name="T24" fmla="*/ 134 w 403"/>
                <a:gd name="T25" fmla="*/ 176 h 469"/>
                <a:gd name="T26" fmla="*/ 108 w 403"/>
                <a:gd name="T27" fmla="*/ 239 h 469"/>
                <a:gd name="T28" fmla="*/ 90 w 403"/>
                <a:gd name="T29" fmla="*/ 266 h 469"/>
                <a:gd name="T30" fmla="*/ 60 w 403"/>
                <a:gd name="T31" fmla="*/ 301 h 469"/>
                <a:gd name="T32" fmla="*/ 5 w 403"/>
                <a:gd name="T33" fmla="*/ 386 h 469"/>
                <a:gd name="T34" fmla="*/ 11 w 403"/>
                <a:gd name="T35" fmla="*/ 415 h 469"/>
                <a:gd name="T36" fmla="*/ 24 w 403"/>
                <a:gd name="T37" fmla="*/ 454 h 469"/>
                <a:gd name="T38" fmla="*/ 65 w 403"/>
                <a:gd name="T39" fmla="*/ 466 h 469"/>
                <a:gd name="T40" fmla="*/ 78 w 403"/>
                <a:gd name="T41" fmla="*/ 445 h 469"/>
                <a:gd name="T42" fmla="*/ 92 w 403"/>
                <a:gd name="T43" fmla="*/ 433 h 469"/>
                <a:gd name="T44" fmla="*/ 113 w 403"/>
                <a:gd name="T45" fmla="*/ 433 h 469"/>
                <a:gd name="T46" fmla="*/ 122 w 403"/>
                <a:gd name="T47" fmla="*/ 379 h 469"/>
                <a:gd name="T48" fmla="*/ 119 w 403"/>
                <a:gd name="T49" fmla="*/ 340 h 469"/>
                <a:gd name="T50" fmla="*/ 119 w 403"/>
                <a:gd name="T51" fmla="*/ 303 h 469"/>
                <a:gd name="T52" fmla="*/ 143 w 403"/>
                <a:gd name="T53" fmla="*/ 283 h 469"/>
                <a:gd name="T54" fmla="*/ 140 w 403"/>
                <a:gd name="T55" fmla="*/ 263 h 469"/>
                <a:gd name="T56" fmla="*/ 153 w 403"/>
                <a:gd name="T57" fmla="*/ 221 h 469"/>
                <a:gd name="T58" fmla="*/ 177 w 403"/>
                <a:gd name="T59" fmla="*/ 182 h 469"/>
                <a:gd name="T60" fmla="*/ 192 w 403"/>
                <a:gd name="T61" fmla="*/ 134 h 469"/>
                <a:gd name="T62" fmla="*/ 215 w 403"/>
                <a:gd name="T63" fmla="*/ 127 h 469"/>
                <a:gd name="T64" fmla="*/ 221 w 403"/>
                <a:gd name="T65" fmla="*/ 115 h 469"/>
                <a:gd name="T66" fmla="*/ 240 w 403"/>
                <a:gd name="T67" fmla="*/ 112 h 469"/>
                <a:gd name="T68" fmla="*/ 254 w 403"/>
                <a:gd name="T69" fmla="*/ 89 h 469"/>
                <a:gd name="T70" fmla="*/ 269 w 403"/>
                <a:gd name="T71" fmla="*/ 112 h 469"/>
                <a:gd name="T72" fmla="*/ 293 w 403"/>
                <a:gd name="T73" fmla="*/ 106 h 469"/>
                <a:gd name="T74" fmla="*/ 320 w 403"/>
                <a:gd name="T75" fmla="*/ 97 h 469"/>
                <a:gd name="T76" fmla="*/ 342 w 403"/>
                <a:gd name="T77" fmla="*/ 59 h 469"/>
                <a:gd name="T78" fmla="*/ 368 w 403"/>
                <a:gd name="T79" fmla="*/ 6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3" h="469">
                  <a:moveTo>
                    <a:pt x="368" y="68"/>
                  </a:moveTo>
                  <a:cubicBezTo>
                    <a:pt x="379" y="66"/>
                    <a:pt x="379" y="60"/>
                    <a:pt x="369" y="56"/>
                  </a:cubicBezTo>
                  <a:cubicBezTo>
                    <a:pt x="374" y="55"/>
                    <a:pt x="378" y="53"/>
                    <a:pt x="383" y="52"/>
                  </a:cubicBezTo>
                  <a:cubicBezTo>
                    <a:pt x="388" y="49"/>
                    <a:pt x="392" y="47"/>
                    <a:pt x="398" y="46"/>
                  </a:cubicBezTo>
                  <a:cubicBezTo>
                    <a:pt x="403" y="38"/>
                    <a:pt x="398" y="41"/>
                    <a:pt x="392" y="38"/>
                  </a:cubicBezTo>
                  <a:cubicBezTo>
                    <a:pt x="389" y="33"/>
                    <a:pt x="385" y="32"/>
                    <a:pt x="380" y="29"/>
                  </a:cubicBezTo>
                  <a:cubicBezTo>
                    <a:pt x="370" y="16"/>
                    <a:pt x="365" y="13"/>
                    <a:pt x="348" y="11"/>
                  </a:cubicBezTo>
                  <a:cubicBezTo>
                    <a:pt x="342" y="10"/>
                    <a:pt x="330" y="8"/>
                    <a:pt x="330" y="8"/>
                  </a:cubicBezTo>
                  <a:cubicBezTo>
                    <a:pt x="319" y="0"/>
                    <a:pt x="298" y="6"/>
                    <a:pt x="288" y="7"/>
                  </a:cubicBezTo>
                  <a:cubicBezTo>
                    <a:pt x="286" y="21"/>
                    <a:pt x="281" y="19"/>
                    <a:pt x="266" y="20"/>
                  </a:cubicBezTo>
                  <a:cubicBezTo>
                    <a:pt x="257" y="23"/>
                    <a:pt x="255" y="30"/>
                    <a:pt x="266" y="32"/>
                  </a:cubicBezTo>
                  <a:cubicBezTo>
                    <a:pt x="263" y="39"/>
                    <a:pt x="254" y="40"/>
                    <a:pt x="246" y="41"/>
                  </a:cubicBezTo>
                  <a:cubicBezTo>
                    <a:pt x="240" y="40"/>
                    <a:pt x="237" y="37"/>
                    <a:pt x="231" y="35"/>
                  </a:cubicBezTo>
                  <a:cubicBezTo>
                    <a:pt x="225" y="38"/>
                    <a:pt x="219" y="40"/>
                    <a:pt x="213" y="41"/>
                  </a:cubicBezTo>
                  <a:cubicBezTo>
                    <a:pt x="208" y="50"/>
                    <a:pt x="212" y="58"/>
                    <a:pt x="203" y="65"/>
                  </a:cubicBezTo>
                  <a:cubicBezTo>
                    <a:pt x="199" y="74"/>
                    <a:pt x="199" y="74"/>
                    <a:pt x="188" y="76"/>
                  </a:cubicBezTo>
                  <a:cubicBezTo>
                    <a:pt x="181" y="80"/>
                    <a:pt x="180" y="98"/>
                    <a:pt x="180" y="98"/>
                  </a:cubicBezTo>
                  <a:cubicBezTo>
                    <a:pt x="175" y="94"/>
                    <a:pt x="174" y="91"/>
                    <a:pt x="171" y="86"/>
                  </a:cubicBezTo>
                  <a:cubicBezTo>
                    <a:pt x="162" y="89"/>
                    <a:pt x="158" y="89"/>
                    <a:pt x="153" y="98"/>
                  </a:cubicBezTo>
                  <a:cubicBezTo>
                    <a:pt x="152" y="105"/>
                    <a:pt x="150" y="111"/>
                    <a:pt x="144" y="115"/>
                  </a:cubicBezTo>
                  <a:cubicBezTo>
                    <a:pt x="139" y="122"/>
                    <a:pt x="143" y="127"/>
                    <a:pt x="135" y="130"/>
                  </a:cubicBezTo>
                  <a:cubicBezTo>
                    <a:pt x="124" y="141"/>
                    <a:pt x="128" y="152"/>
                    <a:pt x="111" y="155"/>
                  </a:cubicBezTo>
                  <a:cubicBezTo>
                    <a:pt x="115" y="165"/>
                    <a:pt x="121" y="155"/>
                    <a:pt x="128" y="154"/>
                  </a:cubicBezTo>
                  <a:cubicBezTo>
                    <a:pt x="141" y="147"/>
                    <a:pt x="145" y="138"/>
                    <a:pt x="155" y="133"/>
                  </a:cubicBezTo>
                  <a:cubicBezTo>
                    <a:pt x="167" y="137"/>
                    <a:pt x="149" y="152"/>
                    <a:pt x="141" y="157"/>
                  </a:cubicBezTo>
                  <a:cubicBezTo>
                    <a:pt x="135" y="164"/>
                    <a:pt x="141" y="172"/>
                    <a:pt x="134" y="176"/>
                  </a:cubicBezTo>
                  <a:cubicBezTo>
                    <a:pt x="132" y="187"/>
                    <a:pt x="127" y="201"/>
                    <a:pt x="116" y="205"/>
                  </a:cubicBezTo>
                  <a:cubicBezTo>
                    <a:pt x="108" y="215"/>
                    <a:pt x="114" y="228"/>
                    <a:pt x="108" y="239"/>
                  </a:cubicBezTo>
                  <a:cubicBezTo>
                    <a:pt x="107" y="246"/>
                    <a:pt x="104" y="244"/>
                    <a:pt x="98" y="248"/>
                  </a:cubicBezTo>
                  <a:cubicBezTo>
                    <a:pt x="96" y="254"/>
                    <a:pt x="93" y="260"/>
                    <a:pt x="90" y="266"/>
                  </a:cubicBezTo>
                  <a:cubicBezTo>
                    <a:pt x="88" y="278"/>
                    <a:pt x="84" y="275"/>
                    <a:pt x="71" y="277"/>
                  </a:cubicBezTo>
                  <a:cubicBezTo>
                    <a:pt x="66" y="284"/>
                    <a:pt x="64" y="293"/>
                    <a:pt x="60" y="301"/>
                  </a:cubicBezTo>
                  <a:cubicBezTo>
                    <a:pt x="54" y="312"/>
                    <a:pt x="23" y="331"/>
                    <a:pt x="11" y="337"/>
                  </a:cubicBezTo>
                  <a:cubicBezTo>
                    <a:pt x="0" y="352"/>
                    <a:pt x="6" y="364"/>
                    <a:pt x="5" y="386"/>
                  </a:cubicBezTo>
                  <a:cubicBezTo>
                    <a:pt x="5" y="395"/>
                    <a:pt x="4" y="404"/>
                    <a:pt x="6" y="413"/>
                  </a:cubicBezTo>
                  <a:cubicBezTo>
                    <a:pt x="6" y="415"/>
                    <a:pt x="11" y="413"/>
                    <a:pt x="11" y="415"/>
                  </a:cubicBezTo>
                  <a:cubicBezTo>
                    <a:pt x="12" y="420"/>
                    <a:pt x="15" y="436"/>
                    <a:pt x="17" y="442"/>
                  </a:cubicBezTo>
                  <a:cubicBezTo>
                    <a:pt x="19" y="448"/>
                    <a:pt x="20" y="449"/>
                    <a:pt x="24" y="454"/>
                  </a:cubicBezTo>
                  <a:cubicBezTo>
                    <a:pt x="31" y="463"/>
                    <a:pt x="29" y="466"/>
                    <a:pt x="41" y="469"/>
                  </a:cubicBezTo>
                  <a:cubicBezTo>
                    <a:pt x="52" y="468"/>
                    <a:pt x="55" y="469"/>
                    <a:pt x="65" y="466"/>
                  </a:cubicBezTo>
                  <a:cubicBezTo>
                    <a:pt x="71" y="465"/>
                    <a:pt x="69" y="460"/>
                    <a:pt x="71" y="457"/>
                  </a:cubicBezTo>
                  <a:cubicBezTo>
                    <a:pt x="73" y="454"/>
                    <a:pt x="74" y="446"/>
                    <a:pt x="78" y="445"/>
                  </a:cubicBezTo>
                  <a:cubicBezTo>
                    <a:pt x="80" y="442"/>
                    <a:pt x="92" y="451"/>
                    <a:pt x="93" y="448"/>
                  </a:cubicBezTo>
                  <a:cubicBezTo>
                    <a:pt x="95" y="447"/>
                    <a:pt x="92" y="435"/>
                    <a:pt x="92" y="433"/>
                  </a:cubicBezTo>
                  <a:cubicBezTo>
                    <a:pt x="92" y="431"/>
                    <a:pt x="92" y="436"/>
                    <a:pt x="95" y="436"/>
                  </a:cubicBezTo>
                  <a:cubicBezTo>
                    <a:pt x="99" y="432"/>
                    <a:pt x="107" y="434"/>
                    <a:pt x="113" y="433"/>
                  </a:cubicBezTo>
                  <a:cubicBezTo>
                    <a:pt x="120" y="425"/>
                    <a:pt x="118" y="413"/>
                    <a:pt x="126" y="407"/>
                  </a:cubicBezTo>
                  <a:cubicBezTo>
                    <a:pt x="130" y="398"/>
                    <a:pt x="128" y="386"/>
                    <a:pt x="122" y="379"/>
                  </a:cubicBezTo>
                  <a:cubicBezTo>
                    <a:pt x="119" y="356"/>
                    <a:pt x="120" y="368"/>
                    <a:pt x="114" y="355"/>
                  </a:cubicBezTo>
                  <a:cubicBezTo>
                    <a:pt x="116" y="350"/>
                    <a:pt x="117" y="345"/>
                    <a:pt x="119" y="340"/>
                  </a:cubicBezTo>
                  <a:cubicBezTo>
                    <a:pt x="120" y="335"/>
                    <a:pt x="117" y="334"/>
                    <a:pt x="117" y="328"/>
                  </a:cubicBezTo>
                  <a:cubicBezTo>
                    <a:pt x="117" y="322"/>
                    <a:pt x="117" y="310"/>
                    <a:pt x="119" y="303"/>
                  </a:cubicBezTo>
                  <a:cubicBezTo>
                    <a:pt x="121" y="296"/>
                    <a:pt x="125" y="290"/>
                    <a:pt x="129" y="287"/>
                  </a:cubicBezTo>
                  <a:cubicBezTo>
                    <a:pt x="133" y="284"/>
                    <a:pt x="140" y="285"/>
                    <a:pt x="143" y="283"/>
                  </a:cubicBezTo>
                  <a:cubicBezTo>
                    <a:pt x="146" y="281"/>
                    <a:pt x="147" y="278"/>
                    <a:pt x="147" y="275"/>
                  </a:cubicBezTo>
                  <a:cubicBezTo>
                    <a:pt x="147" y="272"/>
                    <a:pt x="140" y="268"/>
                    <a:pt x="140" y="263"/>
                  </a:cubicBezTo>
                  <a:cubicBezTo>
                    <a:pt x="141" y="256"/>
                    <a:pt x="143" y="252"/>
                    <a:pt x="146" y="245"/>
                  </a:cubicBezTo>
                  <a:cubicBezTo>
                    <a:pt x="147" y="238"/>
                    <a:pt x="150" y="228"/>
                    <a:pt x="153" y="221"/>
                  </a:cubicBezTo>
                  <a:cubicBezTo>
                    <a:pt x="156" y="214"/>
                    <a:pt x="158" y="210"/>
                    <a:pt x="162" y="203"/>
                  </a:cubicBezTo>
                  <a:cubicBezTo>
                    <a:pt x="166" y="195"/>
                    <a:pt x="169" y="186"/>
                    <a:pt x="177" y="182"/>
                  </a:cubicBezTo>
                  <a:cubicBezTo>
                    <a:pt x="180" y="175"/>
                    <a:pt x="179" y="172"/>
                    <a:pt x="182" y="164"/>
                  </a:cubicBezTo>
                  <a:cubicBezTo>
                    <a:pt x="185" y="156"/>
                    <a:pt x="187" y="140"/>
                    <a:pt x="192" y="134"/>
                  </a:cubicBezTo>
                  <a:cubicBezTo>
                    <a:pt x="198" y="131"/>
                    <a:pt x="205" y="132"/>
                    <a:pt x="212" y="131"/>
                  </a:cubicBezTo>
                  <a:cubicBezTo>
                    <a:pt x="213" y="130"/>
                    <a:pt x="215" y="129"/>
                    <a:pt x="215" y="127"/>
                  </a:cubicBezTo>
                  <a:cubicBezTo>
                    <a:pt x="216" y="122"/>
                    <a:pt x="214" y="117"/>
                    <a:pt x="216" y="113"/>
                  </a:cubicBezTo>
                  <a:cubicBezTo>
                    <a:pt x="217" y="111"/>
                    <a:pt x="219" y="114"/>
                    <a:pt x="221" y="115"/>
                  </a:cubicBezTo>
                  <a:cubicBezTo>
                    <a:pt x="230" y="119"/>
                    <a:pt x="224" y="117"/>
                    <a:pt x="233" y="119"/>
                  </a:cubicBezTo>
                  <a:cubicBezTo>
                    <a:pt x="236" y="119"/>
                    <a:pt x="237" y="115"/>
                    <a:pt x="240" y="112"/>
                  </a:cubicBezTo>
                  <a:cubicBezTo>
                    <a:pt x="243" y="109"/>
                    <a:pt x="250" y="107"/>
                    <a:pt x="252" y="103"/>
                  </a:cubicBezTo>
                  <a:cubicBezTo>
                    <a:pt x="261" y="115"/>
                    <a:pt x="253" y="91"/>
                    <a:pt x="254" y="89"/>
                  </a:cubicBezTo>
                  <a:cubicBezTo>
                    <a:pt x="255" y="88"/>
                    <a:pt x="257" y="90"/>
                    <a:pt x="258" y="91"/>
                  </a:cubicBezTo>
                  <a:cubicBezTo>
                    <a:pt x="262" y="99"/>
                    <a:pt x="261" y="108"/>
                    <a:pt x="269" y="112"/>
                  </a:cubicBezTo>
                  <a:cubicBezTo>
                    <a:pt x="273" y="115"/>
                    <a:pt x="274" y="110"/>
                    <a:pt x="278" y="109"/>
                  </a:cubicBezTo>
                  <a:cubicBezTo>
                    <a:pt x="282" y="108"/>
                    <a:pt x="288" y="105"/>
                    <a:pt x="293" y="106"/>
                  </a:cubicBezTo>
                  <a:cubicBezTo>
                    <a:pt x="298" y="107"/>
                    <a:pt x="305" y="116"/>
                    <a:pt x="309" y="115"/>
                  </a:cubicBezTo>
                  <a:cubicBezTo>
                    <a:pt x="312" y="114"/>
                    <a:pt x="319" y="105"/>
                    <a:pt x="320" y="97"/>
                  </a:cubicBezTo>
                  <a:cubicBezTo>
                    <a:pt x="323" y="89"/>
                    <a:pt x="320" y="73"/>
                    <a:pt x="324" y="67"/>
                  </a:cubicBezTo>
                  <a:cubicBezTo>
                    <a:pt x="328" y="61"/>
                    <a:pt x="337" y="60"/>
                    <a:pt x="342" y="59"/>
                  </a:cubicBezTo>
                  <a:cubicBezTo>
                    <a:pt x="347" y="59"/>
                    <a:pt x="350" y="58"/>
                    <a:pt x="354" y="59"/>
                  </a:cubicBezTo>
                  <a:cubicBezTo>
                    <a:pt x="358" y="60"/>
                    <a:pt x="365" y="66"/>
                    <a:pt x="368" y="6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4" name="Freeform 117"/>
            <p:cNvSpPr>
              <a:spLocks/>
            </p:cNvSpPr>
            <p:nvPr>
              <p:custDataLst>
                <p:tags r:id="rId90"/>
              </p:custDataLst>
            </p:nvPr>
          </p:nvSpPr>
          <p:spPr bwMode="gray">
            <a:xfrm>
              <a:off x="4955093" y="2484688"/>
              <a:ext cx="176563" cy="136059"/>
            </a:xfrm>
            <a:custGeom>
              <a:avLst/>
              <a:gdLst>
                <a:gd name="T0" fmla="*/ 8 w 107"/>
                <a:gd name="T1" fmla="*/ 26 h 84"/>
                <a:gd name="T2" fmla="*/ 29 w 107"/>
                <a:gd name="T3" fmla="*/ 17 h 84"/>
                <a:gd name="T4" fmla="*/ 47 w 107"/>
                <a:gd name="T5" fmla="*/ 6 h 84"/>
                <a:gd name="T6" fmla="*/ 60 w 107"/>
                <a:gd name="T7" fmla="*/ 0 h 84"/>
                <a:gd name="T8" fmla="*/ 101 w 107"/>
                <a:gd name="T9" fmla="*/ 8 h 84"/>
                <a:gd name="T10" fmla="*/ 92 w 107"/>
                <a:gd name="T11" fmla="*/ 42 h 84"/>
                <a:gd name="T12" fmla="*/ 92 w 107"/>
                <a:gd name="T13" fmla="*/ 59 h 84"/>
                <a:gd name="T14" fmla="*/ 51 w 107"/>
                <a:gd name="T15" fmla="*/ 45 h 84"/>
                <a:gd name="T16" fmla="*/ 38 w 107"/>
                <a:gd name="T17" fmla="*/ 54 h 84"/>
                <a:gd name="T18" fmla="*/ 5 w 107"/>
                <a:gd name="T19" fmla="*/ 63 h 84"/>
                <a:gd name="T20" fmla="*/ 5 w 107"/>
                <a:gd name="T21" fmla="*/ 51 h 84"/>
                <a:gd name="T22" fmla="*/ 8 w 107"/>
                <a:gd name="T23" fmla="*/ 2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84">
                  <a:moveTo>
                    <a:pt x="8" y="26"/>
                  </a:moveTo>
                  <a:cubicBezTo>
                    <a:pt x="16" y="22"/>
                    <a:pt x="19" y="19"/>
                    <a:pt x="29" y="17"/>
                  </a:cubicBezTo>
                  <a:cubicBezTo>
                    <a:pt x="35" y="7"/>
                    <a:pt x="34" y="8"/>
                    <a:pt x="47" y="6"/>
                  </a:cubicBezTo>
                  <a:cubicBezTo>
                    <a:pt x="51" y="3"/>
                    <a:pt x="55" y="2"/>
                    <a:pt x="60" y="0"/>
                  </a:cubicBezTo>
                  <a:cubicBezTo>
                    <a:pt x="74" y="2"/>
                    <a:pt x="88" y="0"/>
                    <a:pt x="101" y="8"/>
                  </a:cubicBezTo>
                  <a:cubicBezTo>
                    <a:pt x="107" y="14"/>
                    <a:pt x="94" y="34"/>
                    <a:pt x="92" y="42"/>
                  </a:cubicBezTo>
                  <a:cubicBezTo>
                    <a:pt x="90" y="51"/>
                    <a:pt x="99" y="59"/>
                    <a:pt x="92" y="59"/>
                  </a:cubicBezTo>
                  <a:cubicBezTo>
                    <a:pt x="54" y="58"/>
                    <a:pt x="71" y="57"/>
                    <a:pt x="51" y="45"/>
                  </a:cubicBezTo>
                  <a:cubicBezTo>
                    <a:pt x="35" y="48"/>
                    <a:pt x="47" y="50"/>
                    <a:pt x="38" y="54"/>
                  </a:cubicBezTo>
                  <a:cubicBezTo>
                    <a:pt x="35" y="84"/>
                    <a:pt x="26" y="66"/>
                    <a:pt x="5" y="63"/>
                  </a:cubicBezTo>
                  <a:cubicBezTo>
                    <a:pt x="0" y="55"/>
                    <a:pt x="1" y="60"/>
                    <a:pt x="5" y="51"/>
                  </a:cubicBezTo>
                  <a:cubicBezTo>
                    <a:pt x="7" y="42"/>
                    <a:pt x="6" y="36"/>
                    <a:pt x="8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5" name="Freeform 118"/>
            <p:cNvSpPr>
              <a:spLocks/>
            </p:cNvSpPr>
            <p:nvPr>
              <p:custDataLst>
                <p:tags r:id="rId91"/>
              </p:custDataLst>
            </p:nvPr>
          </p:nvSpPr>
          <p:spPr bwMode="gray">
            <a:xfrm>
              <a:off x="4133834" y="3652525"/>
              <a:ext cx="395241" cy="377401"/>
            </a:xfrm>
            <a:custGeom>
              <a:avLst/>
              <a:gdLst>
                <a:gd name="T0" fmla="*/ 1 w 240"/>
                <a:gd name="T1" fmla="*/ 157 h 233"/>
                <a:gd name="T2" fmla="*/ 82 w 240"/>
                <a:gd name="T3" fmla="*/ 158 h 233"/>
                <a:gd name="T4" fmla="*/ 96 w 240"/>
                <a:gd name="T5" fmla="*/ 145 h 233"/>
                <a:gd name="T6" fmla="*/ 85 w 240"/>
                <a:gd name="T7" fmla="*/ 73 h 233"/>
                <a:gd name="T8" fmla="*/ 73 w 240"/>
                <a:gd name="T9" fmla="*/ 25 h 233"/>
                <a:gd name="T10" fmla="*/ 82 w 240"/>
                <a:gd name="T11" fmla="*/ 10 h 233"/>
                <a:gd name="T12" fmla="*/ 99 w 240"/>
                <a:gd name="T13" fmla="*/ 5 h 233"/>
                <a:gd name="T14" fmla="*/ 120 w 240"/>
                <a:gd name="T15" fmla="*/ 14 h 233"/>
                <a:gd name="T16" fmla="*/ 133 w 240"/>
                <a:gd name="T17" fmla="*/ 26 h 233"/>
                <a:gd name="T18" fmla="*/ 147 w 240"/>
                <a:gd name="T19" fmla="*/ 35 h 233"/>
                <a:gd name="T20" fmla="*/ 165 w 240"/>
                <a:gd name="T21" fmla="*/ 47 h 233"/>
                <a:gd name="T22" fmla="*/ 178 w 240"/>
                <a:gd name="T23" fmla="*/ 56 h 233"/>
                <a:gd name="T24" fmla="*/ 186 w 240"/>
                <a:gd name="T25" fmla="*/ 62 h 233"/>
                <a:gd name="T26" fmla="*/ 201 w 240"/>
                <a:gd name="T27" fmla="*/ 79 h 233"/>
                <a:gd name="T28" fmla="*/ 210 w 240"/>
                <a:gd name="T29" fmla="*/ 86 h 233"/>
                <a:gd name="T30" fmla="*/ 235 w 240"/>
                <a:gd name="T31" fmla="*/ 98 h 233"/>
                <a:gd name="T32" fmla="*/ 237 w 240"/>
                <a:gd name="T33" fmla="*/ 119 h 233"/>
                <a:gd name="T34" fmla="*/ 237 w 240"/>
                <a:gd name="T35" fmla="*/ 142 h 233"/>
                <a:gd name="T36" fmla="*/ 226 w 240"/>
                <a:gd name="T37" fmla="*/ 152 h 233"/>
                <a:gd name="T38" fmla="*/ 202 w 240"/>
                <a:gd name="T39" fmla="*/ 155 h 233"/>
                <a:gd name="T40" fmla="*/ 172 w 240"/>
                <a:gd name="T41" fmla="*/ 160 h 233"/>
                <a:gd name="T42" fmla="*/ 148 w 240"/>
                <a:gd name="T43" fmla="*/ 167 h 233"/>
                <a:gd name="T44" fmla="*/ 127 w 240"/>
                <a:gd name="T45" fmla="*/ 181 h 233"/>
                <a:gd name="T46" fmla="*/ 115 w 240"/>
                <a:gd name="T47" fmla="*/ 185 h 233"/>
                <a:gd name="T48" fmla="*/ 102 w 240"/>
                <a:gd name="T49" fmla="*/ 206 h 233"/>
                <a:gd name="T50" fmla="*/ 93 w 240"/>
                <a:gd name="T51" fmla="*/ 233 h 233"/>
                <a:gd name="T52" fmla="*/ 49 w 240"/>
                <a:gd name="T53" fmla="*/ 230 h 233"/>
                <a:gd name="T54" fmla="*/ 28 w 240"/>
                <a:gd name="T55" fmla="*/ 208 h 233"/>
                <a:gd name="T56" fmla="*/ 6 w 240"/>
                <a:gd name="T57" fmla="*/ 202 h 233"/>
                <a:gd name="T58" fmla="*/ 1 w 240"/>
                <a:gd name="T59" fmla="*/ 15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0" h="233">
                  <a:moveTo>
                    <a:pt x="1" y="157"/>
                  </a:moveTo>
                  <a:cubicBezTo>
                    <a:pt x="30" y="160"/>
                    <a:pt x="52" y="159"/>
                    <a:pt x="82" y="158"/>
                  </a:cubicBezTo>
                  <a:cubicBezTo>
                    <a:pt x="90" y="156"/>
                    <a:pt x="92" y="152"/>
                    <a:pt x="96" y="145"/>
                  </a:cubicBezTo>
                  <a:cubicBezTo>
                    <a:pt x="94" y="120"/>
                    <a:pt x="93" y="97"/>
                    <a:pt x="85" y="73"/>
                  </a:cubicBezTo>
                  <a:cubicBezTo>
                    <a:pt x="82" y="58"/>
                    <a:pt x="73" y="35"/>
                    <a:pt x="73" y="25"/>
                  </a:cubicBezTo>
                  <a:cubicBezTo>
                    <a:pt x="73" y="15"/>
                    <a:pt x="78" y="13"/>
                    <a:pt x="82" y="10"/>
                  </a:cubicBezTo>
                  <a:cubicBezTo>
                    <a:pt x="84" y="0"/>
                    <a:pt x="93" y="4"/>
                    <a:pt x="99" y="5"/>
                  </a:cubicBezTo>
                  <a:cubicBezTo>
                    <a:pt x="105" y="6"/>
                    <a:pt x="114" y="11"/>
                    <a:pt x="120" y="14"/>
                  </a:cubicBezTo>
                  <a:cubicBezTo>
                    <a:pt x="121" y="20"/>
                    <a:pt x="127" y="23"/>
                    <a:pt x="133" y="26"/>
                  </a:cubicBezTo>
                  <a:cubicBezTo>
                    <a:pt x="138" y="33"/>
                    <a:pt x="139" y="34"/>
                    <a:pt x="147" y="35"/>
                  </a:cubicBezTo>
                  <a:cubicBezTo>
                    <a:pt x="155" y="38"/>
                    <a:pt x="158" y="43"/>
                    <a:pt x="165" y="47"/>
                  </a:cubicBezTo>
                  <a:cubicBezTo>
                    <a:pt x="169" y="54"/>
                    <a:pt x="172" y="52"/>
                    <a:pt x="178" y="56"/>
                  </a:cubicBezTo>
                  <a:cubicBezTo>
                    <a:pt x="180" y="59"/>
                    <a:pt x="185" y="59"/>
                    <a:pt x="186" y="62"/>
                  </a:cubicBezTo>
                  <a:cubicBezTo>
                    <a:pt x="188" y="66"/>
                    <a:pt x="197" y="75"/>
                    <a:pt x="201" y="79"/>
                  </a:cubicBezTo>
                  <a:cubicBezTo>
                    <a:pt x="205" y="83"/>
                    <a:pt x="204" y="83"/>
                    <a:pt x="210" y="86"/>
                  </a:cubicBezTo>
                  <a:cubicBezTo>
                    <a:pt x="220" y="89"/>
                    <a:pt x="227" y="92"/>
                    <a:pt x="235" y="98"/>
                  </a:cubicBezTo>
                  <a:cubicBezTo>
                    <a:pt x="240" y="104"/>
                    <a:pt x="238" y="110"/>
                    <a:pt x="237" y="119"/>
                  </a:cubicBezTo>
                  <a:cubicBezTo>
                    <a:pt x="237" y="126"/>
                    <a:pt x="239" y="137"/>
                    <a:pt x="237" y="142"/>
                  </a:cubicBezTo>
                  <a:cubicBezTo>
                    <a:pt x="235" y="147"/>
                    <a:pt x="232" y="150"/>
                    <a:pt x="226" y="152"/>
                  </a:cubicBezTo>
                  <a:cubicBezTo>
                    <a:pt x="220" y="162"/>
                    <a:pt x="211" y="154"/>
                    <a:pt x="202" y="155"/>
                  </a:cubicBezTo>
                  <a:cubicBezTo>
                    <a:pt x="193" y="156"/>
                    <a:pt x="181" y="158"/>
                    <a:pt x="172" y="160"/>
                  </a:cubicBezTo>
                  <a:cubicBezTo>
                    <a:pt x="162" y="161"/>
                    <a:pt x="157" y="165"/>
                    <a:pt x="148" y="167"/>
                  </a:cubicBezTo>
                  <a:cubicBezTo>
                    <a:pt x="140" y="171"/>
                    <a:pt x="135" y="179"/>
                    <a:pt x="127" y="181"/>
                  </a:cubicBezTo>
                  <a:cubicBezTo>
                    <a:pt x="122" y="187"/>
                    <a:pt x="123" y="184"/>
                    <a:pt x="115" y="185"/>
                  </a:cubicBezTo>
                  <a:cubicBezTo>
                    <a:pt x="108" y="196"/>
                    <a:pt x="113" y="199"/>
                    <a:pt x="102" y="206"/>
                  </a:cubicBezTo>
                  <a:cubicBezTo>
                    <a:pt x="97" y="213"/>
                    <a:pt x="102" y="229"/>
                    <a:pt x="93" y="233"/>
                  </a:cubicBezTo>
                  <a:cubicBezTo>
                    <a:pt x="81" y="232"/>
                    <a:pt x="61" y="232"/>
                    <a:pt x="49" y="230"/>
                  </a:cubicBezTo>
                  <a:cubicBezTo>
                    <a:pt x="54" y="230"/>
                    <a:pt x="37" y="210"/>
                    <a:pt x="28" y="208"/>
                  </a:cubicBezTo>
                  <a:cubicBezTo>
                    <a:pt x="22" y="205"/>
                    <a:pt x="13" y="203"/>
                    <a:pt x="6" y="202"/>
                  </a:cubicBezTo>
                  <a:cubicBezTo>
                    <a:pt x="0" y="193"/>
                    <a:pt x="2" y="167"/>
                    <a:pt x="1" y="15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6" name="Freeform 119"/>
            <p:cNvSpPr>
              <a:spLocks/>
            </p:cNvSpPr>
            <p:nvPr>
              <p:custDataLst>
                <p:tags r:id="rId92"/>
              </p:custDataLst>
            </p:nvPr>
          </p:nvSpPr>
          <p:spPr bwMode="gray">
            <a:xfrm>
              <a:off x="5036085" y="4647049"/>
              <a:ext cx="199241" cy="189511"/>
            </a:xfrm>
            <a:custGeom>
              <a:avLst/>
              <a:gdLst>
                <a:gd name="T0" fmla="*/ 2 w 121"/>
                <a:gd name="T1" fmla="*/ 42 h 117"/>
                <a:gd name="T2" fmla="*/ 34 w 121"/>
                <a:gd name="T3" fmla="*/ 36 h 117"/>
                <a:gd name="T4" fmla="*/ 49 w 121"/>
                <a:gd name="T5" fmla="*/ 20 h 117"/>
                <a:gd name="T6" fmla="*/ 58 w 121"/>
                <a:gd name="T7" fmla="*/ 11 h 117"/>
                <a:gd name="T8" fmla="*/ 77 w 121"/>
                <a:gd name="T9" fmla="*/ 0 h 117"/>
                <a:gd name="T10" fmla="*/ 92 w 121"/>
                <a:gd name="T11" fmla="*/ 12 h 117"/>
                <a:gd name="T12" fmla="*/ 109 w 121"/>
                <a:gd name="T13" fmla="*/ 21 h 117"/>
                <a:gd name="T14" fmla="*/ 110 w 121"/>
                <a:gd name="T15" fmla="*/ 92 h 117"/>
                <a:gd name="T16" fmla="*/ 101 w 121"/>
                <a:gd name="T17" fmla="*/ 108 h 117"/>
                <a:gd name="T18" fmla="*/ 83 w 121"/>
                <a:gd name="T19" fmla="*/ 114 h 117"/>
                <a:gd name="T20" fmla="*/ 44 w 121"/>
                <a:gd name="T21" fmla="*/ 98 h 117"/>
                <a:gd name="T22" fmla="*/ 32 w 121"/>
                <a:gd name="T23" fmla="*/ 89 h 117"/>
                <a:gd name="T24" fmla="*/ 26 w 121"/>
                <a:gd name="T25" fmla="*/ 78 h 117"/>
                <a:gd name="T26" fmla="*/ 14 w 121"/>
                <a:gd name="T27" fmla="*/ 71 h 117"/>
                <a:gd name="T28" fmla="*/ 6 w 121"/>
                <a:gd name="T29" fmla="*/ 59 h 117"/>
                <a:gd name="T30" fmla="*/ 2 w 121"/>
                <a:gd name="T31" fmla="*/ 51 h 117"/>
                <a:gd name="T32" fmla="*/ 2 w 121"/>
                <a:gd name="T33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1" h="117">
                  <a:moveTo>
                    <a:pt x="2" y="42"/>
                  </a:moveTo>
                  <a:cubicBezTo>
                    <a:pt x="22" y="41"/>
                    <a:pt x="22" y="43"/>
                    <a:pt x="34" y="36"/>
                  </a:cubicBezTo>
                  <a:cubicBezTo>
                    <a:pt x="27" y="23"/>
                    <a:pt x="39" y="21"/>
                    <a:pt x="49" y="20"/>
                  </a:cubicBezTo>
                  <a:cubicBezTo>
                    <a:pt x="53" y="14"/>
                    <a:pt x="51" y="12"/>
                    <a:pt x="58" y="11"/>
                  </a:cubicBezTo>
                  <a:cubicBezTo>
                    <a:pt x="64" y="8"/>
                    <a:pt x="71" y="3"/>
                    <a:pt x="77" y="0"/>
                  </a:cubicBezTo>
                  <a:cubicBezTo>
                    <a:pt x="88" y="4"/>
                    <a:pt x="80" y="10"/>
                    <a:pt x="92" y="12"/>
                  </a:cubicBezTo>
                  <a:cubicBezTo>
                    <a:pt x="99" y="15"/>
                    <a:pt x="101" y="19"/>
                    <a:pt x="109" y="21"/>
                  </a:cubicBezTo>
                  <a:cubicBezTo>
                    <a:pt x="120" y="40"/>
                    <a:pt x="121" y="71"/>
                    <a:pt x="110" y="92"/>
                  </a:cubicBezTo>
                  <a:cubicBezTo>
                    <a:pt x="109" y="99"/>
                    <a:pt x="108" y="107"/>
                    <a:pt x="101" y="108"/>
                  </a:cubicBezTo>
                  <a:cubicBezTo>
                    <a:pt x="95" y="117"/>
                    <a:pt x="95" y="116"/>
                    <a:pt x="83" y="114"/>
                  </a:cubicBezTo>
                  <a:cubicBezTo>
                    <a:pt x="79" y="111"/>
                    <a:pt x="50" y="99"/>
                    <a:pt x="44" y="98"/>
                  </a:cubicBezTo>
                  <a:cubicBezTo>
                    <a:pt x="39" y="95"/>
                    <a:pt x="35" y="94"/>
                    <a:pt x="32" y="89"/>
                  </a:cubicBezTo>
                  <a:cubicBezTo>
                    <a:pt x="29" y="85"/>
                    <a:pt x="29" y="81"/>
                    <a:pt x="26" y="78"/>
                  </a:cubicBezTo>
                  <a:cubicBezTo>
                    <a:pt x="23" y="75"/>
                    <a:pt x="17" y="74"/>
                    <a:pt x="14" y="71"/>
                  </a:cubicBezTo>
                  <a:cubicBezTo>
                    <a:pt x="9" y="66"/>
                    <a:pt x="8" y="62"/>
                    <a:pt x="6" y="59"/>
                  </a:cubicBezTo>
                  <a:cubicBezTo>
                    <a:pt x="4" y="56"/>
                    <a:pt x="3" y="54"/>
                    <a:pt x="2" y="51"/>
                  </a:cubicBezTo>
                  <a:cubicBezTo>
                    <a:pt x="1" y="44"/>
                    <a:pt x="0" y="47"/>
                    <a:pt x="2" y="4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7" name="Freeform 120"/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5479922" y="3189279"/>
              <a:ext cx="68033" cy="63171"/>
            </a:xfrm>
            <a:custGeom>
              <a:avLst/>
              <a:gdLst>
                <a:gd name="T0" fmla="*/ 0 w 42"/>
                <a:gd name="T1" fmla="*/ 3 h 39"/>
                <a:gd name="T2" fmla="*/ 23 w 42"/>
                <a:gd name="T3" fmla="*/ 0 h 39"/>
                <a:gd name="T4" fmla="*/ 31 w 42"/>
                <a:gd name="T5" fmla="*/ 16 h 39"/>
                <a:gd name="T6" fmla="*/ 36 w 42"/>
                <a:gd name="T7" fmla="*/ 27 h 39"/>
                <a:gd name="T8" fmla="*/ 42 w 42"/>
                <a:gd name="T9" fmla="*/ 38 h 39"/>
                <a:gd name="T10" fmla="*/ 27 w 42"/>
                <a:gd name="T11" fmla="*/ 33 h 39"/>
                <a:gd name="T12" fmla="*/ 18 w 42"/>
                <a:gd name="T13" fmla="*/ 39 h 39"/>
                <a:gd name="T14" fmla="*/ 2 w 42"/>
                <a:gd name="T15" fmla="*/ 17 h 39"/>
                <a:gd name="T16" fmla="*/ 0 w 42"/>
                <a:gd name="T17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9">
                  <a:moveTo>
                    <a:pt x="0" y="3"/>
                  </a:moveTo>
                  <a:lnTo>
                    <a:pt x="23" y="0"/>
                  </a:lnTo>
                  <a:lnTo>
                    <a:pt x="31" y="16"/>
                  </a:lnTo>
                  <a:lnTo>
                    <a:pt x="36" y="27"/>
                  </a:lnTo>
                  <a:lnTo>
                    <a:pt x="42" y="38"/>
                  </a:lnTo>
                  <a:lnTo>
                    <a:pt x="27" y="33"/>
                  </a:lnTo>
                  <a:lnTo>
                    <a:pt x="18" y="39"/>
                  </a:lnTo>
                  <a:lnTo>
                    <a:pt x="2" y="1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8" name="Freeform 127"/>
            <p:cNvSpPr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4010726" y="3942460"/>
              <a:ext cx="98811" cy="35634"/>
            </a:xfrm>
            <a:custGeom>
              <a:avLst/>
              <a:gdLst>
                <a:gd name="T0" fmla="*/ 0 w 60"/>
                <a:gd name="T1" fmla="*/ 9 h 22"/>
                <a:gd name="T2" fmla="*/ 27 w 60"/>
                <a:gd name="T3" fmla="*/ 9 h 22"/>
                <a:gd name="T4" fmla="*/ 39 w 60"/>
                <a:gd name="T5" fmla="*/ 8 h 22"/>
                <a:gd name="T6" fmla="*/ 48 w 60"/>
                <a:gd name="T7" fmla="*/ 0 h 22"/>
                <a:gd name="T8" fmla="*/ 60 w 60"/>
                <a:gd name="T9" fmla="*/ 9 h 22"/>
                <a:gd name="T10" fmla="*/ 49 w 60"/>
                <a:gd name="T11" fmla="*/ 19 h 22"/>
                <a:gd name="T12" fmla="*/ 40 w 60"/>
                <a:gd name="T13" fmla="*/ 16 h 22"/>
                <a:gd name="T14" fmla="*/ 30 w 60"/>
                <a:gd name="T15" fmla="*/ 22 h 22"/>
                <a:gd name="T16" fmla="*/ 3 w 60"/>
                <a:gd name="T17" fmla="*/ 21 h 22"/>
                <a:gd name="T18" fmla="*/ 0 w 60"/>
                <a:gd name="T1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22">
                  <a:moveTo>
                    <a:pt x="0" y="9"/>
                  </a:moveTo>
                  <a:lnTo>
                    <a:pt x="27" y="9"/>
                  </a:lnTo>
                  <a:lnTo>
                    <a:pt x="39" y="8"/>
                  </a:lnTo>
                  <a:lnTo>
                    <a:pt x="48" y="0"/>
                  </a:lnTo>
                  <a:lnTo>
                    <a:pt x="60" y="9"/>
                  </a:lnTo>
                  <a:lnTo>
                    <a:pt x="49" y="19"/>
                  </a:lnTo>
                  <a:lnTo>
                    <a:pt x="40" y="16"/>
                  </a:lnTo>
                  <a:lnTo>
                    <a:pt x="30" y="22"/>
                  </a:lnTo>
                  <a:lnTo>
                    <a:pt x="3" y="21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9" name="Freeform 128"/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4012345" y="3971615"/>
              <a:ext cx="79373" cy="46973"/>
            </a:xfrm>
            <a:custGeom>
              <a:avLst/>
              <a:gdLst>
                <a:gd name="T0" fmla="*/ 0 w 48"/>
                <a:gd name="T1" fmla="*/ 23 h 29"/>
                <a:gd name="T2" fmla="*/ 21 w 48"/>
                <a:gd name="T3" fmla="*/ 29 h 29"/>
                <a:gd name="T4" fmla="*/ 30 w 48"/>
                <a:gd name="T5" fmla="*/ 21 h 29"/>
                <a:gd name="T6" fmla="*/ 48 w 48"/>
                <a:gd name="T7" fmla="*/ 0 h 29"/>
                <a:gd name="T8" fmla="*/ 26 w 48"/>
                <a:gd name="T9" fmla="*/ 3 h 29"/>
                <a:gd name="T10" fmla="*/ 3 w 48"/>
                <a:gd name="T11" fmla="*/ 3 h 29"/>
                <a:gd name="T12" fmla="*/ 2 w 48"/>
                <a:gd name="T13" fmla="*/ 14 h 29"/>
                <a:gd name="T14" fmla="*/ 0 w 48"/>
                <a:gd name="T15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9">
                  <a:moveTo>
                    <a:pt x="0" y="23"/>
                  </a:moveTo>
                  <a:lnTo>
                    <a:pt x="21" y="29"/>
                  </a:lnTo>
                  <a:lnTo>
                    <a:pt x="30" y="21"/>
                  </a:lnTo>
                  <a:lnTo>
                    <a:pt x="48" y="0"/>
                  </a:lnTo>
                  <a:lnTo>
                    <a:pt x="26" y="3"/>
                  </a:lnTo>
                  <a:lnTo>
                    <a:pt x="3" y="3"/>
                  </a:lnTo>
                  <a:lnTo>
                    <a:pt x="2" y="14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0" name="Freeform 129"/>
            <p:cNvSpPr>
              <a:spLocks/>
            </p:cNvSpPr>
            <p:nvPr>
              <p:custDataLst>
                <p:tags r:id="rId96"/>
              </p:custDataLst>
            </p:nvPr>
          </p:nvSpPr>
          <p:spPr bwMode="gray">
            <a:xfrm>
              <a:off x="4005866" y="3872811"/>
              <a:ext cx="129587" cy="111763"/>
            </a:xfrm>
            <a:custGeom>
              <a:avLst/>
              <a:gdLst>
                <a:gd name="T0" fmla="*/ 10 w 79"/>
                <a:gd name="T1" fmla="*/ 4 h 69"/>
                <a:gd name="T2" fmla="*/ 27 w 79"/>
                <a:gd name="T3" fmla="*/ 0 h 69"/>
                <a:gd name="T4" fmla="*/ 55 w 79"/>
                <a:gd name="T5" fmla="*/ 10 h 69"/>
                <a:gd name="T6" fmla="*/ 63 w 79"/>
                <a:gd name="T7" fmla="*/ 21 h 69"/>
                <a:gd name="T8" fmla="*/ 79 w 79"/>
                <a:gd name="T9" fmla="*/ 22 h 69"/>
                <a:gd name="T10" fmla="*/ 79 w 79"/>
                <a:gd name="T11" fmla="*/ 51 h 69"/>
                <a:gd name="T12" fmla="*/ 79 w 79"/>
                <a:gd name="T13" fmla="*/ 69 h 69"/>
                <a:gd name="T14" fmla="*/ 66 w 79"/>
                <a:gd name="T15" fmla="*/ 64 h 69"/>
                <a:gd name="T16" fmla="*/ 57 w 79"/>
                <a:gd name="T17" fmla="*/ 58 h 69"/>
                <a:gd name="T18" fmla="*/ 4 w 79"/>
                <a:gd name="T19" fmla="*/ 67 h 69"/>
                <a:gd name="T20" fmla="*/ 22 w 79"/>
                <a:gd name="T21" fmla="*/ 63 h 69"/>
                <a:gd name="T22" fmla="*/ 46 w 79"/>
                <a:gd name="T23" fmla="*/ 61 h 69"/>
                <a:gd name="T24" fmla="*/ 60 w 79"/>
                <a:gd name="T25" fmla="*/ 54 h 69"/>
                <a:gd name="T26" fmla="*/ 51 w 79"/>
                <a:gd name="T27" fmla="*/ 43 h 69"/>
                <a:gd name="T28" fmla="*/ 42 w 79"/>
                <a:gd name="T29" fmla="*/ 52 h 69"/>
                <a:gd name="T30" fmla="*/ 1 w 79"/>
                <a:gd name="T31" fmla="*/ 54 h 69"/>
                <a:gd name="T32" fmla="*/ 0 w 79"/>
                <a:gd name="T33" fmla="*/ 28 h 69"/>
                <a:gd name="T34" fmla="*/ 6 w 79"/>
                <a:gd name="T35" fmla="*/ 16 h 69"/>
                <a:gd name="T36" fmla="*/ 10 w 79"/>
                <a:gd name="T37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9">
                  <a:moveTo>
                    <a:pt x="10" y="4"/>
                  </a:moveTo>
                  <a:lnTo>
                    <a:pt x="27" y="0"/>
                  </a:lnTo>
                  <a:lnTo>
                    <a:pt x="55" y="10"/>
                  </a:lnTo>
                  <a:lnTo>
                    <a:pt x="63" y="21"/>
                  </a:lnTo>
                  <a:lnTo>
                    <a:pt x="79" y="22"/>
                  </a:lnTo>
                  <a:lnTo>
                    <a:pt x="79" y="51"/>
                  </a:lnTo>
                  <a:lnTo>
                    <a:pt x="79" y="69"/>
                  </a:lnTo>
                  <a:lnTo>
                    <a:pt x="66" y="64"/>
                  </a:lnTo>
                  <a:lnTo>
                    <a:pt x="57" y="58"/>
                  </a:lnTo>
                  <a:lnTo>
                    <a:pt x="4" y="67"/>
                  </a:lnTo>
                  <a:lnTo>
                    <a:pt x="22" y="63"/>
                  </a:lnTo>
                  <a:lnTo>
                    <a:pt x="46" y="61"/>
                  </a:lnTo>
                  <a:lnTo>
                    <a:pt x="60" y="54"/>
                  </a:lnTo>
                  <a:lnTo>
                    <a:pt x="51" y="43"/>
                  </a:lnTo>
                  <a:lnTo>
                    <a:pt x="42" y="52"/>
                  </a:lnTo>
                  <a:lnTo>
                    <a:pt x="1" y="54"/>
                  </a:lnTo>
                  <a:lnTo>
                    <a:pt x="0" y="28"/>
                  </a:lnTo>
                  <a:lnTo>
                    <a:pt x="6" y="16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1" name="Freeform 130"/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5440238" y="3974045"/>
              <a:ext cx="48595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2" name="Freeform 131"/>
            <p:cNvSpPr>
              <a:spLocks/>
            </p:cNvSpPr>
            <p:nvPr>
              <p:custDataLst>
                <p:tags r:id="rId98"/>
              </p:custDataLst>
            </p:nvPr>
          </p:nvSpPr>
          <p:spPr bwMode="gray">
            <a:xfrm>
              <a:off x="5526897" y="3503509"/>
              <a:ext cx="50216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3" name="Freeform 132"/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6134336" y="3134207"/>
              <a:ext cx="207340" cy="116622"/>
            </a:xfrm>
            <a:custGeom>
              <a:avLst/>
              <a:gdLst>
                <a:gd name="T0" fmla="*/ 10 w 126"/>
                <a:gd name="T1" fmla="*/ 15 h 72"/>
                <a:gd name="T2" fmla="*/ 22 w 126"/>
                <a:gd name="T3" fmla="*/ 7 h 72"/>
                <a:gd name="T4" fmla="*/ 40 w 126"/>
                <a:gd name="T5" fmla="*/ 15 h 72"/>
                <a:gd name="T6" fmla="*/ 48 w 126"/>
                <a:gd name="T7" fmla="*/ 7 h 72"/>
                <a:gd name="T8" fmla="*/ 58 w 126"/>
                <a:gd name="T9" fmla="*/ 0 h 72"/>
                <a:gd name="T10" fmla="*/ 84 w 126"/>
                <a:gd name="T11" fmla="*/ 9 h 72"/>
                <a:gd name="T12" fmla="*/ 108 w 126"/>
                <a:gd name="T13" fmla="*/ 6 h 72"/>
                <a:gd name="T14" fmla="*/ 124 w 126"/>
                <a:gd name="T15" fmla="*/ 9 h 72"/>
                <a:gd name="T16" fmla="*/ 126 w 126"/>
                <a:gd name="T17" fmla="*/ 19 h 72"/>
                <a:gd name="T18" fmla="*/ 108 w 126"/>
                <a:gd name="T19" fmla="*/ 39 h 72"/>
                <a:gd name="T20" fmla="*/ 85 w 126"/>
                <a:gd name="T21" fmla="*/ 52 h 72"/>
                <a:gd name="T22" fmla="*/ 73 w 126"/>
                <a:gd name="T23" fmla="*/ 55 h 72"/>
                <a:gd name="T24" fmla="*/ 52 w 126"/>
                <a:gd name="T25" fmla="*/ 60 h 72"/>
                <a:gd name="T26" fmla="*/ 51 w 126"/>
                <a:gd name="T27" fmla="*/ 72 h 72"/>
                <a:gd name="T28" fmla="*/ 9 w 126"/>
                <a:gd name="T29" fmla="*/ 70 h 72"/>
                <a:gd name="T30" fmla="*/ 0 w 126"/>
                <a:gd name="T31" fmla="*/ 51 h 72"/>
                <a:gd name="T32" fmla="*/ 25 w 126"/>
                <a:gd name="T33" fmla="*/ 51 h 72"/>
                <a:gd name="T34" fmla="*/ 34 w 126"/>
                <a:gd name="T35" fmla="*/ 36 h 72"/>
                <a:gd name="T36" fmla="*/ 28 w 126"/>
                <a:gd name="T37" fmla="*/ 28 h 72"/>
                <a:gd name="T38" fmla="*/ 22 w 126"/>
                <a:gd name="T39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6" h="72">
                  <a:moveTo>
                    <a:pt x="10" y="15"/>
                  </a:moveTo>
                  <a:lnTo>
                    <a:pt x="22" y="7"/>
                  </a:lnTo>
                  <a:lnTo>
                    <a:pt x="40" y="15"/>
                  </a:lnTo>
                  <a:lnTo>
                    <a:pt x="48" y="7"/>
                  </a:lnTo>
                  <a:lnTo>
                    <a:pt x="58" y="0"/>
                  </a:lnTo>
                  <a:lnTo>
                    <a:pt x="84" y="9"/>
                  </a:lnTo>
                  <a:lnTo>
                    <a:pt x="108" y="6"/>
                  </a:lnTo>
                  <a:lnTo>
                    <a:pt x="124" y="9"/>
                  </a:lnTo>
                  <a:lnTo>
                    <a:pt x="126" y="19"/>
                  </a:lnTo>
                  <a:lnTo>
                    <a:pt x="108" y="39"/>
                  </a:lnTo>
                  <a:lnTo>
                    <a:pt x="85" y="52"/>
                  </a:lnTo>
                  <a:lnTo>
                    <a:pt x="73" y="55"/>
                  </a:lnTo>
                  <a:lnTo>
                    <a:pt x="52" y="60"/>
                  </a:lnTo>
                  <a:lnTo>
                    <a:pt x="51" y="72"/>
                  </a:lnTo>
                  <a:lnTo>
                    <a:pt x="9" y="70"/>
                  </a:lnTo>
                  <a:lnTo>
                    <a:pt x="0" y="51"/>
                  </a:lnTo>
                  <a:lnTo>
                    <a:pt x="25" y="51"/>
                  </a:lnTo>
                  <a:lnTo>
                    <a:pt x="34" y="36"/>
                  </a:lnTo>
                  <a:lnTo>
                    <a:pt x="28" y="28"/>
                  </a:lnTo>
                  <a:lnTo>
                    <a:pt x="22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4" name="Freeform 133"/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6375694" y="3516467"/>
              <a:ext cx="210579" cy="111763"/>
            </a:xfrm>
            <a:custGeom>
              <a:avLst/>
              <a:gdLst>
                <a:gd name="T0" fmla="*/ 17 w 127"/>
                <a:gd name="T1" fmla="*/ 1 h 69"/>
                <a:gd name="T2" fmla="*/ 8 w 127"/>
                <a:gd name="T3" fmla="*/ 16 h 69"/>
                <a:gd name="T4" fmla="*/ 2 w 127"/>
                <a:gd name="T5" fmla="*/ 25 h 69"/>
                <a:gd name="T6" fmla="*/ 20 w 127"/>
                <a:gd name="T7" fmla="*/ 29 h 69"/>
                <a:gd name="T8" fmla="*/ 29 w 127"/>
                <a:gd name="T9" fmla="*/ 38 h 69"/>
                <a:gd name="T10" fmla="*/ 42 w 127"/>
                <a:gd name="T11" fmla="*/ 41 h 69"/>
                <a:gd name="T12" fmla="*/ 64 w 127"/>
                <a:gd name="T13" fmla="*/ 53 h 69"/>
                <a:gd name="T14" fmla="*/ 80 w 127"/>
                <a:gd name="T15" fmla="*/ 61 h 69"/>
                <a:gd name="T16" fmla="*/ 92 w 127"/>
                <a:gd name="T17" fmla="*/ 59 h 69"/>
                <a:gd name="T18" fmla="*/ 117 w 127"/>
                <a:gd name="T19" fmla="*/ 67 h 69"/>
                <a:gd name="T20" fmla="*/ 123 w 127"/>
                <a:gd name="T21" fmla="*/ 47 h 69"/>
                <a:gd name="T22" fmla="*/ 125 w 127"/>
                <a:gd name="T23" fmla="*/ 37 h 69"/>
                <a:gd name="T24" fmla="*/ 111 w 127"/>
                <a:gd name="T25" fmla="*/ 37 h 69"/>
                <a:gd name="T26" fmla="*/ 93 w 127"/>
                <a:gd name="T27" fmla="*/ 29 h 69"/>
                <a:gd name="T28" fmla="*/ 71 w 127"/>
                <a:gd name="T29" fmla="*/ 19 h 69"/>
                <a:gd name="T30" fmla="*/ 54 w 127"/>
                <a:gd name="T31" fmla="*/ 11 h 69"/>
                <a:gd name="T32" fmla="*/ 33 w 127"/>
                <a:gd name="T33" fmla="*/ 2 h 69"/>
                <a:gd name="T34" fmla="*/ 17 w 127"/>
                <a:gd name="T35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69">
                  <a:moveTo>
                    <a:pt x="17" y="1"/>
                  </a:moveTo>
                  <a:cubicBezTo>
                    <a:pt x="12" y="4"/>
                    <a:pt x="10" y="12"/>
                    <a:pt x="8" y="16"/>
                  </a:cubicBezTo>
                  <a:cubicBezTo>
                    <a:pt x="6" y="20"/>
                    <a:pt x="0" y="23"/>
                    <a:pt x="2" y="25"/>
                  </a:cubicBezTo>
                  <a:cubicBezTo>
                    <a:pt x="4" y="27"/>
                    <a:pt x="16" y="27"/>
                    <a:pt x="20" y="29"/>
                  </a:cubicBezTo>
                  <a:cubicBezTo>
                    <a:pt x="24" y="31"/>
                    <a:pt x="25" y="36"/>
                    <a:pt x="29" y="38"/>
                  </a:cubicBezTo>
                  <a:cubicBezTo>
                    <a:pt x="33" y="40"/>
                    <a:pt x="36" y="39"/>
                    <a:pt x="42" y="41"/>
                  </a:cubicBezTo>
                  <a:cubicBezTo>
                    <a:pt x="48" y="43"/>
                    <a:pt x="58" y="50"/>
                    <a:pt x="64" y="53"/>
                  </a:cubicBezTo>
                  <a:cubicBezTo>
                    <a:pt x="70" y="56"/>
                    <a:pt x="75" y="60"/>
                    <a:pt x="80" y="61"/>
                  </a:cubicBezTo>
                  <a:cubicBezTo>
                    <a:pt x="85" y="62"/>
                    <a:pt x="86" y="58"/>
                    <a:pt x="92" y="59"/>
                  </a:cubicBezTo>
                  <a:cubicBezTo>
                    <a:pt x="98" y="60"/>
                    <a:pt x="112" y="69"/>
                    <a:pt x="117" y="67"/>
                  </a:cubicBezTo>
                  <a:cubicBezTo>
                    <a:pt x="122" y="65"/>
                    <a:pt x="122" y="52"/>
                    <a:pt x="123" y="47"/>
                  </a:cubicBezTo>
                  <a:cubicBezTo>
                    <a:pt x="124" y="42"/>
                    <a:pt x="127" y="39"/>
                    <a:pt x="125" y="37"/>
                  </a:cubicBezTo>
                  <a:cubicBezTo>
                    <a:pt x="123" y="35"/>
                    <a:pt x="116" y="38"/>
                    <a:pt x="111" y="37"/>
                  </a:cubicBezTo>
                  <a:cubicBezTo>
                    <a:pt x="106" y="36"/>
                    <a:pt x="100" y="32"/>
                    <a:pt x="93" y="29"/>
                  </a:cubicBezTo>
                  <a:cubicBezTo>
                    <a:pt x="86" y="26"/>
                    <a:pt x="77" y="22"/>
                    <a:pt x="71" y="19"/>
                  </a:cubicBezTo>
                  <a:cubicBezTo>
                    <a:pt x="65" y="16"/>
                    <a:pt x="60" y="14"/>
                    <a:pt x="54" y="11"/>
                  </a:cubicBezTo>
                  <a:cubicBezTo>
                    <a:pt x="48" y="8"/>
                    <a:pt x="39" y="4"/>
                    <a:pt x="33" y="2"/>
                  </a:cubicBezTo>
                  <a:cubicBezTo>
                    <a:pt x="27" y="0"/>
                    <a:pt x="20" y="1"/>
                    <a:pt x="17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5" name="Freeform 134"/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6212089" y="2751948"/>
              <a:ext cx="1524270" cy="1078750"/>
            </a:xfrm>
            <a:custGeom>
              <a:avLst/>
              <a:gdLst>
                <a:gd name="T0" fmla="*/ 637 w 926"/>
                <a:gd name="T1" fmla="*/ 140 h 666"/>
                <a:gd name="T2" fmla="*/ 682 w 926"/>
                <a:gd name="T3" fmla="*/ 137 h 666"/>
                <a:gd name="T4" fmla="*/ 642 w 926"/>
                <a:gd name="T5" fmla="*/ 170 h 666"/>
                <a:gd name="T6" fmla="*/ 603 w 926"/>
                <a:gd name="T7" fmla="*/ 201 h 666"/>
                <a:gd name="T8" fmla="*/ 571 w 926"/>
                <a:gd name="T9" fmla="*/ 213 h 666"/>
                <a:gd name="T10" fmla="*/ 531 w 926"/>
                <a:gd name="T11" fmla="*/ 243 h 666"/>
                <a:gd name="T12" fmla="*/ 474 w 926"/>
                <a:gd name="T13" fmla="*/ 264 h 666"/>
                <a:gd name="T14" fmla="*/ 418 w 926"/>
                <a:gd name="T15" fmla="*/ 243 h 666"/>
                <a:gd name="T16" fmla="*/ 331 w 926"/>
                <a:gd name="T17" fmla="*/ 219 h 666"/>
                <a:gd name="T18" fmla="*/ 294 w 926"/>
                <a:gd name="T19" fmla="*/ 197 h 666"/>
                <a:gd name="T20" fmla="*/ 268 w 926"/>
                <a:gd name="T21" fmla="*/ 155 h 666"/>
                <a:gd name="T22" fmla="*/ 232 w 926"/>
                <a:gd name="T23" fmla="*/ 117 h 666"/>
                <a:gd name="T24" fmla="*/ 195 w 926"/>
                <a:gd name="T25" fmla="*/ 156 h 666"/>
                <a:gd name="T26" fmla="*/ 141 w 926"/>
                <a:gd name="T27" fmla="*/ 179 h 666"/>
                <a:gd name="T28" fmla="*/ 111 w 926"/>
                <a:gd name="T29" fmla="*/ 194 h 666"/>
                <a:gd name="T30" fmla="*/ 120 w 926"/>
                <a:gd name="T31" fmla="*/ 249 h 666"/>
                <a:gd name="T32" fmla="*/ 70 w 926"/>
                <a:gd name="T33" fmla="*/ 272 h 666"/>
                <a:gd name="T34" fmla="*/ 25 w 926"/>
                <a:gd name="T35" fmla="*/ 287 h 666"/>
                <a:gd name="T36" fmla="*/ 16 w 926"/>
                <a:gd name="T37" fmla="*/ 327 h 666"/>
                <a:gd name="T38" fmla="*/ 64 w 926"/>
                <a:gd name="T39" fmla="*/ 374 h 666"/>
                <a:gd name="T40" fmla="*/ 103 w 926"/>
                <a:gd name="T41" fmla="*/ 396 h 666"/>
                <a:gd name="T42" fmla="*/ 87 w 926"/>
                <a:gd name="T43" fmla="*/ 437 h 666"/>
                <a:gd name="T44" fmla="*/ 129 w 926"/>
                <a:gd name="T45" fmla="*/ 474 h 666"/>
                <a:gd name="T46" fmla="*/ 227 w 926"/>
                <a:gd name="T47" fmla="*/ 503 h 666"/>
                <a:gd name="T48" fmla="*/ 298 w 926"/>
                <a:gd name="T49" fmla="*/ 498 h 666"/>
                <a:gd name="T50" fmla="*/ 367 w 926"/>
                <a:gd name="T51" fmla="*/ 498 h 666"/>
                <a:gd name="T52" fmla="*/ 369 w 926"/>
                <a:gd name="T53" fmla="*/ 578 h 666"/>
                <a:gd name="T54" fmla="*/ 405 w 926"/>
                <a:gd name="T55" fmla="*/ 615 h 666"/>
                <a:gd name="T56" fmla="*/ 459 w 926"/>
                <a:gd name="T57" fmla="*/ 600 h 666"/>
                <a:gd name="T58" fmla="*/ 514 w 926"/>
                <a:gd name="T59" fmla="*/ 618 h 666"/>
                <a:gd name="T60" fmla="*/ 532 w 926"/>
                <a:gd name="T61" fmla="*/ 665 h 666"/>
                <a:gd name="T62" fmla="*/ 568 w 926"/>
                <a:gd name="T63" fmla="*/ 624 h 666"/>
                <a:gd name="T64" fmla="*/ 607 w 926"/>
                <a:gd name="T65" fmla="*/ 606 h 666"/>
                <a:gd name="T66" fmla="*/ 696 w 926"/>
                <a:gd name="T67" fmla="*/ 537 h 666"/>
                <a:gd name="T68" fmla="*/ 724 w 926"/>
                <a:gd name="T69" fmla="*/ 456 h 666"/>
                <a:gd name="T70" fmla="*/ 690 w 926"/>
                <a:gd name="T71" fmla="*/ 392 h 666"/>
                <a:gd name="T72" fmla="*/ 700 w 926"/>
                <a:gd name="T73" fmla="*/ 347 h 666"/>
                <a:gd name="T74" fmla="*/ 660 w 926"/>
                <a:gd name="T75" fmla="*/ 314 h 666"/>
                <a:gd name="T76" fmla="*/ 729 w 926"/>
                <a:gd name="T77" fmla="*/ 279 h 666"/>
                <a:gd name="T78" fmla="*/ 747 w 926"/>
                <a:gd name="T79" fmla="*/ 296 h 666"/>
                <a:gd name="T80" fmla="*/ 795 w 926"/>
                <a:gd name="T81" fmla="*/ 264 h 666"/>
                <a:gd name="T82" fmla="*/ 841 w 926"/>
                <a:gd name="T83" fmla="*/ 236 h 666"/>
                <a:gd name="T84" fmla="*/ 868 w 926"/>
                <a:gd name="T85" fmla="*/ 197 h 666"/>
                <a:gd name="T86" fmla="*/ 915 w 926"/>
                <a:gd name="T87" fmla="*/ 153 h 666"/>
                <a:gd name="T88" fmla="*/ 858 w 926"/>
                <a:gd name="T89" fmla="*/ 128 h 666"/>
                <a:gd name="T90" fmla="*/ 807 w 926"/>
                <a:gd name="T91" fmla="*/ 59 h 666"/>
                <a:gd name="T92" fmla="*/ 700 w 926"/>
                <a:gd name="T93" fmla="*/ 14 h 666"/>
                <a:gd name="T94" fmla="*/ 691 w 926"/>
                <a:gd name="T95" fmla="*/ 8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6" h="666">
                  <a:moveTo>
                    <a:pt x="640" y="99"/>
                  </a:moveTo>
                  <a:cubicBezTo>
                    <a:pt x="637" y="101"/>
                    <a:pt x="635" y="112"/>
                    <a:pt x="634" y="116"/>
                  </a:cubicBezTo>
                  <a:cubicBezTo>
                    <a:pt x="633" y="120"/>
                    <a:pt x="636" y="122"/>
                    <a:pt x="636" y="126"/>
                  </a:cubicBezTo>
                  <a:cubicBezTo>
                    <a:pt x="636" y="130"/>
                    <a:pt x="636" y="139"/>
                    <a:pt x="637" y="140"/>
                  </a:cubicBezTo>
                  <a:cubicBezTo>
                    <a:pt x="638" y="141"/>
                    <a:pt x="641" y="132"/>
                    <a:pt x="645" y="132"/>
                  </a:cubicBezTo>
                  <a:cubicBezTo>
                    <a:pt x="649" y="132"/>
                    <a:pt x="657" y="142"/>
                    <a:pt x="661" y="141"/>
                  </a:cubicBezTo>
                  <a:cubicBezTo>
                    <a:pt x="665" y="140"/>
                    <a:pt x="667" y="129"/>
                    <a:pt x="670" y="128"/>
                  </a:cubicBezTo>
                  <a:cubicBezTo>
                    <a:pt x="673" y="127"/>
                    <a:pt x="679" y="132"/>
                    <a:pt x="682" y="137"/>
                  </a:cubicBezTo>
                  <a:cubicBezTo>
                    <a:pt x="685" y="142"/>
                    <a:pt x="694" y="154"/>
                    <a:pt x="691" y="158"/>
                  </a:cubicBezTo>
                  <a:cubicBezTo>
                    <a:pt x="688" y="162"/>
                    <a:pt x="672" y="160"/>
                    <a:pt x="666" y="161"/>
                  </a:cubicBezTo>
                  <a:cubicBezTo>
                    <a:pt x="660" y="162"/>
                    <a:pt x="658" y="163"/>
                    <a:pt x="654" y="164"/>
                  </a:cubicBezTo>
                  <a:cubicBezTo>
                    <a:pt x="650" y="165"/>
                    <a:pt x="645" y="167"/>
                    <a:pt x="642" y="170"/>
                  </a:cubicBezTo>
                  <a:cubicBezTo>
                    <a:pt x="639" y="173"/>
                    <a:pt x="638" y="182"/>
                    <a:pt x="634" y="185"/>
                  </a:cubicBezTo>
                  <a:cubicBezTo>
                    <a:pt x="630" y="188"/>
                    <a:pt x="624" y="185"/>
                    <a:pt x="621" y="186"/>
                  </a:cubicBezTo>
                  <a:cubicBezTo>
                    <a:pt x="618" y="187"/>
                    <a:pt x="616" y="192"/>
                    <a:pt x="613" y="194"/>
                  </a:cubicBezTo>
                  <a:cubicBezTo>
                    <a:pt x="610" y="196"/>
                    <a:pt x="607" y="201"/>
                    <a:pt x="603" y="201"/>
                  </a:cubicBezTo>
                  <a:cubicBezTo>
                    <a:pt x="599" y="201"/>
                    <a:pt x="593" y="196"/>
                    <a:pt x="589" y="195"/>
                  </a:cubicBezTo>
                  <a:cubicBezTo>
                    <a:pt x="585" y="194"/>
                    <a:pt x="579" y="191"/>
                    <a:pt x="576" y="192"/>
                  </a:cubicBezTo>
                  <a:cubicBezTo>
                    <a:pt x="573" y="193"/>
                    <a:pt x="571" y="197"/>
                    <a:pt x="570" y="200"/>
                  </a:cubicBezTo>
                  <a:cubicBezTo>
                    <a:pt x="569" y="203"/>
                    <a:pt x="571" y="208"/>
                    <a:pt x="571" y="213"/>
                  </a:cubicBezTo>
                  <a:cubicBezTo>
                    <a:pt x="571" y="218"/>
                    <a:pt x="570" y="224"/>
                    <a:pt x="568" y="228"/>
                  </a:cubicBezTo>
                  <a:cubicBezTo>
                    <a:pt x="566" y="232"/>
                    <a:pt x="563" y="233"/>
                    <a:pt x="559" y="236"/>
                  </a:cubicBezTo>
                  <a:cubicBezTo>
                    <a:pt x="555" y="239"/>
                    <a:pt x="549" y="245"/>
                    <a:pt x="544" y="246"/>
                  </a:cubicBezTo>
                  <a:cubicBezTo>
                    <a:pt x="539" y="247"/>
                    <a:pt x="536" y="242"/>
                    <a:pt x="531" y="243"/>
                  </a:cubicBezTo>
                  <a:cubicBezTo>
                    <a:pt x="526" y="244"/>
                    <a:pt x="521" y="248"/>
                    <a:pt x="516" y="249"/>
                  </a:cubicBezTo>
                  <a:cubicBezTo>
                    <a:pt x="511" y="250"/>
                    <a:pt x="503" y="248"/>
                    <a:pt x="498" y="249"/>
                  </a:cubicBezTo>
                  <a:cubicBezTo>
                    <a:pt x="493" y="250"/>
                    <a:pt x="490" y="252"/>
                    <a:pt x="486" y="255"/>
                  </a:cubicBezTo>
                  <a:cubicBezTo>
                    <a:pt x="482" y="258"/>
                    <a:pt x="479" y="263"/>
                    <a:pt x="474" y="264"/>
                  </a:cubicBezTo>
                  <a:cubicBezTo>
                    <a:pt x="469" y="265"/>
                    <a:pt x="462" y="262"/>
                    <a:pt x="457" y="261"/>
                  </a:cubicBezTo>
                  <a:cubicBezTo>
                    <a:pt x="452" y="260"/>
                    <a:pt x="448" y="257"/>
                    <a:pt x="444" y="255"/>
                  </a:cubicBezTo>
                  <a:cubicBezTo>
                    <a:pt x="440" y="253"/>
                    <a:pt x="439" y="248"/>
                    <a:pt x="435" y="246"/>
                  </a:cubicBezTo>
                  <a:cubicBezTo>
                    <a:pt x="431" y="244"/>
                    <a:pt x="424" y="243"/>
                    <a:pt x="418" y="243"/>
                  </a:cubicBezTo>
                  <a:cubicBezTo>
                    <a:pt x="412" y="243"/>
                    <a:pt x="409" y="243"/>
                    <a:pt x="400" y="243"/>
                  </a:cubicBezTo>
                  <a:cubicBezTo>
                    <a:pt x="391" y="243"/>
                    <a:pt x="372" y="244"/>
                    <a:pt x="364" y="243"/>
                  </a:cubicBezTo>
                  <a:cubicBezTo>
                    <a:pt x="356" y="242"/>
                    <a:pt x="357" y="243"/>
                    <a:pt x="352" y="239"/>
                  </a:cubicBezTo>
                  <a:cubicBezTo>
                    <a:pt x="347" y="235"/>
                    <a:pt x="334" y="224"/>
                    <a:pt x="331" y="219"/>
                  </a:cubicBezTo>
                  <a:cubicBezTo>
                    <a:pt x="328" y="214"/>
                    <a:pt x="336" y="208"/>
                    <a:pt x="334" y="206"/>
                  </a:cubicBezTo>
                  <a:cubicBezTo>
                    <a:pt x="332" y="204"/>
                    <a:pt x="324" y="208"/>
                    <a:pt x="321" y="206"/>
                  </a:cubicBezTo>
                  <a:cubicBezTo>
                    <a:pt x="318" y="204"/>
                    <a:pt x="316" y="196"/>
                    <a:pt x="312" y="195"/>
                  </a:cubicBezTo>
                  <a:cubicBezTo>
                    <a:pt x="308" y="194"/>
                    <a:pt x="299" y="198"/>
                    <a:pt x="294" y="197"/>
                  </a:cubicBezTo>
                  <a:cubicBezTo>
                    <a:pt x="289" y="196"/>
                    <a:pt x="286" y="192"/>
                    <a:pt x="282" y="191"/>
                  </a:cubicBezTo>
                  <a:cubicBezTo>
                    <a:pt x="278" y="190"/>
                    <a:pt x="272" y="194"/>
                    <a:pt x="270" y="191"/>
                  </a:cubicBezTo>
                  <a:cubicBezTo>
                    <a:pt x="268" y="188"/>
                    <a:pt x="267" y="179"/>
                    <a:pt x="267" y="173"/>
                  </a:cubicBezTo>
                  <a:cubicBezTo>
                    <a:pt x="267" y="167"/>
                    <a:pt x="269" y="160"/>
                    <a:pt x="268" y="155"/>
                  </a:cubicBezTo>
                  <a:cubicBezTo>
                    <a:pt x="267" y="150"/>
                    <a:pt x="264" y="147"/>
                    <a:pt x="261" y="143"/>
                  </a:cubicBezTo>
                  <a:cubicBezTo>
                    <a:pt x="258" y="139"/>
                    <a:pt x="256" y="131"/>
                    <a:pt x="252" y="129"/>
                  </a:cubicBezTo>
                  <a:cubicBezTo>
                    <a:pt x="248" y="127"/>
                    <a:pt x="241" y="131"/>
                    <a:pt x="238" y="129"/>
                  </a:cubicBezTo>
                  <a:cubicBezTo>
                    <a:pt x="235" y="127"/>
                    <a:pt x="234" y="120"/>
                    <a:pt x="232" y="117"/>
                  </a:cubicBezTo>
                  <a:cubicBezTo>
                    <a:pt x="230" y="114"/>
                    <a:pt x="227" y="108"/>
                    <a:pt x="223" y="108"/>
                  </a:cubicBezTo>
                  <a:cubicBezTo>
                    <a:pt x="219" y="108"/>
                    <a:pt x="215" y="117"/>
                    <a:pt x="210" y="120"/>
                  </a:cubicBezTo>
                  <a:cubicBezTo>
                    <a:pt x="205" y="123"/>
                    <a:pt x="194" y="119"/>
                    <a:pt x="192" y="125"/>
                  </a:cubicBezTo>
                  <a:cubicBezTo>
                    <a:pt x="190" y="131"/>
                    <a:pt x="197" y="152"/>
                    <a:pt x="195" y="156"/>
                  </a:cubicBezTo>
                  <a:cubicBezTo>
                    <a:pt x="193" y="160"/>
                    <a:pt x="186" y="150"/>
                    <a:pt x="180" y="149"/>
                  </a:cubicBezTo>
                  <a:cubicBezTo>
                    <a:pt x="174" y="148"/>
                    <a:pt x="165" y="149"/>
                    <a:pt x="160" y="150"/>
                  </a:cubicBezTo>
                  <a:cubicBezTo>
                    <a:pt x="155" y="151"/>
                    <a:pt x="151" y="148"/>
                    <a:pt x="148" y="153"/>
                  </a:cubicBezTo>
                  <a:cubicBezTo>
                    <a:pt x="145" y="158"/>
                    <a:pt x="142" y="171"/>
                    <a:pt x="141" y="179"/>
                  </a:cubicBezTo>
                  <a:cubicBezTo>
                    <a:pt x="140" y="187"/>
                    <a:pt x="146" y="202"/>
                    <a:pt x="145" y="203"/>
                  </a:cubicBezTo>
                  <a:cubicBezTo>
                    <a:pt x="144" y="204"/>
                    <a:pt x="138" y="188"/>
                    <a:pt x="136" y="186"/>
                  </a:cubicBezTo>
                  <a:cubicBezTo>
                    <a:pt x="134" y="184"/>
                    <a:pt x="136" y="188"/>
                    <a:pt x="132" y="189"/>
                  </a:cubicBezTo>
                  <a:cubicBezTo>
                    <a:pt x="128" y="190"/>
                    <a:pt x="115" y="192"/>
                    <a:pt x="111" y="194"/>
                  </a:cubicBezTo>
                  <a:cubicBezTo>
                    <a:pt x="107" y="196"/>
                    <a:pt x="107" y="198"/>
                    <a:pt x="108" y="204"/>
                  </a:cubicBezTo>
                  <a:cubicBezTo>
                    <a:pt x="109" y="210"/>
                    <a:pt x="118" y="228"/>
                    <a:pt x="118" y="233"/>
                  </a:cubicBezTo>
                  <a:cubicBezTo>
                    <a:pt x="118" y="238"/>
                    <a:pt x="109" y="234"/>
                    <a:pt x="109" y="237"/>
                  </a:cubicBezTo>
                  <a:cubicBezTo>
                    <a:pt x="109" y="240"/>
                    <a:pt x="120" y="246"/>
                    <a:pt x="120" y="249"/>
                  </a:cubicBezTo>
                  <a:cubicBezTo>
                    <a:pt x="120" y="252"/>
                    <a:pt x="116" y="256"/>
                    <a:pt x="111" y="258"/>
                  </a:cubicBezTo>
                  <a:cubicBezTo>
                    <a:pt x="106" y="260"/>
                    <a:pt x="96" y="262"/>
                    <a:pt x="91" y="264"/>
                  </a:cubicBezTo>
                  <a:cubicBezTo>
                    <a:pt x="86" y="266"/>
                    <a:pt x="84" y="268"/>
                    <a:pt x="81" y="269"/>
                  </a:cubicBezTo>
                  <a:cubicBezTo>
                    <a:pt x="78" y="270"/>
                    <a:pt x="74" y="271"/>
                    <a:pt x="70" y="272"/>
                  </a:cubicBezTo>
                  <a:cubicBezTo>
                    <a:pt x="66" y="273"/>
                    <a:pt x="61" y="273"/>
                    <a:pt x="57" y="276"/>
                  </a:cubicBezTo>
                  <a:cubicBezTo>
                    <a:pt x="53" y="279"/>
                    <a:pt x="51" y="288"/>
                    <a:pt x="48" y="290"/>
                  </a:cubicBezTo>
                  <a:cubicBezTo>
                    <a:pt x="45" y="292"/>
                    <a:pt x="40" y="287"/>
                    <a:pt x="36" y="287"/>
                  </a:cubicBezTo>
                  <a:cubicBezTo>
                    <a:pt x="32" y="287"/>
                    <a:pt x="30" y="285"/>
                    <a:pt x="25" y="287"/>
                  </a:cubicBezTo>
                  <a:cubicBezTo>
                    <a:pt x="20" y="289"/>
                    <a:pt x="6" y="295"/>
                    <a:pt x="3" y="299"/>
                  </a:cubicBezTo>
                  <a:cubicBezTo>
                    <a:pt x="0" y="303"/>
                    <a:pt x="7" y="307"/>
                    <a:pt x="7" y="311"/>
                  </a:cubicBezTo>
                  <a:cubicBezTo>
                    <a:pt x="7" y="315"/>
                    <a:pt x="2" y="318"/>
                    <a:pt x="4" y="321"/>
                  </a:cubicBezTo>
                  <a:cubicBezTo>
                    <a:pt x="6" y="324"/>
                    <a:pt x="12" y="325"/>
                    <a:pt x="16" y="327"/>
                  </a:cubicBezTo>
                  <a:cubicBezTo>
                    <a:pt x="20" y="329"/>
                    <a:pt x="27" y="330"/>
                    <a:pt x="30" y="335"/>
                  </a:cubicBezTo>
                  <a:cubicBezTo>
                    <a:pt x="33" y="340"/>
                    <a:pt x="33" y="351"/>
                    <a:pt x="37" y="356"/>
                  </a:cubicBezTo>
                  <a:cubicBezTo>
                    <a:pt x="41" y="361"/>
                    <a:pt x="51" y="360"/>
                    <a:pt x="55" y="363"/>
                  </a:cubicBezTo>
                  <a:cubicBezTo>
                    <a:pt x="59" y="366"/>
                    <a:pt x="58" y="373"/>
                    <a:pt x="64" y="374"/>
                  </a:cubicBezTo>
                  <a:cubicBezTo>
                    <a:pt x="70" y="375"/>
                    <a:pt x="84" y="372"/>
                    <a:pt x="89" y="371"/>
                  </a:cubicBezTo>
                  <a:cubicBezTo>
                    <a:pt x="94" y="370"/>
                    <a:pt x="94" y="365"/>
                    <a:pt x="97" y="366"/>
                  </a:cubicBezTo>
                  <a:cubicBezTo>
                    <a:pt x="100" y="367"/>
                    <a:pt x="105" y="375"/>
                    <a:pt x="106" y="380"/>
                  </a:cubicBezTo>
                  <a:cubicBezTo>
                    <a:pt x="107" y="385"/>
                    <a:pt x="105" y="391"/>
                    <a:pt x="103" y="396"/>
                  </a:cubicBezTo>
                  <a:cubicBezTo>
                    <a:pt x="101" y="401"/>
                    <a:pt x="92" y="409"/>
                    <a:pt x="91" y="413"/>
                  </a:cubicBezTo>
                  <a:cubicBezTo>
                    <a:pt x="90" y="417"/>
                    <a:pt x="96" y="416"/>
                    <a:pt x="97" y="419"/>
                  </a:cubicBezTo>
                  <a:cubicBezTo>
                    <a:pt x="98" y="422"/>
                    <a:pt x="101" y="426"/>
                    <a:pt x="99" y="429"/>
                  </a:cubicBezTo>
                  <a:cubicBezTo>
                    <a:pt x="97" y="432"/>
                    <a:pt x="88" y="433"/>
                    <a:pt x="87" y="437"/>
                  </a:cubicBezTo>
                  <a:cubicBezTo>
                    <a:pt x="86" y="441"/>
                    <a:pt x="88" y="448"/>
                    <a:pt x="90" y="452"/>
                  </a:cubicBezTo>
                  <a:cubicBezTo>
                    <a:pt x="92" y="456"/>
                    <a:pt x="94" y="458"/>
                    <a:pt x="99" y="462"/>
                  </a:cubicBezTo>
                  <a:cubicBezTo>
                    <a:pt x="104" y="466"/>
                    <a:pt x="113" y="471"/>
                    <a:pt x="118" y="473"/>
                  </a:cubicBezTo>
                  <a:cubicBezTo>
                    <a:pt x="123" y="475"/>
                    <a:pt x="124" y="472"/>
                    <a:pt x="129" y="474"/>
                  </a:cubicBezTo>
                  <a:cubicBezTo>
                    <a:pt x="134" y="476"/>
                    <a:pt x="136" y="478"/>
                    <a:pt x="148" y="483"/>
                  </a:cubicBezTo>
                  <a:cubicBezTo>
                    <a:pt x="160" y="488"/>
                    <a:pt x="192" y="500"/>
                    <a:pt x="203" y="504"/>
                  </a:cubicBezTo>
                  <a:cubicBezTo>
                    <a:pt x="214" y="508"/>
                    <a:pt x="213" y="510"/>
                    <a:pt x="217" y="510"/>
                  </a:cubicBezTo>
                  <a:cubicBezTo>
                    <a:pt x="221" y="510"/>
                    <a:pt x="222" y="504"/>
                    <a:pt x="227" y="503"/>
                  </a:cubicBezTo>
                  <a:cubicBezTo>
                    <a:pt x="232" y="502"/>
                    <a:pt x="242" y="506"/>
                    <a:pt x="249" y="506"/>
                  </a:cubicBezTo>
                  <a:cubicBezTo>
                    <a:pt x="256" y="506"/>
                    <a:pt x="263" y="504"/>
                    <a:pt x="268" y="506"/>
                  </a:cubicBezTo>
                  <a:cubicBezTo>
                    <a:pt x="273" y="508"/>
                    <a:pt x="274" y="517"/>
                    <a:pt x="279" y="516"/>
                  </a:cubicBezTo>
                  <a:cubicBezTo>
                    <a:pt x="284" y="515"/>
                    <a:pt x="291" y="502"/>
                    <a:pt x="298" y="498"/>
                  </a:cubicBezTo>
                  <a:cubicBezTo>
                    <a:pt x="305" y="494"/>
                    <a:pt x="314" y="494"/>
                    <a:pt x="319" y="492"/>
                  </a:cubicBezTo>
                  <a:cubicBezTo>
                    <a:pt x="324" y="490"/>
                    <a:pt x="324" y="488"/>
                    <a:pt x="328" y="488"/>
                  </a:cubicBezTo>
                  <a:cubicBezTo>
                    <a:pt x="332" y="488"/>
                    <a:pt x="339" y="490"/>
                    <a:pt x="345" y="492"/>
                  </a:cubicBezTo>
                  <a:cubicBezTo>
                    <a:pt x="351" y="494"/>
                    <a:pt x="361" y="494"/>
                    <a:pt x="367" y="498"/>
                  </a:cubicBezTo>
                  <a:cubicBezTo>
                    <a:pt x="373" y="502"/>
                    <a:pt x="378" y="508"/>
                    <a:pt x="381" y="516"/>
                  </a:cubicBezTo>
                  <a:cubicBezTo>
                    <a:pt x="384" y="524"/>
                    <a:pt x="386" y="539"/>
                    <a:pt x="384" y="546"/>
                  </a:cubicBezTo>
                  <a:cubicBezTo>
                    <a:pt x="382" y="553"/>
                    <a:pt x="371" y="556"/>
                    <a:pt x="369" y="561"/>
                  </a:cubicBezTo>
                  <a:cubicBezTo>
                    <a:pt x="367" y="566"/>
                    <a:pt x="367" y="576"/>
                    <a:pt x="369" y="578"/>
                  </a:cubicBezTo>
                  <a:cubicBezTo>
                    <a:pt x="371" y="580"/>
                    <a:pt x="376" y="571"/>
                    <a:pt x="379" y="573"/>
                  </a:cubicBezTo>
                  <a:cubicBezTo>
                    <a:pt x="382" y="575"/>
                    <a:pt x="385" y="586"/>
                    <a:pt x="388" y="590"/>
                  </a:cubicBezTo>
                  <a:cubicBezTo>
                    <a:pt x="391" y="594"/>
                    <a:pt x="391" y="595"/>
                    <a:pt x="394" y="599"/>
                  </a:cubicBezTo>
                  <a:cubicBezTo>
                    <a:pt x="397" y="603"/>
                    <a:pt x="401" y="612"/>
                    <a:pt x="405" y="615"/>
                  </a:cubicBezTo>
                  <a:cubicBezTo>
                    <a:pt x="409" y="618"/>
                    <a:pt x="415" y="618"/>
                    <a:pt x="420" y="615"/>
                  </a:cubicBezTo>
                  <a:cubicBezTo>
                    <a:pt x="425" y="612"/>
                    <a:pt x="431" y="600"/>
                    <a:pt x="435" y="596"/>
                  </a:cubicBezTo>
                  <a:cubicBezTo>
                    <a:pt x="439" y="592"/>
                    <a:pt x="440" y="589"/>
                    <a:pt x="444" y="590"/>
                  </a:cubicBezTo>
                  <a:cubicBezTo>
                    <a:pt x="448" y="591"/>
                    <a:pt x="453" y="600"/>
                    <a:pt x="459" y="600"/>
                  </a:cubicBezTo>
                  <a:cubicBezTo>
                    <a:pt x="465" y="600"/>
                    <a:pt x="474" y="589"/>
                    <a:pt x="480" y="588"/>
                  </a:cubicBezTo>
                  <a:cubicBezTo>
                    <a:pt x="486" y="587"/>
                    <a:pt x="490" y="591"/>
                    <a:pt x="495" y="594"/>
                  </a:cubicBezTo>
                  <a:cubicBezTo>
                    <a:pt x="500" y="597"/>
                    <a:pt x="505" y="604"/>
                    <a:pt x="508" y="608"/>
                  </a:cubicBezTo>
                  <a:cubicBezTo>
                    <a:pt x="511" y="612"/>
                    <a:pt x="511" y="616"/>
                    <a:pt x="514" y="618"/>
                  </a:cubicBezTo>
                  <a:cubicBezTo>
                    <a:pt x="517" y="620"/>
                    <a:pt x="524" y="618"/>
                    <a:pt x="529" y="621"/>
                  </a:cubicBezTo>
                  <a:cubicBezTo>
                    <a:pt x="534" y="624"/>
                    <a:pt x="543" y="633"/>
                    <a:pt x="543" y="638"/>
                  </a:cubicBezTo>
                  <a:cubicBezTo>
                    <a:pt x="543" y="643"/>
                    <a:pt x="533" y="650"/>
                    <a:pt x="531" y="654"/>
                  </a:cubicBezTo>
                  <a:cubicBezTo>
                    <a:pt x="529" y="658"/>
                    <a:pt x="529" y="664"/>
                    <a:pt x="532" y="665"/>
                  </a:cubicBezTo>
                  <a:cubicBezTo>
                    <a:pt x="535" y="666"/>
                    <a:pt x="543" y="663"/>
                    <a:pt x="547" y="663"/>
                  </a:cubicBezTo>
                  <a:cubicBezTo>
                    <a:pt x="551" y="663"/>
                    <a:pt x="552" y="666"/>
                    <a:pt x="555" y="662"/>
                  </a:cubicBezTo>
                  <a:cubicBezTo>
                    <a:pt x="558" y="658"/>
                    <a:pt x="565" y="642"/>
                    <a:pt x="567" y="636"/>
                  </a:cubicBezTo>
                  <a:cubicBezTo>
                    <a:pt x="569" y="630"/>
                    <a:pt x="564" y="627"/>
                    <a:pt x="568" y="624"/>
                  </a:cubicBezTo>
                  <a:cubicBezTo>
                    <a:pt x="572" y="621"/>
                    <a:pt x="584" y="619"/>
                    <a:pt x="589" y="615"/>
                  </a:cubicBezTo>
                  <a:cubicBezTo>
                    <a:pt x="594" y="611"/>
                    <a:pt x="595" y="604"/>
                    <a:pt x="597" y="600"/>
                  </a:cubicBezTo>
                  <a:cubicBezTo>
                    <a:pt x="599" y="596"/>
                    <a:pt x="599" y="589"/>
                    <a:pt x="601" y="590"/>
                  </a:cubicBezTo>
                  <a:cubicBezTo>
                    <a:pt x="603" y="591"/>
                    <a:pt x="603" y="605"/>
                    <a:pt x="607" y="606"/>
                  </a:cubicBezTo>
                  <a:cubicBezTo>
                    <a:pt x="611" y="607"/>
                    <a:pt x="616" y="599"/>
                    <a:pt x="624" y="596"/>
                  </a:cubicBezTo>
                  <a:cubicBezTo>
                    <a:pt x="632" y="593"/>
                    <a:pt x="644" y="592"/>
                    <a:pt x="654" y="585"/>
                  </a:cubicBezTo>
                  <a:cubicBezTo>
                    <a:pt x="664" y="578"/>
                    <a:pt x="677" y="565"/>
                    <a:pt x="684" y="557"/>
                  </a:cubicBezTo>
                  <a:cubicBezTo>
                    <a:pt x="691" y="549"/>
                    <a:pt x="690" y="546"/>
                    <a:pt x="696" y="537"/>
                  </a:cubicBezTo>
                  <a:cubicBezTo>
                    <a:pt x="702" y="528"/>
                    <a:pt x="712" y="515"/>
                    <a:pt x="718" y="503"/>
                  </a:cubicBezTo>
                  <a:cubicBezTo>
                    <a:pt x="724" y="491"/>
                    <a:pt x="735" y="472"/>
                    <a:pt x="733" y="467"/>
                  </a:cubicBezTo>
                  <a:cubicBezTo>
                    <a:pt x="731" y="462"/>
                    <a:pt x="709" y="475"/>
                    <a:pt x="708" y="473"/>
                  </a:cubicBezTo>
                  <a:cubicBezTo>
                    <a:pt x="707" y="471"/>
                    <a:pt x="723" y="461"/>
                    <a:pt x="724" y="456"/>
                  </a:cubicBezTo>
                  <a:cubicBezTo>
                    <a:pt x="725" y="451"/>
                    <a:pt x="718" y="450"/>
                    <a:pt x="715" y="444"/>
                  </a:cubicBezTo>
                  <a:cubicBezTo>
                    <a:pt x="712" y="438"/>
                    <a:pt x="710" y="423"/>
                    <a:pt x="708" y="417"/>
                  </a:cubicBezTo>
                  <a:cubicBezTo>
                    <a:pt x="706" y="411"/>
                    <a:pt x="705" y="411"/>
                    <a:pt x="702" y="407"/>
                  </a:cubicBezTo>
                  <a:cubicBezTo>
                    <a:pt x="699" y="403"/>
                    <a:pt x="690" y="399"/>
                    <a:pt x="690" y="392"/>
                  </a:cubicBezTo>
                  <a:cubicBezTo>
                    <a:pt x="690" y="385"/>
                    <a:pt x="698" y="373"/>
                    <a:pt x="705" y="365"/>
                  </a:cubicBezTo>
                  <a:cubicBezTo>
                    <a:pt x="712" y="357"/>
                    <a:pt x="732" y="350"/>
                    <a:pt x="733" y="345"/>
                  </a:cubicBezTo>
                  <a:cubicBezTo>
                    <a:pt x="734" y="340"/>
                    <a:pt x="719" y="336"/>
                    <a:pt x="714" y="336"/>
                  </a:cubicBezTo>
                  <a:cubicBezTo>
                    <a:pt x="709" y="336"/>
                    <a:pt x="704" y="345"/>
                    <a:pt x="700" y="347"/>
                  </a:cubicBezTo>
                  <a:cubicBezTo>
                    <a:pt x="696" y="349"/>
                    <a:pt x="690" y="354"/>
                    <a:pt x="687" y="351"/>
                  </a:cubicBezTo>
                  <a:cubicBezTo>
                    <a:pt x="684" y="348"/>
                    <a:pt x="685" y="334"/>
                    <a:pt x="682" y="330"/>
                  </a:cubicBezTo>
                  <a:cubicBezTo>
                    <a:pt x="679" y="326"/>
                    <a:pt x="670" y="329"/>
                    <a:pt x="666" y="326"/>
                  </a:cubicBezTo>
                  <a:cubicBezTo>
                    <a:pt x="662" y="323"/>
                    <a:pt x="657" y="316"/>
                    <a:pt x="660" y="314"/>
                  </a:cubicBezTo>
                  <a:cubicBezTo>
                    <a:pt x="663" y="312"/>
                    <a:pt x="677" y="315"/>
                    <a:pt x="684" y="311"/>
                  </a:cubicBezTo>
                  <a:cubicBezTo>
                    <a:pt x="691" y="307"/>
                    <a:pt x="699" y="295"/>
                    <a:pt x="703" y="290"/>
                  </a:cubicBezTo>
                  <a:cubicBezTo>
                    <a:pt x="707" y="285"/>
                    <a:pt x="705" y="283"/>
                    <a:pt x="709" y="281"/>
                  </a:cubicBezTo>
                  <a:cubicBezTo>
                    <a:pt x="713" y="279"/>
                    <a:pt x="726" y="276"/>
                    <a:pt x="729" y="279"/>
                  </a:cubicBezTo>
                  <a:cubicBezTo>
                    <a:pt x="732" y="282"/>
                    <a:pt x="729" y="290"/>
                    <a:pt x="727" y="296"/>
                  </a:cubicBezTo>
                  <a:cubicBezTo>
                    <a:pt x="725" y="302"/>
                    <a:pt x="716" y="316"/>
                    <a:pt x="718" y="317"/>
                  </a:cubicBezTo>
                  <a:cubicBezTo>
                    <a:pt x="720" y="318"/>
                    <a:pt x="736" y="308"/>
                    <a:pt x="741" y="305"/>
                  </a:cubicBezTo>
                  <a:cubicBezTo>
                    <a:pt x="746" y="302"/>
                    <a:pt x="744" y="297"/>
                    <a:pt x="747" y="296"/>
                  </a:cubicBezTo>
                  <a:cubicBezTo>
                    <a:pt x="750" y="295"/>
                    <a:pt x="756" y="297"/>
                    <a:pt x="760" y="296"/>
                  </a:cubicBezTo>
                  <a:cubicBezTo>
                    <a:pt x="764" y="295"/>
                    <a:pt x="766" y="291"/>
                    <a:pt x="769" y="288"/>
                  </a:cubicBezTo>
                  <a:cubicBezTo>
                    <a:pt x="772" y="285"/>
                    <a:pt x="776" y="279"/>
                    <a:pt x="780" y="275"/>
                  </a:cubicBezTo>
                  <a:cubicBezTo>
                    <a:pt x="784" y="271"/>
                    <a:pt x="790" y="266"/>
                    <a:pt x="795" y="264"/>
                  </a:cubicBezTo>
                  <a:cubicBezTo>
                    <a:pt x="800" y="262"/>
                    <a:pt x="806" y="266"/>
                    <a:pt x="810" y="264"/>
                  </a:cubicBezTo>
                  <a:cubicBezTo>
                    <a:pt x="814" y="262"/>
                    <a:pt x="813" y="257"/>
                    <a:pt x="817" y="255"/>
                  </a:cubicBezTo>
                  <a:cubicBezTo>
                    <a:pt x="821" y="253"/>
                    <a:pt x="830" y="254"/>
                    <a:pt x="834" y="251"/>
                  </a:cubicBezTo>
                  <a:cubicBezTo>
                    <a:pt x="838" y="248"/>
                    <a:pt x="837" y="238"/>
                    <a:pt x="841" y="236"/>
                  </a:cubicBezTo>
                  <a:cubicBezTo>
                    <a:pt x="845" y="234"/>
                    <a:pt x="854" y="238"/>
                    <a:pt x="858" y="236"/>
                  </a:cubicBezTo>
                  <a:cubicBezTo>
                    <a:pt x="862" y="234"/>
                    <a:pt x="863" y="231"/>
                    <a:pt x="864" y="227"/>
                  </a:cubicBezTo>
                  <a:cubicBezTo>
                    <a:pt x="865" y="223"/>
                    <a:pt x="863" y="215"/>
                    <a:pt x="864" y="210"/>
                  </a:cubicBezTo>
                  <a:cubicBezTo>
                    <a:pt x="865" y="205"/>
                    <a:pt x="866" y="199"/>
                    <a:pt x="868" y="197"/>
                  </a:cubicBezTo>
                  <a:cubicBezTo>
                    <a:pt x="870" y="195"/>
                    <a:pt x="875" y="195"/>
                    <a:pt x="879" y="195"/>
                  </a:cubicBezTo>
                  <a:cubicBezTo>
                    <a:pt x="883" y="195"/>
                    <a:pt x="890" y="199"/>
                    <a:pt x="895" y="195"/>
                  </a:cubicBezTo>
                  <a:cubicBezTo>
                    <a:pt x="900" y="191"/>
                    <a:pt x="906" y="178"/>
                    <a:pt x="909" y="171"/>
                  </a:cubicBezTo>
                  <a:cubicBezTo>
                    <a:pt x="912" y="164"/>
                    <a:pt x="913" y="160"/>
                    <a:pt x="915" y="153"/>
                  </a:cubicBezTo>
                  <a:cubicBezTo>
                    <a:pt x="917" y="146"/>
                    <a:pt x="926" y="130"/>
                    <a:pt x="922" y="128"/>
                  </a:cubicBezTo>
                  <a:cubicBezTo>
                    <a:pt x="918" y="126"/>
                    <a:pt x="900" y="136"/>
                    <a:pt x="892" y="140"/>
                  </a:cubicBezTo>
                  <a:cubicBezTo>
                    <a:pt x="884" y="144"/>
                    <a:pt x="877" y="152"/>
                    <a:pt x="871" y="150"/>
                  </a:cubicBezTo>
                  <a:cubicBezTo>
                    <a:pt x="865" y="148"/>
                    <a:pt x="861" y="134"/>
                    <a:pt x="858" y="128"/>
                  </a:cubicBezTo>
                  <a:cubicBezTo>
                    <a:pt x="855" y="122"/>
                    <a:pt x="857" y="116"/>
                    <a:pt x="852" y="113"/>
                  </a:cubicBezTo>
                  <a:cubicBezTo>
                    <a:pt x="847" y="110"/>
                    <a:pt x="834" y="112"/>
                    <a:pt x="828" y="107"/>
                  </a:cubicBezTo>
                  <a:cubicBezTo>
                    <a:pt x="822" y="102"/>
                    <a:pt x="818" y="91"/>
                    <a:pt x="814" y="83"/>
                  </a:cubicBezTo>
                  <a:cubicBezTo>
                    <a:pt x="810" y="75"/>
                    <a:pt x="811" y="67"/>
                    <a:pt x="807" y="59"/>
                  </a:cubicBezTo>
                  <a:cubicBezTo>
                    <a:pt x="803" y="51"/>
                    <a:pt x="796" y="43"/>
                    <a:pt x="792" y="35"/>
                  </a:cubicBezTo>
                  <a:cubicBezTo>
                    <a:pt x="788" y="27"/>
                    <a:pt x="790" y="17"/>
                    <a:pt x="783" y="11"/>
                  </a:cubicBezTo>
                  <a:cubicBezTo>
                    <a:pt x="776" y="5"/>
                    <a:pt x="761" y="0"/>
                    <a:pt x="747" y="0"/>
                  </a:cubicBezTo>
                  <a:cubicBezTo>
                    <a:pt x="733" y="0"/>
                    <a:pt x="706" y="7"/>
                    <a:pt x="700" y="14"/>
                  </a:cubicBezTo>
                  <a:cubicBezTo>
                    <a:pt x="694" y="21"/>
                    <a:pt x="708" y="36"/>
                    <a:pt x="708" y="45"/>
                  </a:cubicBezTo>
                  <a:cubicBezTo>
                    <a:pt x="708" y="54"/>
                    <a:pt x="702" y="61"/>
                    <a:pt x="700" y="66"/>
                  </a:cubicBezTo>
                  <a:cubicBezTo>
                    <a:pt x="698" y="71"/>
                    <a:pt x="695" y="71"/>
                    <a:pt x="694" y="74"/>
                  </a:cubicBezTo>
                  <a:cubicBezTo>
                    <a:pt x="693" y="77"/>
                    <a:pt x="694" y="83"/>
                    <a:pt x="691" y="87"/>
                  </a:cubicBezTo>
                  <a:cubicBezTo>
                    <a:pt x="688" y="91"/>
                    <a:pt x="685" y="96"/>
                    <a:pt x="679" y="98"/>
                  </a:cubicBezTo>
                  <a:cubicBezTo>
                    <a:pt x="673" y="100"/>
                    <a:pt x="661" y="100"/>
                    <a:pt x="655" y="101"/>
                  </a:cubicBezTo>
                  <a:cubicBezTo>
                    <a:pt x="649" y="102"/>
                    <a:pt x="643" y="97"/>
                    <a:pt x="640" y="9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6" name="Freeform 135"/>
            <p:cNvSpPr>
              <a:spLocks/>
            </p:cNvSpPr>
            <p:nvPr>
              <p:custDataLst>
                <p:tags r:id="rId102"/>
              </p:custDataLst>
            </p:nvPr>
          </p:nvSpPr>
          <p:spPr bwMode="gray">
            <a:xfrm>
              <a:off x="6583033" y="2829696"/>
              <a:ext cx="775904" cy="353104"/>
            </a:xfrm>
            <a:custGeom>
              <a:avLst/>
              <a:gdLst>
                <a:gd name="T0" fmla="*/ 4 w 472"/>
                <a:gd name="T1" fmla="*/ 66 h 218"/>
                <a:gd name="T2" fmla="*/ 7 w 472"/>
                <a:gd name="T3" fmla="*/ 78 h 218"/>
                <a:gd name="T4" fmla="*/ 28 w 472"/>
                <a:gd name="T5" fmla="*/ 81 h 218"/>
                <a:gd name="T6" fmla="*/ 45 w 472"/>
                <a:gd name="T7" fmla="*/ 113 h 218"/>
                <a:gd name="T8" fmla="*/ 43 w 472"/>
                <a:gd name="T9" fmla="*/ 123 h 218"/>
                <a:gd name="T10" fmla="*/ 40 w 472"/>
                <a:gd name="T11" fmla="*/ 141 h 218"/>
                <a:gd name="T12" fmla="*/ 57 w 472"/>
                <a:gd name="T13" fmla="*/ 147 h 218"/>
                <a:gd name="T14" fmla="*/ 88 w 472"/>
                <a:gd name="T15" fmla="*/ 149 h 218"/>
                <a:gd name="T16" fmla="*/ 103 w 472"/>
                <a:gd name="T17" fmla="*/ 161 h 218"/>
                <a:gd name="T18" fmla="*/ 118 w 472"/>
                <a:gd name="T19" fmla="*/ 185 h 218"/>
                <a:gd name="T20" fmla="*/ 133 w 472"/>
                <a:gd name="T21" fmla="*/ 197 h 218"/>
                <a:gd name="T22" fmla="*/ 156 w 472"/>
                <a:gd name="T23" fmla="*/ 197 h 218"/>
                <a:gd name="T24" fmla="*/ 199 w 472"/>
                <a:gd name="T25" fmla="*/ 197 h 218"/>
                <a:gd name="T26" fmla="*/ 238 w 472"/>
                <a:gd name="T27" fmla="*/ 215 h 218"/>
                <a:gd name="T28" fmla="*/ 252 w 472"/>
                <a:gd name="T29" fmla="*/ 213 h 218"/>
                <a:gd name="T30" fmla="*/ 271 w 472"/>
                <a:gd name="T31" fmla="*/ 204 h 218"/>
                <a:gd name="T32" fmla="*/ 282 w 472"/>
                <a:gd name="T33" fmla="*/ 200 h 218"/>
                <a:gd name="T34" fmla="*/ 297 w 472"/>
                <a:gd name="T35" fmla="*/ 200 h 218"/>
                <a:gd name="T36" fmla="*/ 322 w 472"/>
                <a:gd name="T37" fmla="*/ 195 h 218"/>
                <a:gd name="T38" fmla="*/ 342 w 472"/>
                <a:gd name="T39" fmla="*/ 183 h 218"/>
                <a:gd name="T40" fmla="*/ 349 w 472"/>
                <a:gd name="T41" fmla="*/ 168 h 218"/>
                <a:gd name="T42" fmla="*/ 349 w 472"/>
                <a:gd name="T43" fmla="*/ 150 h 218"/>
                <a:gd name="T44" fmla="*/ 354 w 472"/>
                <a:gd name="T45" fmla="*/ 141 h 218"/>
                <a:gd name="T46" fmla="*/ 385 w 472"/>
                <a:gd name="T47" fmla="*/ 153 h 218"/>
                <a:gd name="T48" fmla="*/ 393 w 472"/>
                <a:gd name="T49" fmla="*/ 144 h 218"/>
                <a:gd name="T50" fmla="*/ 400 w 472"/>
                <a:gd name="T51" fmla="*/ 135 h 218"/>
                <a:gd name="T52" fmla="*/ 417 w 472"/>
                <a:gd name="T53" fmla="*/ 131 h 218"/>
                <a:gd name="T54" fmla="*/ 430 w 472"/>
                <a:gd name="T55" fmla="*/ 113 h 218"/>
                <a:gd name="T56" fmla="*/ 469 w 472"/>
                <a:gd name="T57" fmla="*/ 110 h 218"/>
                <a:gd name="T58" fmla="*/ 451 w 472"/>
                <a:gd name="T59" fmla="*/ 81 h 218"/>
                <a:gd name="T60" fmla="*/ 436 w 472"/>
                <a:gd name="T61" fmla="*/ 90 h 218"/>
                <a:gd name="T62" fmla="*/ 420 w 472"/>
                <a:gd name="T63" fmla="*/ 83 h 218"/>
                <a:gd name="T64" fmla="*/ 412 w 472"/>
                <a:gd name="T65" fmla="*/ 92 h 218"/>
                <a:gd name="T66" fmla="*/ 415 w 472"/>
                <a:gd name="T67" fmla="*/ 78 h 218"/>
                <a:gd name="T68" fmla="*/ 408 w 472"/>
                <a:gd name="T69" fmla="*/ 66 h 218"/>
                <a:gd name="T70" fmla="*/ 418 w 472"/>
                <a:gd name="T71" fmla="*/ 47 h 218"/>
                <a:gd name="T72" fmla="*/ 403 w 472"/>
                <a:gd name="T73" fmla="*/ 47 h 218"/>
                <a:gd name="T74" fmla="*/ 391 w 472"/>
                <a:gd name="T75" fmla="*/ 44 h 218"/>
                <a:gd name="T76" fmla="*/ 352 w 472"/>
                <a:gd name="T77" fmla="*/ 65 h 218"/>
                <a:gd name="T78" fmla="*/ 334 w 472"/>
                <a:gd name="T79" fmla="*/ 66 h 218"/>
                <a:gd name="T80" fmla="*/ 316 w 472"/>
                <a:gd name="T81" fmla="*/ 69 h 218"/>
                <a:gd name="T82" fmla="*/ 303 w 472"/>
                <a:gd name="T83" fmla="*/ 66 h 218"/>
                <a:gd name="T84" fmla="*/ 294 w 472"/>
                <a:gd name="T85" fmla="*/ 56 h 218"/>
                <a:gd name="T86" fmla="*/ 286 w 472"/>
                <a:gd name="T87" fmla="*/ 44 h 218"/>
                <a:gd name="T88" fmla="*/ 267 w 472"/>
                <a:gd name="T89" fmla="*/ 38 h 218"/>
                <a:gd name="T90" fmla="*/ 226 w 472"/>
                <a:gd name="T91" fmla="*/ 41 h 218"/>
                <a:gd name="T92" fmla="*/ 207 w 472"/>
                <a:gd name="T93" fmla="*/ 17 h 218"/>
                <a:gd name="T94" fmla="*/ 162 w 472"/>
                <a:gd name="T95" fmla="*/ 3 h 218"/>
                <a:gd name="T96" fmla="*/ 148 w 472"/>
                <a:gd name="T97" fmla="*/ 35 h 218"/>
                <a:gd name="T98" fmla="*/ 147 w 472"/>
                <a:gd name="T99" fmla="*/ 48 h 218"/>
                <a:gd name="T100" fmla="*/ 142 w 472"/>
                <a:gd name="T101" fmla="*/ 48 h 218"/>
                <a:gd name="T102" fmla="*/ 136 w 472"/>
                <a:gd name="T103" fmla="*/ 56 h 218"/>
                <a:gd name="T104" fmla="*/ 112 w 472"/>
                <a:gd name="T105" fmla="*/ 53 h 218"/>
                <a:gd name="T106" fmla="*/ 100 w 472"/>
                <a:gd name="T107" fmla="*/ 47 h 218"/>
                <a:gd name="T108" fmla="*/ 85 w 472"/>
                <a:gd name="T109" fmla="*/ 36 h 218"/>
                <a:gd name="T110" fmla="*/ 73 w 472"/>
                <a:gd name="T111" fmla="*/ 30 h 218"/>
                <a:gd name="T112" fmla="*/ 55 w 472"/>
                <a:gd name="T113" fmla="*/ 29 h 218"/>
                <a:gd name="T114" fmla="*/ 42 w 472"/>
                <a:gd name="T115" fmla="*/ 37 h 218"/>
                <a:gd name="T116" fmla="*/ 33 w 472"/>
                <a:gd name="T117" fmla="*/ 47 h 218"/>
                <a:gd name="T118" fmla="*/ 16 w 472"/>
                <a:gd name="T119" fmla="*/ 54 h 218"/>
                <a:gd name="T120" fmla="*/ 4 w 472"/>
                <a:gd name="T121" fmla="*/ 6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2" h="218">
                  <a:moveTo>
                    <a:pt x="4" y="66"/>
                  </a:moveTo>
                  <a:cubicBezTo>
                    <a:pt x="0" y="71"/>
                    <a:pt x="3" y="76"/>
                    <a:pt x="7" y="78"/>
                  </a:cubicBezTo>
                  <a:cubicBezTo>
                    <a:pt x="11" y="80"/>
                    <a:pt x="22" y="75"/>
                    <a:pt x="28" y="81"/>
                  </a:cubicBezTo>
                  <a:cubicBezTo>
                    <a:pt x="34" y="87"/>
                    <a:pt x="43" y="106"/>
                    <a:pt x="45" y="113"/>
                  </a:cubicBezTo>
                  <a:cubicBezTo>
                    <a:pt x="47" y="120"/>
                    <a:pt x="44" y="118"/>
                    <a:pt x="43" y="123"/>
                  </a:cubicBezTo>
                  <a:cubicBezTo>
                    <a:pt x="42" y="128"/>
                    <a:pt x="38" y="137"/>
                    <a:pt x="40" y="141"/>
                  </a:cubicBezTo>
                  <a:cubicBezTo>
                    <a:pt x="42" y="145"/>
                    <a:pt x="49" y="146"/>
                    <a:pt x="57" y="147"/>
                  </a:cubicBezTo>
                  <a:cubicBezTo>
                    <a:pt x="65" y="148"/>
                    <a:pt x="80" y="147"/>
                    <a:pt x="88" y="149"/>
                  </a:cubicBezTo>
                  <a:cubicBezTo>
                    <a:pt x="96" y="151"/>
                    <a:pt x="98" y="155"/>
                    <a:pt x="103" y="161"/>
                  </a:cubicBezTo>
                  <a:cubicBezTo>
                    <a:pt x="108" y="167"/>
                    <a:pt x="113" y="179"/>
                    <a:pt x="118" y="185"/>
                  </a:cubicBezTo>
                  <a:cubicBezTo>
                    <a:pt x="123" y="191"/>
                    <a:pt x="127" y="195"/>
                    <a:pt x="133" y="197"/>
                  </a:cubicBezTo>
                  <a:cubicBezTo>
                    <a:pt x="139" y="199"/>
                    <a:pt x="145" y="197"/>
                    <a:pt x="156" y="197"/>
                  </a:cubicBezTo>
                  <a:cubicBezTo>
                    <a:pt x="167" y="197"/>
                    <a:pt x="185" y="194"/>
                    <a:pt x="199" y="197"/>
                  </a:cubicBezTo>
                  <a:cubicBezTo>
                    <a:pt x="213" y="200"/>
                    <a:pt x="229" y="212"/>
                    <a:pt x="238" y="215"/>
                  </a:cubicBezTo>
                  <a:cubicBezTo>
                    <a:pt x="247" y="218"/>
                    <a:pt x="247" y="215"/>
                    <a:pt x="252" y="213"/>
                  </a:cubicBezTo>
                  <a:cubicBezTo>
                    <a:pt x="257" y="211"/>
                    <a:pt x="266" y="206"/>
                    <a:pt x="271" y="204"/>
                  </a:cubicBezTo>
                  <a:cubicBezTo>
                    <a:pt x="276" y="202"/>
                    <a:pt x="278" y="201"/>
                    <a:pt x="282" y="200"/>
                  </a:cubicBezTo>
                  <a:cubicBezTo>
                    <a:pt x="286" y="199"/>
                    <a:pt x="290" y="201"/>
                    <a:pt x="297" y="200"/>
                  </a:cubicBezTo>
                  <a:cubicBezTo>
                    <a:pt x="304" y="199"/>
                    <a:pt x="315" y="198"/>
                    <a:pt x="322" y="195"/>
                  </a:cubicBezTo>
                  <a:cubicBezTo>
                    <a:pt x="329" y="192"/>
                    <a:pt x="338" y="187"/>
                    <a:pt x="342" y="183"/>
                  </a:cubicBezTo>
                  <a:cubicBezTo>
                    <a:pt x="346" y="179"/>
                    <a:pt x="348" y="173"/>
                    <a:pt x="349" y="168"/>
                  </a:cubicBezTo>
                  <a:cubicBezTo>
                    <a:pt x="350" y="163"/>
                    <a:pt x="348" y="154"/>
                    <a:pt x="349" y="150"/>
                  </a:cubicBezTo>
                  <a:cubicBezTo>
                    <a:pt x="350" y="146"/>
                    <a:pt x="348" y="140"/>
                    <a:pt x="354" y="141"/>
                  </a:cubicBezTo>
                  <a:cubicBezTo>
                    <a:pt x="360" y="142"/>
                    <a:pt x="379" y="153"/>
                    <a:pt x="385" y="153"/>
                  </a:cubicBezTo>
                  <a:cubicBezTo>
                    <a:pt x="391" y="153"/>
                    <a:pt x="391" y="147"/>
                    <a:pt x="393" y="144"/>
                  </a:cubicBezTo>
                  <a:cubicBezTo>
                    <a:pt x="395" y="141"/>
                    <a:pt x="396" y="137"/>
                    <a:pt x="400" y="135"/>
                  </a:cubicBezTo>
                  <a:cubicBezTo>
                    <a:pt x="404" y="133"/>
                    <a:pt x="412" y="135"/>
                    <a:pt x="417" y="131"/>
                  </a:cubicBezTo>
                  <a:cubicBezTo>
                    <a:pt x="422" y="127"/>
                    <a:pt x="421" y="116"/>
                    <a:pt x="430" y="113"/>
                  </a:cubicBezTo>
                  <a:cubicBezTo>
                    <a:pt x="439" y="110"/>
                    <a:pt x="466" y="115"/>
                    <a:pt x="469" y="110"/>
                  </a:cubicBezTo>
                  <a:cubicBezTo>
                    <a:pt x="472" y="105"/>
                    <a:pt x="456" y="84"/>
                    <a:pt x="451" y="81"/>
                  </a:cubicBezTo>
                  <a:cubicBezTo>
                    <a:pt x="446" y="78"/>
                    <a:pt x="441" y="90"/>
                    <a:pt x="436" y="90"/>
                  </a:cubicBezTo>
                  <a:cubicBezTo>
                    <a:pt x="431" y="90"/>
                    <a:pt x="424" y="83"/>
                    <a:pt x="420" y="83"/>
                  </a:cubicBezTo>
                  <a:cubicBezTo>
                    <a:pt x="416" y="83"/>
                    <a:pt x="413" y="93"/>
                    <a:pt x="412" y="92"/>
                  </a:cubicBezTo>
                  <a:cubicBezTo>
                    <a:pt x="411" y="91"/>
                    <a:pt x="416" y="82"/>
                    <a:pt x="415" y="78"/>
                  </a:cubicBezTo>
                  <a:cubicBezTo>
                    <a:pt x="414" y="74"/>
                    <a:pt x="408" y="71"/>
                    <a:pt x="408" y="66"/>
                  </a:cubicBezTo>
                  <a:cubicBezTo>
                    <a:pt x="408" y="61"/>
                    <a:pt x="419" y="50"/>
                    <a:pt x="418" y="47"/>
                  </a:cubicBezTo>
                  <a:cubicBezTo>
                    <a:pt x="417" y="44"/>
                    <a:pt x="407" y="47"/>
                    <a:pt x="403" y="47"/>
                  </a:cubicBezTo>
                  <a:cubicBezTo>
                    <a:pt x="399" y="47"/>
                    <a:pt x="399" y="41"/>
                    <a:pt x="391" y="44"/>
                  </a:cubicBezTo>
                  <a:cubicBezTo>
                    <a:pt x="383" y="47"/>
                    <a:pt x="361" y="61"/>
                    <a:pt x="352" y="65"/>
                  </a:cubicBezTo>
                  <a:cubicBezTo>
                    <a:pt x="343" y="69"/>
                    <a:pt x="340" y="65"/>
                    <a:pt x="334" y="66"/>
                  </a:cubicBezTo>
                  <a:cubicBezTo>
                    <a:pt x="328" y="67"/>
                    <a:pt x="321" y="69"/>
                    <a:pt x="316" y="69"/>
                  </a:cubicBezTo>
                  <a:cubicBezTo>
                    <a:pt x="311" y="69"/>
                    <a:pt x="307" y="68"/>
                    <a:pt x="303" y="66"/>
                  </a:cubicBezTo>
                  <a:cubicBezTo>
                    <a:pt x="299" y="64"/>
                    <a:pt x="297" y="60"/>
                    <a:pt x="294" y="56"/>
                  </a:cubicBezTo>
                  <a:cubicBezTo>
                    <a:pt x="291" y="52"/>
                    <a:pt x="290" y="47"/>
                    <a:pt x="286" y="44"/>
                  </a:cubicBezTo>
                  <a:cubicBezTo>
                    <a:pt x="282" y="41"/>
                    <a:pt x="277" y="38"/>
                    <a:pt x="267" y="38"/>
                  </a:cubicBezTo>
                  <a:cubicBezTo>
                    <a:pt x="257" y="38"/>
                    <a:pt x="236" y="44"/>
                    <a:pt x="226" y="41"/>
                  </a:cubicBezTo>
                  <a:cubicBezTo>
                    <a:pt x="216" y="38"/>
                    <a:pt x="218" y="23"/>
                    <a:pt x="207" y="17"/>
                  </a:cubicBezTo>
                  <a:cubicBezTo>
                    <a:pt x="196" y="11"/>
                    <a:pt x="172" y="0"/>
                    <a:pt x="162" y="3"/>
                  </a:cubicBezTo>
                  <a:cubicBezTo>
                    <a:pt x="152" y="6"/>
                    <a:pt x="150" y="28"/>
                    <a:pt x="148" y="35"/>
                  </a:cubicBezTo>
                  <a:cubicBezTo>
                    <a:pt x="146" y="42"/>
                    <a:pt x="148" y="46"/>
                    <a:pt x="147" y="48"/>
                  </a:cubicBezTo>
                  <a:cubicBezTo>
                    <a:pt x="146" y="50"/>
                    <a:pt x="144" y="47"/>
                    <a:pt x="142" y="48"/>
                  </a:cubicBezTo>
                  <a:cubicBezTo>
                    <a:pt x="140" y="49"/>
                    <a:pt x="141" y="55"/>
                    <a:pt x="136" y="56"/>
                  </a:cubicBezTo>
                  <a:cubicBezTo>
                    <a:pt x="131" y="57"/>
                    <a:pt x="118" y="54"/>
                    <a:pt x="112" y="53"/>
                  </a:cubicBezTo>
                  <a:cubicBezTo>
                    <a:pt x="106" y="52"/>
                    <a:pt x="104" y="50"/>
                    <a:pt x="100" y="47"/>
                  </a:cubicBezTo>
                  <a:cubicBezTo>
                    <a:pt x="96" y="44"/>
                    <a:pt x="89" y="39"/>
                    <a:pt x="85" y="36"/>
                  </a:cubicBezTo>
                  <a:cubicBezTo>
                    <a:pt x="81" y="33"/>
                    <a:pt x="78" y="31"/>
                    <a:pt x="73" y="30"/>
                  </a:cubicBezTo>
                  <a:cubicBezTo>
                    <a:pt x="68" y="29"/>
                    <a:pt x="60" y="28"/>
                    <a:pt x="55" y="29"/>
                  </a:cubicBezTo>
                  <a:cubicBezTo>
                    <a:pt x="50" y="30"/>
                    <a:pt x="46" y="34"/>
                    <a:pt x="42" y="37"/>
                  </a:cubicBezTo>
                  <a:cubicBezTo>
                    <a:pt x="38" y="40"/>
                    <a:pt x="37" y="44"/>
                    <a:pt x="33" y="47"/>
                  </a:cubicBezTo>
                  <a:cubicBezTo>
                    <a:pt x="29" y="50"/>
                    <a:pt x="21" y="51"/>
                    <a:pt x="16" y="54"/>
                  </a:cubicBezTo>
                  <a:cubicBezTo>
                    <a:pt x="11" y="57"/>
                    <a:pt x="6" y="64"/>
                    <a:pt x="4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7" name="Freeform 136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6578173" y="3624989"/>
              <a:ext cx="105290" cy="124721"/>
            </a:xfrm>
            <a:custGeom>
              <a:avLst/>
              <a:gdLst>
                <a:gd name="T0" fmla="*/ 36 w 63"/>
                <a:gd name="T1" fmla="*/ 73 h 77"/>
                <a:gd name="T2" fmla="*/ 48 w 63"/>
                <a:gd name="T3" fmla="*/ 42 h 77"/>
                <a:gd name="T4" fmla="*/ 63 w 63"/>
                <a:gd name="T5" fmla="*/ 34 h 77"/>
                <a:gd name="T6" fmla="*/ 54 w 63"/>
                <a:gd name="T7" fmla="*/ 21 h 77"/>
                <a:gd name="T8" fmla="*/ 24 w 63"/>
                <a:gd name="T9" fmla="*/ 15 h 77"/>
                <a:gd name="T10" fmla="*/ 6 w 63"/>
                <a:gd name="T11" fmla="*/ 0 h 77"/>
                <a:gd name="T12" fmla="*/ 11 w 63"/>
                <a:gd name="T13" fmla="*/ 10 h 77"/>
                <a:gd name="T14" fmla="*/ 0 w 63"/>
                <a:gd name="T15" fmla="*/ 28 h 77"/>
                <a:gd name="T16" fmla="*/ 11 w 63"/>
                <a:gd name="T17" fmla="*/ 33 h 77"/>
                <a:gd name="T18" fmla="*/ 17 w 63"/>
                <a:gd name="T19" fmla="*/ 67 h 77"/>
                <a:gd name="T20" fmla="*/ 21 w 63"/>
                <a:gd name="T21" fmla="*/ 75 h 77"/>
                <a:gd name="T22" fmla="*/ 33 w 63"/>
                <a:gd name="T23" fmla="*/ 69 h 77"/>
                <a:gd name="T24" fmla="*/ 30 w 63"/>
                <a:gd name="T25" fmla="*/ 73 h 77"/>
                <a:gd name="T26" fmla="*/ 36 w 63"/>
                <a:gd name="T27" fmla="*/ 7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7">
                  <a:moveTo>
                    <a:pt x="36" y="73"/>
                  </a:moveTo>
                  <a:cubicBezTo>
                    <a:pt x="39" y="30"/>
                    <a:pt x="32" y="54"/>
                    <a:pt x="48" y="42"/>
                  </a:cubicBezTo>
                  <a:cubicBezTo>
                    <a:pt x="51" y="34"/>
                    <a:pt x="56" y="37"/>
                    <a:pt x="63" y="34"/>
                  </a:cubicBezTo>
                  <a:cubicBezTo>
                    <a:pt x="62" y="26"/>
                    <a:pt x="63" y="22"/>
                    <a:pt x="54" y="21"/>
                  </a:cubicBezTo>
                  <a:cubicBezTo>
                    <a:pt x="44" y="16"/>
                    <a:pt x="36" y="16"/>
                    <a:pt x="24" y="15"/>
                  </a:cubicBezTo>
                  <a:cubicBezTo>
                    <a:pt x="22" y="6"/>
                    <a:pt x="15" y="2"/>
                    <a:pt x="6" y="0"/>
                  </a:cubicBezTo>
                  <a:cubicBezTo>
                    <a:pt x="1" y="7"/>
                    <a:pt x="4" y="9"/>
                    <a:pt x="11" y="10"/>
                  </a:cubicBezTo>
                  <a:cubicBezTo>
                    <a:pt x="9" y="23"/>
                    <a:pt x="10" y="22"/>
                    <a:pt x="0" y="28"/>
                  </a:cubicBezTo>
                  <a:cubicBezTo>
                    <a:pt x="3" y="30"/>
                    <a:pt x="10" y="29"/>
                    <a:pt x="11" y="33"/>
                  </a:cubicBezTo>
                  <a:cubicBezTo>
                    <a:pt x="15" y="44"/>
                    <a:pt x="11" y="56"/>
                    <a:pt x="17" y="67"/>
                  </a:cubicBezTo>
                  <a:cubicBezTo>
                    <a:pt x="17" y="71"/>
                    <a:pt x="18" y="73"/>
                    <a:pt x="21" y="75"/>
                  </a:cubicBezTo>
                  <a:cubicBezTo>
                    <a:pt x="22" y="77"/>
                    <a:pt x="31" y="69"/>
                    <a:pt x="33" y="69"/>
                  </a:cubicBezTo>
                  <a:cubicBezTo>
                    <a:pt x="34" y="69"/>
                    <a:pt x="30" y="72"/>
                    <a:pt x="30" y="73"/>
                  </a:cubicBezTo>
                  <a:cubicBezTo>
                    <a:pt x="30" y="74"/>
                    <a:pt x="35" y="73"/>
                    <a:pt x="36" y="7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8" name="Freeform 137"/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6605711" y="3565059"/>
              <a:ext cx="77752" cy="46973"/>
            </a:xfrm>
            <a:custGeom>
              <a:avLst/>
              <a:gdLst>
                <a:gd name="T0" fmla="*/ 4 w 47"/>
                <a:gd name="T1" fmla="*/ 26 h 29"/>
                <a:gd name="T2" fmla="*/ 28 w 47"/>
                <a:gd name="T3" fmla="*/ 26 h 29"/>
                <a:gd name="T4" fmla="*/ 43 w 47"/>
                <a:gd name="T5" fmla="*/ 26 h 29"/>
                <a:gd name="T6" fmla="*/ 46 w 47"/>
                <a:gd name="T7" fmla="*/ 16 h 29"/>
                <a:gd name="T8" fmla="*/ 38 w 47"/>
                <a:gd name="T9" fmla="*/ 16 h 29"/>
                <a:gd name="T10" fmla="*/ 29 w 47"/>
                <a:gd name="T11" fmla="*/ 2 h 29"/>
                <a:gd name="T12" fmla="*/ 16 w 47"/>
                <a:gd name="T13" fmla="*/ 2 h 29"/>
                <a:gd name="T14" fmla="*/ 2 w 47"/>
                <a:gd name="T15" fmla="*/ 10 h 29"/>
                <a:gd name="T16" fmla="*/ 4 w 47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29">
                  <a:moveTo>
                    <a:pt x="4" y="26"/>
                  </a:moveTo>
                  <a:cubicBezTo>
                    <a:pt x="9" y="29"/>
                    <a:pt x="22" y="26"/>
                    <a:pt x="28" y="26"/>
                  </a:cubicBezTo>
                  <a:cubicBezTo>
                    <a:pt x="34" y="26"/>
                    <a:pt x="40" y="28"/>
                    <a:pt x="43" y="26"/>
                  </a:cubicBezTo>
                  <a:cubicBezTo>
                    <a:pt x="46" y="24"/>
                    <a:pt x="47" y="18"/>
                    <a:pt x="46" y="16"/>
                  </a:cubicBezTo>
                  <a:cubicBezTo>
                    <a:pt x="45" y="14"/>
                    <a:pt x="41" y="18"/>
                    <a:pt x="38" y="16"/>
                  </a:cubicBezTo>
                  <a:cubicBezTo>
                    <a:pt x="35" y="14"/>
                    <a:pt x="33" y="4"/>
                    <a:pt x="29" y="2"/>
                  </a:cubicBezTo>
                  <a:cubicBezTo>
                    <a:pt x="25" y="0"/>
                    <a:pt x="20" y="1"/>
                    <a:pt x="16" y="2"/>
                  </a:cubicBezTo>
                  <a:cubicBezTo>
                    <a:pt x="12" y="3"/>
                    <a:pt x="4" y="6"/>
                    <a:pt x="2" y="10"/>
                  </a:cubicBezTo>
                  <a:cubicBezTo>
                    <a:pt x="0" y="14"/>
                    <a:pt x="4" y="23"/>
                    <a:pt x="4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9" name="Freeform 138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6676984" y="3571538"/>
              <a:ext cx="204100" cy="325569"/>
            </a:xfrm>
            <a:custGeom>
              <a:avLst/>
              <a:gdLst>
                <a:gd name="T0" fmla="*/ 2 w 124"/>
                <a:gd name="T1" fmla="*/ 106 h 201"/>
                <a:gd name="T2" fmla="*/ 6 w 124"/>
                <a:gd name="T3" fmla="*/ 117 h 201"/>
                <a:gd name="T4" fmla="*/ 24 w 124"/>
                <a:gd name="T5" fmla="*/ 141 h 201"/>
                <a:gd name="T6" fmla="*/ 33 w 124"/>
                <a:gd name="T7" fmla="*/ 153 h 201"/>
                <a:gd name="T8" fmla="*/ 36 w 124"/>
                <a:gd name="T9" fmla="*/ 192 h 201"/>
                <a:gd name="T10" fmla="*/ 65 w 124"/>
                <a:gd name="T11" fmla="*/ 183 h 201"/>
                <a:gd name="T12" fmla="*/ 71 w 124"/>
                <a:gd name="T13" fmla="*/ 175 h 201"/>
                <a:gd name="T14" fmla="*/ 80 w 124"/>
                <a:gd name="T15" fmla="*/ 183 h 201"/>
                <a:gd name="T16" fmla="*/ 86 w 124"/>
                <a:gd name="T17" fmla="*/ 199 h 201"/>
                <a:gd name="T18" fmla="*/ 98 w 124"/>
                <a:gd name="T19" fmla="*/ 195 h 201"/>
                <a:gd name="T20" fmla="*/ 86 w 124"/>
                <a:gd name="T21" fmla="*/ 175 h 201"/>
                <a:gd name="T22" fmla="*/ 81 w 124"/>
                <a:gd name="T23" fmla="*/ 165 h 201"/>
                <a:gd name="T24" fmla="*/ 83 w 124"/>
                <a:gd name="T25" fmla="*/ 145 h 201"/>
                <a:gd name="T26" fmla="*/ 90 w 124"/>
                <a:gd name="T27" fmla="*/ 132 h 201"/>
                <a:gd name="T28" fmla="*/ 105 w 124"/>
                <a:gd name="T29" fmla="*/ 132 h 201"/>
                <a:gd name="T30" fmla="*/ 116 w 124"/>
                <a:gd name="T31" fmla="*/ 123 h 201"/>
                <a:gd name="T32" fmla="*/ 122 w 124"/>
                <a:gd name="T33" fmla="*/ 114 h 201"/>
                <a:gd name="T34" fmla="*/ 105 w 124"/>
                <a:gd name="T35" fmla="*/ 84 h 201"/>
                <a:gd name="T36" fmla="*/ 98 w 124"/>
                <a:gd name="T37" fmla="*/ 70 h 201"/>
                <a:gd name="T38" fmla="*/ 86 w 124"/>
                <a:gd name="T39" fmla="*/ 72 h 201"/>
                <a:gd name="T40" fmla="*/ 83 w 124"/>
                <a:gd name="T41" fmla="*/ 57 h 201"/>
                <a:gd name="T42" fmla="*/ 98 w 124"/>
                <a:gd name="T43" fmla="*/ 40 h 201"/>
                <a:gd name="T44" fmla="*/ 99 w 124"/>
                <a:gd name="T45" fmla="*/ 16 h 201"/>
                <a:gd name="T46" fmla="*/ 89 w 124"/>
                <a:gd name="T47" fmla="*/ 0 h 201"/>
                <a:gd name="T48" fmla="*/ 60 w 124"/>
                <a:gd name="T49" fmla="*/ 19 h 201"/>
                <a:gd name="T50" fmla="*/ 47 w 124"/>
                <a:gd name="T51" fmla="*/ 21 h 201"/>
                <a:gd name="T52" fmla="*/ 47 w 124"/>
                <a:gd name="T53" fmla="*/ 46 h 201"/>
                <a:gd name="T54" fmla="*/ 33 w 124"/>
                <a:gd name="T55" fmla="*/ 75 h 201"/>
                <a:gd name="T56" fmla="*/ 18 w 124"/>
                <a:gd name="T57" fmla="*/ 70 h 201"/>
                <a:gd name="T58" fmla="*/ 21 w 124"/>
                <a:gd name="T59" fmla="*/ 97 h 201"/>
                <a:gd name="T60" fmla="*/ 2 w 124"/>
                <a:gd name="T61" fmla="*/ 10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4" h="201">
                  <a:moveTo>
                    <a:pt x="2" y="106"/>
                  </a:moveTo>
                  <a:cubicBezTo>
                    <a:pt x="0" y="109"/>
                    <a:pt x="2" y="111"/>
                    <a:pt x="6" y="117"/>
                  </a:cubicBezTo>
                  <a:cubicBezTo>
                    <a:pt x="10" y="123"/>
                    <a:pt x="19" y="135"/>
                    <a:pt x="24" y="141"/>
                  </a:cubicBezTo>
                  <a:cubicBezTo>
                    <a:pt x="29" y="147"/>
                    <a:pt x="31" y="145"/>
                    <a:pt x="33" y="153"/>
                  </a:cubicBezTo>
                  <a:cubicBezTo>
                    <a:pt x="35" y="161"/>
                    <a:pt x="31" y="187"/>
                    <a:pt x="36" y="192"/>
                  </a:cubicBezTo>
                  <a:cubicBezTo>
                    <a:pt x="41" y="197"/>
                    <a:pt x="59" y="186"/>
                    <a:pt x="65" y="183"/>
                  </a:cubicBezTo>
                  <a:cubicBezTo>
                    <a:pt x="71" y="180"/>
                    <a:pt x="69" y="175"/>
                    <a:pt x="71" y="175"/>
                  </a:cubicBezTo>
                  <a:cubicBezTo>
                    <a:pt x="73" y="175"/>
                    <a:pt x="77" y="179"/>
                    <a:pt x="80" y="183"/>
                  </a:cubicBezTo>
                  <a:cubicBezTo>
                    <a:pt x="83" y="187"/>
                    <a:pt x="83" y="197"/>
                    <a:pt x="86" y="199"/>
                  </a:cubicBezTo>
                  <a:cubicBezTo>
                    <a:pt x="89" y="201"/>
                    <a:pt x="98" y="199"/>
                    <a:pt x="98" y="195"/>
                  </a:cubicBezTo>
                  <a:cubicBezTo>
                    <a:pt x="98" y="191"/>
                    <a:pt x="89" y="180"/>
                    <a:pt x="86" y="175"/>
                  </a:cubicBezTo>
                  <a:cubicBezTo>
                    <a:pt x="83" y="170"/>
                    <a:pt x="81" y="170"/>
                    <a:pt x="81" y="165"/>
                  </a:cubicBezTo>
                  <a:cubicBezTo>
                    <a:pt x="81" y="160"/>
                    <a:pt x="82" y="150"/>
                    <a:pt x="83" y="145"/>
                  </a:cubicBezTo>
                  <a:cubicBezTo>
                    <a:pt x="84" y="140"/>
                    <a:pt x="86" y="134"/>
                    <a:pt x="90" y="132"/>
                  </a:cubicBezTo>
                  <a:cubicBezTo>
                    <a:pt x="94" y="130"/>
                    <a:pt x="101" y="133"/>
                    <a:pt x="105" y="132"/>
                  </a:cubicBezTo>
                  <a:cubicBezTo>
                    <a:pt x="109" y="131"/>
                    <a:pt x="113" y="126"/>
                    <a:pt x="116" y="123"/>
                  </a:cubicBezTo>
                  <a:cubicBezTo>
                    <a:pt x="119" y="120"/>
                    <a:pt x="124" y="120"/>
                    <a:pt x="122" y="114"/>
                  </a:cubicBezTo>
                  <a:cubicBezTo>
                    <a:pt x="120" y="108"/>
                    <a:pt x="109" y="91"/>
                    <a:pt x="105" y="84"/>
                  </a:cubicBezTo>
                  <a:cubicBezTo>
                    <a:pt x="101" y="77"/>
                    <a:pt x="101" y="72"/>
                    <a:pt x="98" y="70"/>
                  </a:cubicBezTo>
                  <a:cubicBezTo>
                    <a:pt x="95" y="68"/>
                    <a:pt x="88" y="74"/>
                    <a:pt x="86" y="72"/>
                  </a:cubicBezTo>
                  <a:cubicBezTo>
                    <a:pt x="84" y="70"/>
                    <a:pt x="81" y="62"/>
                    <a:pt x="83" y="57"/>
                  </a:cubicBezTo>
                  <a:cubicBezTo>
                    <a:pt x="85" y="52"/>
                    <a:pt x="95" y="47"/>
                    <a:pt x="98" y="40"/>
                  </a:cubicBezTo>
                  <a:cubicBezTo>
                    <a:pt x="101" y="33"/>
                    <a:pt x="100" y="23"/>
                    <a:pt x="99" y="16"/>
                  </a:cubicBezTo>
                  <a:cubicBezTo>
                    <a:pt x="98" y="9"/>
                    <a:pt x="95" y="0"/>
                    <a:pt x="89" y="0"/>
                  </a:cubicBezTo>
                  <a:cubicBezTo>
                    <a:pt x="83" y="0"/>
                    <a:pt x="67" y="16"/>
                    <a:pt x="60" y="19"/>
                  </a:cubicBezTo>
                  <a:cubicBezTo>
                    <a:pt x="53" y="22"/>
                    <a:pt x="49" y="17"/>
                    <a:pt x="47" y="21"/>
                  </a:cubicBezTo>
                  <a:cubicBezTo>
                    <a:pt x="45" y="25"/>
                    <a:pt x="49" y="37"/>
                    <a:pt x="47" y="46"/>
                  </a:cubicBezTo>
                  <a:cubicBezTo>
                    <a:pt x="45" y="55"/>
                    <a:pt x="38" y="71"/>
                    <a:pt x="33" y="75"/>
                  </a:cubicBezTo>
                  <a:cubicBezTo>
                    <a:pt x="28" y="79"/>
                    <a:pt x="20" y="66"/>
                    <a:pt x="18" y="70"/>
                  </a:cubicBezTo>
                  <a:cubicBezTo>
                    <a:pt x="16" y="74"/>
                    <a:pt x="23" y="91"/>
                    <a:pt x="21" y="97"/>
                  </a:cubicBezTo>
                  <a:cubicBezTo>
                    <a:pt x="19" y="103"/>
                    <a:pt x="4" y="103"/>
                    <a:pt x="2" y="10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0" name="Freeform 139"/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6375693" y="4047743"/>
              <a:ext cx="50216" cy="92326"/>
            </a:xfrm>
            <a:custGeom>
              <a:avLst/>
              <a:gdLst>
                <a:gd name="T0" fmla="*/ 6 w 30"/>
                <a:gd name="T1" fmla="*/ 52 h 57"/>
                <a:gd name="T2" fmla="*/ 29 w 30"/>
                <a:gd name="T3" fmla="*/ 43 h 57"/>
                <a:gd name="T4" fmla="*/ 24 w 30"/>
                <a:gd name="T5" fmla="*/ 22 h 57"/>
                <a:gd name="T6" fmla="*/ 17 w 30"/>
                <a:gd name="T7" fmla="*/ 7 h 57"/>
                <a:gd name="T8" fmla="*/ 6 w 30"/>
                <a:gd name="T9" fmla="*/ 3 h 57"/>
                <a:gd name="T10" fmla="*/ 0 w 30"/>
                <a:gd name="T11" fmla="*/ 27 h 57"/>
                <a:gd name="T12" fmla="*/ 2 w 30"/>
                <a:gd name="T13" fmla="*/ 51 h 57"/>
                <a:gd name="T14" fmla="*/ 6 w 30"/>
                <a:gd name="T15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7">
                  <a:moveTo>
                    <a:pt x="6" y="52"/>
                  </a:moveTo>
                  <a:cubicBezTo>
                    <a:pt x="18" y="57"/>
                    <a:pt x="23" y="53"/>
                    <a:pt x="29" y="43"/>
                  </a:cubicBezTo>
                  <a:cubicBezTo>
                    <a:pt x="30" y="34"/>
                    <a:pt x="29" y="30"/>
                    <a:pt x="24" y="22"/>
                  </a:cubicBezTo>
                  <a:cubicBezTo>
                    <a:pt x="27" y="0"/>
                    <a:pt x="27" y="15"/>
                    <a:pt x="17" y="7"/>
                  </a:cubicBezTo>
                  <a:cubicBezTo>
                    <a:pt x="14" y="1"/>
                    <a:pt x="12" y="0"/>
                    <a:pt x="6" y="3"/>
                  </a:cubicBezTo>
                  <a:cubicBezTo>
                    <a:pt x="1" y="10"/>
                    <a:pt x="3" y="19"/>
                    <a:pt x="0" y="27"/>
                  </a:cubicBezTo>
                  <a:cubicBezTo>
                    <a:pt x="1" y="35"/>
                    <a:pt x="0" y="43"/>
                    <a:pt x="2" y="51"/>
                  </a:cubicBezTo>
                  <a:cubicBezTo>
                    <a:pt x="2" y="52"/>
                    <a:pt x="6" y="53"/>
                    <a:pt x="6" y="5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1" name="Freeform 146"/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6100684" y="3323321"/>
              <a:ext cx="720484" cy="793884"/>
            </a:xfrm>
            <a:custGeom>
              <a:avLst/>
              <a:gdLst/>
              <a:ahLst/>
              <a:cxnLst/>
              <a:rect l="l" t="t" r="r" b="b"/>
              <a:pathLst>
                <a:path w="706099" h="778080">
                  <a:moveTo>
                    <a:pt x="599618" y="738575"/>
                  </a:moveTo>
                  <a:cubicBezTo>
                    <a:pt x="602843" y="757625"/>
                    <a:pt x="604456" y="757625"/>
                    <a:pt x="612519" y="771913"/>
                  </a:cubicBezTo>
                  <a:cubicBezTo>
                    <a:pt x="607681" y="781438"/>
                    <a:pt x="602843" y="778263"/>
                    <a:pt x="593167" y="773501"/>
                  </a:cubicBezTo>
                  <a:cubicBezTo>
                    <a:pt x="596392" y="748100"/>
                    <a:pt x="577040" y="756038"/>
                    <a:pt x="599618" y="738575"/>
                  </a:cubicBezTo>
                  <a:close/>
                  <a:moveTo>
                    <a:pt x="575428" y="711588"/>
                  </a:moveTo>
                  <a:cubicBezTo>
                    <a:pt x="580266" y="713176"/>
                    <a:pt x="585104" y="711588"/>
                    <a:pt x="588329" y="714763"/>
                  </a:cubicBezTo>
                  <a:cubicBezTo>
                    <a:pt x="591554" y="719526"/>
                    <a:pt x="577040" y="725876"/>
                    <a:pt x="573815" y="721113"/>
                  </a:cubicBezTo>
                  <a:cubicBezTo>
                    <a:pt x="572202" y="717938"/>
                    <a:pt x="575428" y="714763"/>
                    <a:pt x="575428" y="711588"/>
                  </a:cubicBezTo>
                  <a:close/>
                  <a:moveTo>
                    <a:pt x="578250" y="683212"/>
                  </a:moveTo>
                  <a:cubicBezTo>
                    <a:pt x="581476" y="684601"/>
                    <a:pt x="582685" y="688569"/>
                    <a:pt x="580266" y="695713"/>
                  </a:cubicBezTo>
                  <a:cubicBezTo>
                    <a:pt x="573815" y="694126"/>
                    <a:pt x="564139" y="686188"/>
                    <a:pt x="564139" y="686188"/>
                  </a:cubicBezTo>
                  <a:cubicBezTo>
                    <a:pt x="569784" y="683013"/>
                    <a:pt x="575025" y="681823"/>
                    <a:pt x="578250" y="683212"/>
                  </a:cubicBezTo>
                  <a:close/>
                  <a:moveTo>
                    <a:pt x="580266" y="616338"/>
                  </a:moveTo>
                  <a:cubicBezTo>
                    <a:pt x="601231" y="630626"/>
                    <a:pt x="610907" y="660788"/>
                    <a:pt x="580266" y="667138"/>
                  </a:cubicBezTo>
                  <a:cubicBezTo>
                    <a:pt x="567364" y="657613"/>
                    <a:pt x="570590" y="648088"/>
                    <a:pt x="573815" y="633801"/>
                  </a:cubicBezTo>
                  <a:cubicBezTo>
                    <a:pt x="568977" y="624276"/>
                    <a:pt x="570590" y="621101"/>
                    <a:pt x="580266" y="616338"/>
                  </a:cubicBezTo>
                  <a:close/>
                  <a:moveTo>
                    <a:pt x="589942" y="592525"/>
                  </a:moveTo>
                  <a:lnTo>
                    <a:pt x="599417" y="597089"/>
                  </a:lnTo>
                  <a:cubicBezTo>
                    <a:pt x="600425" y="598081"/>
                    <a:pt x="600425" y="599669"/>
                    <a:pt x="602844" y="605225"/>
                  </a:cubicBezTo>
                  <a:lnTo>
                    <a:pt x="597426" y="609715"/>
                  </a:lnTo>
                  <a:cubicBezTo>
                    <a:pt x="593571" y="609789"/>
                    <a:pt x="593571" y="598478"/>
                    <a:pt x="589942" y="592525"/>
                  </a:cubicBezTo>
                  <a:close/>
                  <a:moveTo>
                    <a:pt x="483499" y="235374"/>
                  </a:moveTo>
                  <a:cubicBezTo>
                    <a:pt x="488335" y="232147"/>
                    <a:pt x="496372" y="249589"/>
                    <a:pt x="498007" y="262343"/>
                  </a:cubicBezTo>
                  <a:lnTo>
                    <a:pt x="496612" y="281584"/>
                  </a:lnTo>
                  <a:cubicBezTo>
                    <a:pt x="487515" y="281701"/>
                    <a:pt x="478649" y="281924"/>
                    <a:pt x="471855" y="282419"/>
                  </a:cubicBezTo>
                  <a:cubicBezTo>
                    <a:pt x="472068" y="282114"/>
                    <a:pt x="472131" y="281764"/>
                    <a:pt x="472191" y="281398"/>
                  </a:cubicBezTo>
                  <a:cubicBezTo>
                    <a:pt x="473827" y="271871"/>
                    <a:pt x="478663" y="238524"/>
                    <a:pt x="483499" y="235374"/>
                  </a:cubicBezTo>
                  <a:close/>
                  <a:moveTo>
                    <a:pt x="656036" y="216319"/>
                  </a:moveTo>
                  <a:cubicBezTo>
                    <a:pt x="668980" y="219469"/>
                    <a:pt x="704469" y="232147"/>
                    <a:pt x="706033" y="240061"/>
                  </a:cubicBezTo>
                  <a:cubicBezTo>
                    <a:pt x="707669" y="248052"/>
                    <a:pt x="678652" y="259116"/>
                    <a:pt x="670544" y="263880"/>
                  </a:cubicBezTo>
                  <a:cubicBezTo>
                    <a:pt x="662508" y="268644"/>
                    <a:pt x="660872" y="268644"/>
                    <a:pt x="656036" y="271871"/>
                  </a:cubicBezTo>
                  <a:cubicBezTo>
                    <a:pt x="651200" y="275021"/>
                    <a:pt x="639963" y="276635"/>
                    <a:pt x="638327" y="281398"/>
                  </a:cubicBezTo>
                  <a:cubicBezTo>
                    <a:pt x="636691" y="286162"/>
                    <a:pt x="644799" y="295690"/>
                    <a:pt x="643163" y="305217"/>
                  </a:cubicBezTo>
                  <a:cubicBezTo>
                    <a:pt x="641527" y="314745"/>
                    <a:pt x="636691" y="332186"/>
                    <a:pt x="631855" y="340100"/>
                  </a:cubicBezTo>
                  <a:cubicBezTo>
                    <a:pt x="627019" y="348014"/>
                    <a:pt x="620618" y="352778"/>
                    <a:pt x="614146" y="354392"/>
                  </a:cubicBezTo>
                  <a:cubicBezTo>
                    <a:pt x="607674" y="356005"/>
                    <a:pt x="596366" y="340100"/>
                    <a:pt x="594802" y="348014"/>
                  </a:cubicBezTo>
                  <a:cubicBezTo>
                    <a:pt x="593166" y="356005"/>
                    <a:pt x="602838" y="389351"/>
                    <a:pt x="602838" y="400416"/>
                  </a:cubicBezTo>
                  <a:cubicBezTo>
                    <a:pt x="602838" y="411557"/>
                    <a:pt x="596366" y="408407"/>
                    <a:pt x="591530" y="411557"/>
                  </a:cubicBezTo>
                  <a:cubicBezTo>
                    <a:pt x="586694" y="414707"/>
                    <a:pt x="573821" y="419471"/>
                    <a:pt x="570621" y="414707"/>
                  </a:cubicBezTo>
                  <a:cubicBezTo>
                    <a:pt x="567349" y="409943"/>
                    <a:pt x="573821" y="387738"/>
                    <a:pt x="570621" y="382974"/>
                  </a:cubicBezTo>
                  <a:cubicBezTo>
                    <a:pt x="567349" y="378210"/>
                    <a:pt x="556041" y="381361"/>
                    <a:pt x="549640" y="382974"/>
                  </a:cubicBezTo>
                  <a:cubicBezTo>
                    <a:pt x="543169" y="384588"/>
                    <a:pt x="533496" y="397266"/>
                    <a:pt x="530296" y="397266"/>
                  </a:cubicBezTo>
                  <a:cubicBezTo>
                    <a:pt x="527024" y="397266"/>
                    <a:pt x="527024" y="387738"/>
                    <a:pt x="530296" y="381361"/>
                  </a:cubicBezTo>
                  <a:cubicBezTo>
                    <a:pt x="533496" y="375060"/>
                    <a:pt x="544804" y="362306"/>
                    <a:pt x="551205" y="357542"/>
                  </a:cubicBezTo>
                  <a:cubicBezTo>
                    <a:pt x="557677" y="352778"/>
                    <a:pt x="564149" y="352778"/>
                    <a:pt x="567349" y="348014"/>
                  </a:cubicBezTo>
                  <a:cubicBezTo>
                    <a:pt x="570621" y="343250"/>
                    <a:pt x="575457" y="333800"/>
                    <a:pt x="570621" y="329036"/>
                  </a:cubicBezTo>
                  <a:cubicBezTo>
                    <a:pt x="565785" y="324272"/>
                    <a:pt x="548005" y="322659"/>
                    <a:pt x="536697" y="319508"/>
                  </a:cubicBezTo>
                  <a:cubicBezTo>
                    <a:pt x="525460" y="316281"/>
                    <a:pt x="504479" y="319508"/>
                    <a:pt x="498007" y="309981"/>
                  </a:cubicBezTo>
                  <a:cubicBezTo>
                    <a:pt x="494097" y="304225"/>
                    <a:pt x="495509" y="292664"/>
                    <a:pt x="496612" y="281584"/>
                  </a:cubicBezTo>
                  <a:lnTo>
                    <a:pt x="530296" y="281398"/>
                  </a:lnTo>
                  <a:cubicBezTo>
                    <a:pt x="548005" y="281398"/>
                    <a:pt x="564149" y="284549"/>
                    <a:pt x="570621" y="281398"/>
                  </a:cubicBezTo>
                  <a:cubicBezTo>
                    <a:pt x="577022" y="278171"/>
                    <a:pt x="570621" y="268644"/>
                    <a:pt x="570621" y="262343"/>
                  </a:cubicBezTo>
                  <a:cubicBezTo>
                    <a:pt x="570621" y="255966"/>
                    <a:pt x="570621" y="249589"/>
                    <a:pt x="573821" y="244825"/>
                  </a:cubicBezTo>
                  <a:cubicBezTo>
                    <a:pt x="577022" y="240061"/>
                    <a:pt x="580293" y="233761"/>
                    <a:pt x="588330" y="230610"/>
                  </a:cubicBezTo>
                  <a:cubicBezTo>
                    <a:pt x="596366" y="227383"/>
                    <a:pt x="612510" y="222620"/>
                    <a:pt x="623819" y="221083"/>
                  </a:cubicBezTo>
                  <a:cubicBezTo>
                    <a:pt x="635127" y="219469"/>
                    <a:pt x="643163" y="213092"/>
                    <a:pt x="656036" y="216319"/>
                  </a:cubicBezTo>
                  <a:close/>
                  <a:moveTo>
                    <a:pt x="154942" y="0"/>
                  </a:moveTo>
                  <a:cubicBezTo>
                    <a:pt x="155351" y="393"/>
                    <a:pt x="155351" y="1181"/>
                    <a:pt x="157769" y="1949"/>
                  </a:cubicBezTo>
                  <a:lnTo>
                    <a:pt x="178679" y="6713"/>
                  </a:lnTo>
                  <a:cubicBezTo>
                    <a:pt x="185151" y="9940"/>
                    <a:pt x="194823" y="14704"/>
                    <a:pt x="201295" y="19468"/>
                  </a:cubicBezTo>
                  <a:cubicBezTo>
                    <a:pt x="207767" y="24231"/>
                    <a:pt x="210967" y="32146"/>
                    <a:pt x="215803" y="33759"/>
                  </a:cubicBezTo>
                  <a:cubicBezTo>
                    <a:pt x="220639" y="35296"/>
                    <a:pt x="227111" y="32146"/>
                    <a:pt x="235148" y="30532"/>
                  </a:cubicBezTo>
                  <a:cubicBezTo>
                    <a:pt x="243185" y="28995"/>
                    <a:pt x="257693" y="16241"/>
                    <a:pt x="265801" y="21004"/>
                  </a:cubicBezTo>
                  <a:cubicBezTo>
                    <a:pt x="273837" y="25768"/>
                    <a:pt x="280309" y="49587"/>
                    <a:pt x="280309" y="59115"/>
                  </a:cubicBezTo>
                  <a:cubicBezTo>
                    <a:pt x="280309" y="68642"/>
                    <a:pt x="267436" y="70256"/>
                    <a:pt x="264165" y="76556"/>
                  </a:cubicBezTo>
                  <a:cubicBezTo>
                    <a:pt x="260965" y="82933"/>
                    <a:pt x="259329" y="90847"/>
                    <a:pt x="259329" y="97225"/>
                  </a:cubicBezTo>
                  <a:cubicBezTo>
                    <a:pt x="259329" y="103602"/>
                    <a:pt x="270637" y="111516"/>
                    <a:pt x="269001" y="116280"/>
                  </a:cubicBezTo>
                  <a:cubicBezTo>
                    <a:pt x="267436" y="121044"/>
                    <a:pt x="257693" y="121044"/>
                    <a:pt x="254493" y="125807"/>
                  </a:cubicBezTo>
                  <a:cubicBezTo>
                    <a:pt x="251292" y="130571"/>
                    <a:pt x="246456" y="136948"/>
                    <a:pt x="249656" y="144862"/>
                  </a:cubicBezTo>
                  <a:cubicBezTo>
                    <a:pt x="252857" y="152776"/>
                    <a:pt x="262529" y="165454"/>
                    <a:pt x="270637" y="171832"/>
                  </a:cubicBezTo>
                  <a:cubicBezTo>
                    <a:pt x="278673" y="178209"/>
                    <a:pt x="298018" y="176595"/>
                    <a:pt x="299654" y="186123"/>
                  </a:cubicBezTo>
                  <a:cubicBezTo>
                    <a:pt x="301290" y="195650"/>
                    <a:pt x="280309" y="217856"/>
                    <a:pt x="280309" y="225847"/>
                  </a:cubicBezTo>
                  <a:cubicBezTo>
                    <a:pt x="280309" y="233761"/>
                    <a:pt x="293182" y="232147"/>
                    <a:pt x="299654" y="235374"/>
                  </a:cubicBezTo>
                  <a:cubicBezTo>
                    <a:pt x="306126" y="238524"/>
                    <a:pt x="315798" y="243288"/>
                    <a:pt x="322199" y="248052"/>
                  </a:cubicBezTo>
                  <a:cubicBezTo>
                    <a:pt x="328671" y="252816"/>
                    <a:pt x="335143" y="255966"/>
                    <a:pt x="341615" y="259116"/>
                  </a:cubicBezTo>
                  <a:cubicBezTo>
                    <a:pt x="348015" y="262343"/>
                    <a:pt x="357688" y="265493"/>
                    <a:pt x="367360" y="268644"/>
                  </a:cubicBezTo>
                  <a:cubicBezTo>
                    <a:pt x="377032" y="271871"/>
                    <a:pt x="388340" y="279785"/>
                    <a:pt x="396448" y="282935"/>
                  </a:cubicBezTo>
                  <a:cubicBezTo>
                    <a:pt x="404485" y="286162"/>
                    <a:pt x="406120" y="284549"/>
                    <a:pt x="414157" y="286162"/>
                  </a:cubicBezTo>
                  <a:cubicBezTo>
                    <a:pt x="422193" y="287699"/>
                    <a:pt x="441609" y="292463"/>
                    <a:pt x="449646" y="292463"/>
                  </a:cubicBezTo>
                  <a:cubicBezTo>
                    <a:pt x="457682" y="292463"/>
                    <a:pt x="451282" y="284549"/>
                    <a:pt x="464154" y="282935"/>
                  </a:cubicBezTo>
                  <a:cubicBezTo>
                    <a:pt x="466201" y="282691"/>
                    <a:pt x="468820" y="282485"/>
                    <a:pt x="471855" y="282419"/>
                  </a:cubicBezTo>
                  <a:cubicBezTo>
                    <a:pt x="470382" y="290816"/>
                    <a:pt x="467418" y="289616"/>
                    <a:pt x="468990" y="297226"/>
                  </a:cubicBezTo>
                  <a:cubicBezTo>
                    <a:pt x="470626" y="305217"/>
                    <a:pt x="483499" y="319508"/>
                    <a:pt x="483499" y="325809"/>
                  </a:cubicBezTo>
                  <a:cubicBezTo>
                    <a:pt x="483499" y="332186"/>
                    <a:pt x="467355" y="335336"/>
                    <a:pt x="467355" y="338487"/>
                  </a:cubicBezTo>
                  <a:cubicBezTo>
                    <a:pt x="467355" y="341714"/>
                    <a:pt x="481863" y="344864"/>
                    <a:pt x="486699" y="348014"/>
                  </a:cubicBezTo>
                  <a:cubicBezTo>
                    <a:pt x="491535" y="351241"/>
                    <a:pt x="493171" y="352778"/>
                    <a:pt x="493171" y="362306"/>
                  </a:cubicBezTo>
                  <a:cubicBezTo>
                    <a:pt x="493171" y="371833"/>
                    <a:pt x="493171" y="397266"/>
                    <a:pt x="488335" y="405180"/>
                  </a:cubicBezTo>
                  <a:cubicBezTo>
                    <a:pt x="483499" y="413170"/>
                    <a:pt x="465790" y="406793"/>
                    <a:pt x="459318" y="411557"/>
                  </a:cubicBezTo>
                  <a:cubicBezTo>
                    <a:pt x="452846" y="416321"/>
                    <a:pt x="454482" y="432149"/>
                    <a:pt x="448010" y="438526"/>
                  </a:cubicBezTo>
                  <a:cubicBezTo>
                    <a:pt x="441609" y="444903"/>
                    <a:pt x="433502" y="448053"/>
                    <a:pt x="423829" y="454431"/>
                  </a:cubicBezTo>
                  <a:cubicBezTo>
                    <a:pt x="414157" y="460731"/>
                    <a:pt x="393177" y="465495"/>
                    <a:pt x="385140" y="473486"/>
                  </a:cubicBezTo>
                  <a:cubicBezTo>
                    <a:pt x="377032" y="481400"/>
                    <a:pt x="380304" y="492541"/>
                    <a:pt x="372196" y="500455"/>
                  </a:cubicBezTo>
                  <a:cubicBezTo>
                    <a:pt x="364160" y="508369"/>
                    <a:pt x="344815" y="513133"/>
                    <a:pt x="338343" y="521124"/>
                  </a:cubicBezTo>
                  <a:cubicBezTo>
                    <a:pt x="331942" y="529038"/>
                    <a:pt x="336778" y="543329"/>
                    <a:pt x="331942" y="548093"/>
                  </a:cubicBezTo>
                  <a:cubicBezTo>
                    <a:pt x="327106" y="552856"/>
                    <a:pt x="320634" y="544866"/>
                    <a:pt x="312526" y="548093"/>
                  </a:cubicBezTo>
                  <a:cubicBezTo>
                    <a:pt x="304490" y="551243"/>
                    <a:pt x="288346" y="557620"/>
                    <a:pt x="283510" y="567148"/>
                  </a:cubicBezTo>
                  <a:cubicBezTo>
                    <a:pt x="278673" y="576675"/>
                    <a:pt x="283510" y="587740"/>
                    <a:pt x="283510" y="602031"/>
                  </a:cubicBezTo>
                  <a:cubicBezTo>
                    <a:pt x="283510" y="616322"/>
                    <a:pt x="286781" y="636991"/>
                    <a:pt x="283510" y="652819"/>
                  </a:cubicBezTo>
                  <a:cubicBezTo>
                    <a:pt x="280309" y="668724"/>
                    <a:pt x="269001" y="686165"/>
                    <a:pt x="260965" y="700456"/>
                  </a:cubicBezTo>
                  <a:cubicBezTo>
                    <a:pt x="252857" y="714748"/>
                    <a:pt x="244820" y="727426"/>
                    <a:pt x="236784" y="735416"/>
                  </a:cubicBezTo>
                  <a:cubicBezTo>
                    <a:pt x="230703" y="741352"/>
                    <a:pt x="228303" y="756234"/>
                    <a:pt x="220672" y="753936"/>
                  </a:cubicBezTo>
                  <a:lnTo>
                    <a:pt x="210967" y="744944"/>
                  </a:lnTo>
                  <a:cubicBezTo>
                    <a:pt x="194823" y="722662"/>
                    <a:pt x="157769" y="643291"/>
                    <a:pt x="139989" y="597267"/>
                  </a:cubicBezTo>
                  <a:cubicBezTo>
                    <a:pt x="122281" y="551243"/>
                    <a:pt x="112608" y="495691"/>
                    <a:pt x="104501" y="463958"/>
                  </a:cubicBezTo>
                  <a:cubicBezTo>
                    <a:pt x="96464" y="432149"/>
                    <a:pt x="101300" y="414707"/>
                    <a:pt x="94828" y="409943"/>
                  </a:cubicBezTo>
                  <a:cubicBezTo>
                    <a:pt x="88427" y="405180"/>
                    <a:pt x="77119" y="436912"/>
                    <a:pt x="65811" y="438526"/>
                  </a:cubicBezTo>
                  <a:cubicBezTo>
                    <a:pt x="54503" y="440139"/>
                    <a:pt x="28758" y="425848"/>
                    <a:pt x="22286" y="419471"/>
                  </a:cubicBezTo>
                  <a:cubicBezTo>
                    <a:pt x="15814" y="413170"/>
                    <a:pt x="17450" y="402029"/>
                    <a:pt x="22286" y="397266"/>
                  </a:cubicBezTo>
                  <a:cubicBezTo>
                    <a:pt x="27122" y="392502"/>
                    <a:pt x="54503" y="389351"/>
                    <a:pt x="51303" y="387738"/>
                  </a:cubicBezTo>
                  <a:cubicBezTo>
                    <a:pt x="48102" y="386124"/>
                    <a:pt x="12614" y="387738"/>
                    <a:pt x="4506" y="382974"/>
                  </a:cubicBezTo>
                  <a:cubicBezTo>
                    <a:pt x="-3531" y="378210"/>
                    <a:pt x="1306" y="367069"/>
                    <a:pt x="2941" y="362306"/>
                  </a:cubicBezTo>
                  <a:lnTo>
                    <a:pt x="19014" y="349628"/>
                  </a:lnTo>
                  <a:cubicBezTo>
                    <a:pt x="27122" y="348014"/>
                    <a:pt x="44831" y="351241"/>
                    <a:pt x="52939" y="349628"/>
                  </a:cubicBezTo>
                  <a:cubicBezTo>
                    <a:pt x="60975" y="348014"/>
                    <a:pt x="64176" y="343250"/>
                    <a:pt x="65811" y="338487"/>
                  </a:cubicBezTo>
                  <a:lnTo>
                    <a:pt x="65811" y="319508"/>
                  </a:lnTo>
                  <a:cubicBezTo>
                    <a:pt x="64176" y="314745"/>
                    <a:pt x="54503" y="316281"/>
                    <a:pt x="51303" y="311518"/>
                  </a:cubicBezTo>
                  <a:cubicBezTo>
                    <a:pt x="48102" y="306754"/>
                    <a:pt x="46467" y="294076"/>
                    <a:pt x="41631" y="287699"/>
                  </a:cubicBezTo>
                  <a:cubicBezTo>
                    <a:pt x="36794" y="281398"/>
                    <a:pt x="20650" y="273407"/>
                    <a:pt x="22286" y="268644"/>
                  </a:cubicBezTo>
                  <a:cubicBezTo>
                    <a:pt x="23851" y="263880"/>
                    <a:pt x="46467" y="259116"/>
                    <a:pt x="56139" y="257579"/>
                  </a:cubicBezTo>
                  <a:cubicBezTo>
                    <a:pt x="65811" y="255966"/>
                    <a:pt x="77119" y="263880"/>
                    <a:pt x="85156" y="257579"/>
                  </a:cubicBezTo>
                  <a:cubicBezTo>
                    <a:pt x="93264" y="251202"/>
                    <a:pt x="89992" y="233761"/>
                    <a:pt x="99664" y="221083"/>
                  </a:cubicBezTo>
                  <a:cubicBezTo>
                    <a:pt x="109337" y="208328"/>
                    <a:pt x="133518" y="192500"/>
                    <a:pt x="143190" y="178209"/>
                  </a:cubicBezTo>
                  <a:cubicBezTo>
                    <a:pt x="152933" y="163918"/>
                    <a:pt x="164170" y="141712"/>
                    <a:pt x="162606" y="130571"/>
                  </a:cubicBezTo>
                  <a:cubicBezTo>
                    <a:pt x="160970" y="119430"/>
                    <a:pt x="136789" y="124194"/>
                    <a:pt x="130317" y="114666"/>
                  </a:cubicBezTo>
                  <a:cubicBezTo>
                    <a:pt x="123845" y="105139"/>
                    <a:pt x="123845" y="82933"/>
                    <a:pt x="122281" y="76556"/>
                  </a:cubicBezTo>
                  <a:cubicBezTo>
                    <a:pt x="121076" y="71917"/>
                    <a:pt x="117250" y="74110"/>
                    <a:pt x="115809" y="73406"/>
                  </a:cubicBezTo>
                  <a:cubicBezTo>
                    <a:pt x="117444" y="70256"/>
                    <a:pt x="127117" y="57501"/>
                    <a:pt x="128681" y="52737"/>
                  </a:cubicBezTo>
                  <a:cubicBezTo>
                    <a:pt x="130317" y="47974"/>
                    <a:pt x="128681" y="46437"/>
                    <a:pt x="123845" y="43287"/>
                  </a:cubicBezTo>
                  <a:cubicBezTo>
                    <a:pt x="119009" y="40060"/>
                    <a:pt x="102936" y="33759"/>
                    <a:pt x="99664" y="28995"/>
                  </a:cubicBezTo>
                  <a:cubicBezTo>
                    <a:pt x="96464" y="24231"/>
                    <a:pt x="99664" y="14704"/>
                    <a:pt x="104501" y="9940"/>
                  </a:cubicBezTo>
                  <a:cubicBezTo>
                    <a:pt x="109337" y="5176"/>
                    <a:pt x="125481" y="3563"/>
                    <a:pt x="128681" y="1949"/>
                  </a:cubicBezTo>
                  <a:lnTo>
                    <a:pt x="125706" y="4890"/>
                  </a:lnTo>
                  <a:lnTo>
                    <a:pt x="106136" y="9940"/>
                  </a:lnTo>
                  <a:cubicBezTo>
                    <a:pt x="99664" y="13090"/>
                    <a:pt x="106136" y="21004"/>
                    <a:pt x="106136" y="24231"/>
                  </a:cubicBezTo>
                  <a:lnTo>
                    <a:pt x="125706" y="4890"/>
                  </a:lnTo>
                  <a:cubicBezTo>
                    <a:pt x="135262" y="2946"/>
                    <a:pt x="145405" y="1227"/>
                    <a:pt x="149662" y="4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2" name="Freeform 147"/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6803332" y="3775626"/>
              <a:ext cx="205720" cy="370922"/>
            </a:xfrm>
            <a:custGeom>
              <a:avLst/>
              <a:gdLst>
                <a:gd name="T0" fmla="*/ 65 w 125"/>
                <a:gd name="T1" fmla="*/ 217 h 229"/>
                <a:gd name="T2" fmla="*/ 50 w 125"/>
                <a:gd name="T3" fmla="*/ 208 h 229"/>
                <a:gd name="T4" fmla="*/ 46 w 125"/>
                <a:gd name="T5" fmla="*/ 192 h 229"/>
                <a:gd name="T6" fmla="*/ 43 w 125"/>
                <a:gd name="T7" fmla="*/ 180 h 229"/>
                <a:gd name="T8" fmla="*/ 46 w 125"/>
                <a:gd name="T9" fmla="*/ 168 h 229"/>
                <a:gd name="T10" fmla="*/ 34 w 125"/>
                <a:gd name="T11" fmla="*/ 171 h 229"/>
                <a:gd name="T12" fmla="*/ 28 w 125"/>
                <a:gd name="T13" fmla="*/ 157 h 229"/>
                <a:gd name="T14" fmla="*/ 41 w 125"/>
                <a:gd name="T15" fmla="*/ 142 h 229"/>
                <a:gd name="T16" fmla="*/ 43 w 125"/>
                <a:gd name="T17" fmla="*/ 127 h 229"/>
                <a:gd name="T18" fmla="*/ 44 w 125"/>
                <a:gd name="T19" fmla="*/ 112 h 229"/>
                <a:gd name="T20" fmla="*/ 53 w 125"/>
                <a:gd name="T21" fmla="*/ 108 h 229"/>
                <a:gd name="T22" fmla="*/ 58 w 125"/>
                <a:gd name="T23" fmla="*/ 124 h 229"/>
                <a:gd name="T24" fmla="*/ 71 w 125"/>
                <a:gd name="T25" fmla="*/ 126 h 229"/>
                <a:gd name="T26" fmla="*/ 82 w 125"/>
                <a:gd name="T27" fmla="*/ 139 h 229"/>
                <a:gd name="T28" fmla="*/ 91 w 125"/>
                <a:gd name="T29" fmla="*/ 153 h 229"/>
                <a:gd name="T30" fmla="*/ 101 w 125"/>
                <a:gd name="T31" fmla="*/ 157 h 229"/>
                <a:gd name="T32" fmla="*/ 112 w 125"/>
                <a:gd name="T33" fmla="*/ 159 h 229"/>
                <a:gd name="T34" fmla="*/ 100 w 125"/>
                <a:gd name="T35" fmla="*/ 147 h 229"/>
                <a:gd name="T36" fmla="*/ 83 w 125"/>
                <a:gd name="T37" fmla="*/ 126 h 229"/>
                <a:gd name="T38" fmla="*/ 83 w 125"/>
                <a:gd name="T39" fmla="*/ 100 h 229"/>
                <a:gd name="T40" fmla="*/ 106 w 125"/>
                <a:gd name="T41" fmla="*/ 99 h 229"/>
                <a:gd name="T42" fmla="*/ 122 w 125"/>
                <a:gd name="T43" fmla="*/ 94 h 229"/>
                <a:gd name="T44" fmla="*/ 124 w 125"/>
                <a:gd name="T45" fmla="*/ 73 h 229"/>
                <a:gd name="T46" fmla="*/ 113 w 125"/>
                <a:gd name="T47" fmla="*/ 63 h 229"/>
                <a:gd name="T48" fmla="*/ 115 w 125"/>
                <a:gd name="T49" fmla="*/ 46 h 229"/>
                <a:gd name="T50" fmla="*/ 97 w 125"/>
                <a:gd name="T51" fmla="*/ 33 h 229"/>
                <a:gd name="T52" fmla="*/ 83 w 125"/>
                <a:gd name="T53" fmla="*/ 39 h 229"/>
                <a:gd name="T54" fmla="*/ 68 w 125"/>
                <a:gd name="T55" fmla="*/ 36 h 229"/>
                <a:gd name="T56" fmla="*/ 58 w 125"/>
                <a:gd name="T57" fmla="*/ 46 h 229"/>
                <a:gd name="T58" fmla="*/ 62 w 125"/>
                <a:gd name="T59" fmla="*/ 19 h 229"/>
                <a:gd name="T60" fmla="*/ 50 w 125"/>
                <a:gd name="T61" fmla="*/ 9 h 229"/>
                <a:gd name="T62" fmla="*/ 43 w 125"/>
                <a:gd name="T63" fmla="*/ 0 h 229"/>
                <a:gd name="T64" fmla="*/ 17 w 125"/>
                <a:gd name="T65" fmla="*/ 7 h 229"/>
                <a:gd name="T66" fmla="*/ 5 w 125"/>
                <a:gd name="T67" fmla="*/ 18 h 229"/>
                <a:gd name="T68" fmla="*/ 5 w 125"/>
                <a:gd name="T69" fmla="*/ 37 h 229"/>
                <a:gd name="T70" fmla="*/ 17 w 125"/>
                <a:gd name="T71" fmla="*/ 57 h 229"/>
                <a:gd name="T72" fmla="*/ 16 w 125"/>
                <a:gd name="T73" fmla="*/ 73 h 229"/>
                <a:gd name="T74" fmla="*/ 3 w 125"/>
                <a:gd name="T75" fmla="*/ 63 h 229"/>
                <a:gd name="T76" fmla="*/ 1 w 125"/>
                <a:gd name="T77" fmla="*/ 57 h 229"/>
                <a:gd name="T78" fmla="*/ 7 w 125"/>
                <a:gd name="T79" fmla="*/ 90 h 229"/>
                <a:gd name="T80" fmla="*/ 8 w 125"/>
                <a:gd name="T81" fmla="*/ 100 h 229"/>
                <a:gd name="T82" fmla="*/ 17 w 125"/>
                <a:gd name="T83" fmla="*/ 111 h 229"/>
                <a:gd name="T84" fmla="*/ 5 w 125"/>
                <a:gd name="T85" fmla="*/ 117 h 229"/>
                <a:gd name="T86" fmla="*/ 2 w 125"/>
                <a:gd name="T87" fmla="*/ 124 h 229"/>
                <a:gd name="T88" fmla="*/ 14 w 125"/>
                <a:gd name="T89" fmla="*/ 150 h 229"/>
                <a:gd name="T90" fmla="*/ 14 w 125"/>
                <a:gd name="T91" fmla="*/ 163 h 229"/>
                <a:gd name="T92" fmla="*/ 25 w 125"/>
                <a:gd name="T93" fmla="*/ 192 h 229"/>
                <a:gd name="T94" fmla="*/ 38 w 125"/>
                <a:gd name="T95" fmla="*/ 213 h 229"/>
                <a:gd name="T96" fmla="*/ 58 w 125"/>
                <a:gd name="T97" fmla="*/ 229 h 229"/>
                <a:gd name="T98" fmla="*/ 65 w 125"/>
                <a:gd name="T99" fmla="*/ 21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5" h="229">
                  <a:moveTo>
                    <a:pt x="65" y="217"/>
                  </a:moveTo>
                  <a:cubicBezTo>
                    <a:pt x="64" y="214"/>
                    <a:pt x="53" y="212"/>
                    <a:pt x="50" y="208"/>
                  </a:cubicBezTo>
                  <a:cubicBezTo>
                    <a:pt x="47" y="204"/>
                    <a:pt x="47" y="197"/>
                    <a:pt x="46" y="192"/>
                  </a:cubicBezTo>
                  <a:cubicBezTo>
                    <a:pt x="45" y="187"/>
                    <a:pt x="43" y="184"/>
                    <a:pt x="43" y="180"/>
                  </a:cubicBezTo>
                  <a:cubicBezTo>
                    <a:pt x="43" y="176"/>
                    <a:pt x="47" y="169"/>
                    <a:pt x="46" y="168"/>
                  </a:cubicBezTo>
                  <a:cubicBezTo>
                    <a:pt x="45" y="167"/>
                    <a:pt x="37" y="173"/>
                    <a:pt x="34" y="171"/>
                  </a:cubicBezTo>
                  <a:cubicBezTo>
                    <a:pt x="31" y="169"/>
                    <a:pt x="27" y="162"/>
                    <a:pt x="28" y="157"/>
                  </a:cubicBezTo>
                  <a:cubicBezTo>
                    <a:pt x="29" y="152"/>
                    <a:pt x="39" y="147"/>
                    <a:pt x="41" y="142"/>
                  </a:cubicBezTo>
                  <a:cubicBezTo>
                    <a:pt x="43" y="137"/>
                    <a:pt x="43" y="132"/>
                    <a:pt x="43" y="127"/>
                  </a:cubicBezTo>
                  <a:cubicBezTo>
                    <a:pt x="43" y="122"/>
                    <a:pt x="42" y="115"/>
                    <a:pt x="44" y="112"/>
                  </a:cubicBezTo>
                  <a:cubicBezTo>
                    <a:pt x="46" y="109"/>
                    <a:pt x="51" y="106"/>
                    <a:pt x="53" y="108"/>
                  </a:cubicBezTo>
                  <a:cubicBezTo>
                    <a:pt x="55" y="110"/>
                    <a:pt x="55" y="121"/>
                    <a:pt x="58" y="124"/>
                  </a:cubicBezTo>
                  <a:cubicBezTo>
                    <a:pt x="61" y="127"/>
                    <a:pt x="67" y="124"/>
                    <a:pt x="71" y="126"/>
                  </a:cubicBezTo>
                  <a:cubicBezTo>
                    <a:pt x="75" y="128"/>
                    <a:pt x="79" y="134"/>
                    <a:pt x="82" y="139"/>
                  </a:cubicBezTo>
                  <a:cubicBezTo>
                    <a:pt x="85" y="144"/>
                    <a:pt x="88" y="150"/>
                    <a:pt x="91" y="153"/>
                  </a:cubicBezTo>
                  <a:cubicBezTo>
                    <a:pt x="94" y="156"/>
                    <a:pt x="97" y="156"/>
                    <a:pt x="101" y="157"/>
                  </a:cubicBezTo>
                  <a:cubicBezTo>
                    <a:pt x="105" y="158"/>
                    <a:pt x="112" y="161"/>
                    <a:pt x="112" y="159"/>
                  </a:cubicBezTo>
                  <a:cubicBezTo>
                    <a:pt x="112" y="157"/>
                    <a:pt x="105" y="152"/>
                    <a:pt x="100" y="147"/>
                  </a:cubicBezTo>
                  <a:cubicBezTo>
                    <a:pt x="95" y="142"/>
                    <a:pt x="86" y="134"/>
                    <a:pt x="83" y="126"/>
                  </a:cubicBezTo>
                  <a:cubicBezTo>
                    <a:pt x="80" y="118"/>
                    <a:pt x="79" y="104"/>
                    <a:pt x="83" y="100"/>
                  </a:cubicBezTo>
                  <a:cubicBezTo>
                    <a:pt x="87" y="96"/>
                    <a:pt x="100" y="100"/>
                    <a:pt x="106" y="99"/>
                  </a:cubicBezTo>
                  <a:cubicBezTo>
                    <a:pt x="112" y="98"/>
                    <a:pt x="119" y="98"/>
                    <a:pt x="122" y="94"/>
                  </a:cubicBezTo>
                  <a:cubicBezTo>
                    <a:pt x="125" y="90"/>
                    <a:pt x="125" y="78"/>
                    <a:pt x="124" y="73"/>
                  </a:cubicBezTo>
                  <a:cubicBezTo>
                    <a:pt x="123" y="68"/>
                    <a:pt x="114" y="67"/>
                    <a:pt x="113" y="63"/>
                  </a:cubicBezTo>
                  <a:cubicBezTo>
                    <a:pt x="112" y="59"/>
                    <a:pt x="118" y="51"/>
                    <a:pt x="115" y="46"/>
                  </a:cubicBezTo>
                  <a:cubicBezTo>
                    <a:pt x="112" y="41"/>
                    <a:pt x="102" y="34"/>
                    <a:pt x="97" y="33"/>
                  </a:cubicBezTo>
                  <a:cubicBezTo>
                    <a:pt x="92" y="32"/>
                    <a:pt x="88" y="39"/>
                    <a:pt x="83" y="39"/>
                  </a:cubicBezTo>
                  <a:cubicBezTo>
                    <a:pt x="78" y="39"/>
                    <a:pt x="72" y="35"/>
                    <a:pt x="68" y="36"/>
                  </a:cubicBezTo>
                  <a:cubicBezTo>
                    <a:pt x="64" y="37"/>
                    <a:pt x="59" y="49"/>
                    <a:pt x="58" y="46"/>
                  </a:cubicBezTo>
                  <a:cubicBezTo>
                    <a:pt x="57" y="43"/>
                    <a:pt x="63" y="25"/>
                    <a:pt x="62" y="19"/>
                  </a:cubicBezTo>
                  <a:cubicBezTo>
                    <a:pt x="61" y="13"/>
                    <a:pt x="53" y="12"/>
                    <a:pt x="50" y="9"/>
                  </a:cubicBezTo>
                  <a:cubicBezTo>
                    <a:pt x="47" y="6"/>
                    <a:pt x="48" y="0"/>
                    <a:pt x="43" y="0"/>
                  </a:cubicBezTo>
                  <a:cubicBezTo>
                    <a:pt x="38" y="0"/>
                    <a:pt x="23" y="4"/>
                    <a:pt x="17" y="7"/>
                  </a:cubicBezTo>
                  <a:cubicBezTo>
                    <a:pt x="11" y="10"/>
                    <a:pt x="7" y="13"/>
                    <a:pt x="5" y="18"/>
                  </a:cubicBezTo>
                  <a:cubicBezTo>
                    <a:pt x="3" y="23"/>
                    <a:pt x="3" y="30"/>
                    <a:pt x="5" y="37"/>
                  </a:cubicBezTo>
                  <a:cubicBezTo>
                    <a:pt x="7" y="44"/>
                    <a:pt x="15" y="51"/>
                    <a:pt x="17" y="57"/>
                  </a:cubicBezTo>
                  <a:cubicBezTo>
                    <a:pt x="19" y="63"/>
                    <a:pt x="18" y="72"/>
                    <a:pt x="16" y="73"/>
                  </a:cubicBezTo>
                  <a:cubicBezTo>
                    <a:pt x="14" y="74"/>
                    <a:pt x="5" y="66"/>
                    <a:pt x="3" y="63"/>
                  </a:cubicBezTo>
                  <a:cubicBezTo>
                    <a:pt x="1" y="60"/>
                    <a:pt x="0" y="53"/>
                    <a:pt x="1" y="57"/>
                  </a:cubicBezTo>
                  <a:cubicBezTo>
                    <a:pt x="2" y="61"/>
                    <a:pt x="6" y="83"/>
                    <a:pt x="7" y="90"/>
                  </a:cubicBezTo>
                  <a:cubicBezTo>
                    <a:pt x="8" y="97"/>
                    <a:pt x="6" y="97"/>
                    <a:pt x="8" y="100"/>
                  </a:cubicBezTo>
                  <a:cubicBezTo>
                    <a:pt x="10" y="103"/>
                    <a:pt x="17" y="108"/>
                    <a:pt x="17" y="111"/>
                  </a:cubicBezTo>
                  <a:cubicBezTo>
                    <a:pt x="17" y="114"/>
                    <a:pt x="7" y="115"/>
                    <a:pt x="5" y="117"/>
                  </a:cubicBezTo>
                  <a:cubicBezTo>
                    <a:pt x="3" y="119"/>
                    <a:pt x="1" y="119"/>
                    <a:pt x="2" y="124"/>
                  </a:cubicBezTo>
                  <a:cubicBezTo>
                    <a:pt x="3" y="129"/>
                    <a:pt x="12" y="144"/>
                    <a:pt x="14" y="150"/>
                  </a:cubicBezTo>
                  <a:cubicBezTo>
                    <a:pt x="16" y="156"/>
                    <a:pt x="12" y="156"/>
                    <a:pt x="14" y="163"/>
                  </a:cubicBezTo>
                  <a:cubicBezTo>
                    <a:pt x="16" y="170"/>
                    <a:pt x="21" y="184"/>
                    <a:pt x="25" y="192"/>
                  </a:cubicBezTo>
                  <a:cubicBezTo>
                    <a:pt x="29" y="200"/>
                    <a:pt x="33" y="207"/>
                    <a:pt x="38" y="213"/>
                  </a:cubicBezTo>
                  <a:cubicBezTo>
                    <a:pt x="43" y="219"/>
                    <a:pt x="53" y="229"/>
                    <a:pt x="58" y="229"/>
                  </a:cubicBezTo>
                  <a:cubicBezTo>
                    <a:pt x="63" y="229"/>
                    <a:pt x="66" y="220"/>
                    <a:pt x="65" y="2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3" name="Freeform 148"/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6928059" y="3696258"/>
              <a:ext cx="179803" cy="380641"/>
            </a:xfrm>
            <a:custGeom>
              <a:avLst/>
              <a:gdLst>
                <a:gd name="T0" fmla="*/ 33 w 109"/>
                <a:gd name="T1" fmla="*/ 202 h 235"/>
                <a:gd name="T2" fmla="*/ 49 w 109"/>
                <a:gd name="T3" fmla="*/ 187 h 235"/>
                <a:gd name="T4" fmla="*/ 75 w 109"/>
                <a:gd name="T5" fmla="*/ 176 h 235"/>
                <a:gd name="T6" fmla="*/ 75 w 109"/>
                <a:gd name="T7" fmla="*/ 148 h 235"/>
                <a:gd name="T8" fmla="*/ 54 w 109"/>
                <a:gd name="T9" fmla="*/ 143 h 235"/>
                <a:gd name="T10" fmla="*/ 76 w 109"/>
                <a:gd name="T11" fmla="*/ 139 h 235"/>
                <a:gd name="T12" fmla="*/ 64 w 109"/>
                <a:gd name="T13" fmla="*/ 110 h 235"/>
                <a:gd name="T14" fmla="*/ 45 w 109"/>
                <a:gd name="T15" fmla="*/ 86 h 235"/>
                <a:gd name="T16" fmla="*/ 25 w 109"/>
                <a:gd name="T17" fmla="*/ 70 h 235"/>
                <a:gd name="T18" fmla="*/ 39 w 109"/>
                <a:gd name="T19" fmla="*/ 53 h 235"/>
                <a:gd name="T20" fmla="*/ 27 w 109"/>
                <a:gd name="T21" fmla="*/ 45 h 235"/>
                <a:gd name="T22" fmla="*/ 20 w 109"/>
                <a:gd name="T23" fmla="*/ 38 h 235"/>
                <a:gd name="T24" fmla="*/ 6 w 109"/>
                <a:gd name="T25" fmla="*/ 28 h 235"/>
                <a:gd name="T26" fmla="*/ 0 w 109"/>
                <a:gd name="T27" fmla="*/ 16 h 235"/>
                <a:gd name="T28" fmla="*/ 6 w 109"/>
                <a:gd name="T29" fmla="*/ 7 h 235"/>
                <a:gd name="T30" fmla="*/ 19 w 109"/>
                <a:gd name="T31" fmla="*/ 16 h 235"/>
                <a:gd name="T32" fmla="*/ 34 w 109"/>
                <a:gd name="T33" fmla="*/ 10 h 235"/>
                <a:gd name="T34" fmla="*/ 45 w 109"/>
                <a:gd name="T35" fmla="*/ 4 h 235"/>
                <a:gd name="T36" fmla="*/ 81 w 109"/>
                <a:gd name="T37" fmla="*/ 32 h 235"/>
                <a:gd name="T38" fmla="*/ 63 w 109"/>
                <a:gd name="T39" fmla="*/ 49 h 235"/>
                <a:gd name="T40" fmla="*/ 51 w 109"/>
                <a:gd name="T41" fmla="*/ 65 h 235"/>
                <a:gd name="T42" fmla="*/ 55 w 109"/>
                <a:gd name="T43" fmla="*/ 82 h 235"/>
                <a:gd name="T44" fmla="*/ 79 w 109"/>
                <a:gd name="T45" fmla="*/ 110 h 235"/>
                <a:gd name="T46" fmla="*/ 94 w 109"/>
                <a:gd name="T47" fmla="*/ 130 h 235"/>
                <a:gd name="T48" fmla="*/ 105 w 109"/>
                <a:gd name="T49" fmla="*/ 154 h 235"/>
                <a:gd name="T50" fmla="*/ 105 w 109"/>
                <a:gd name="T51" fmla="*/ 193 h 235"/>
                <a:gd name="T52" fmla="*/ 81 w 109"/>
                <a:gd name="T53" fmla="*/ 197 h 235"/>
                <a:gd name="T54" fmla="*/ 64 w 109"/>
                <a:gd name="T55" fmla="*/ 209 h 235"/>
                <a:gd name="T56" fmla="*/ 61 w 109"/>
                <a:gd name="T57" fmla="*/ 221 h 235"/>
                <a:gd name="T58" fmla="*/ 43 w 109"/>
                <a:gd name="T59" fmla="*/ 235 h 235"/>
                <a:gd name="T60" fmla="*/ 36 w 109"/>
                <a:gd name="T61" fmla="*/ 220 h 235"/>
                <a:gd name="T62" fmla="*/ 33 w 109"/>
                <a:gd name="T63" fmla="*/ 20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" h="235">
                  <a:moveTo>
                    <a:pt x="33" y="202"/>
                  </a:moveTo>
                  <a:cubicBezTo>
                    <a:pt x="35" y="197"/>
                    <a:pt x="42" y="191"/>
                    <a:pt x="49" y="187"/>
                  </a:cubicBezTo>
                  <a:cubicBezTo>
                    <a:pt x="56" y="183"/>
                    <a:pt x="71" y="182"/>
                    <a:pt x="75" y="176"/>
                  </a:cubicBezTo>
                  <a:cubicBezTo>
                    <a:pt x="79" y="170"/>
                    <a:pt x="78" y="153"/>
                    <a:pt x="75" y="148"/>
                  </a:cubicBezTo>
                  <a:cubicBezTo>
                    <a:pt x="72" y="143"/>
                    <a:pt x="54" y="144"/>
                    <a:pt x="54" y="143"/>
                  </a:cubicBezTo>
                  <a:cubicBezTo>
                    <a:pt x="54" y="142"/>
                    <a:pt x="74" y="144"/>
                    <a:pt x="76" y="139"/>
                  </a:cubicBezTo>
                  <a:cubicBezTo>
                    <a:pt x="78" y="134"/>
                    <a:pt x="69" y="119"/>
                    <a:pt x="64" y="110"/>
                  </a:cubicBezTo>
                  <a:cubicBezTo>
                    <a:pt x="59" y="101"/>
                    <a:pt x="51" y="93"/>
                    <a:pt x="45" y="86"/>
                  </a:cubicBezTo>
                  <a:cubicBezTo>
                    <a:pt x="39" y="79"/>
                    <a:pt x="26" y="75"/>
                    <a:pt x="25" y="70"/>
                  </a:cubicBezTo>
                  <a:cubicBezTo>
                    <a:pt x="24" y="65"/>
                    <a:pt x="39" y="57"/>
                    <a:pt x="39" y="53"/>
                  </a:cubicBezTo>
                  <a:cubicBezTo>
                    <a:pt x="39" y="49"/>
                    <a:pt x="30" y="47"/>
                    <a:pt x="27" y="45"/>
                  </a:cubicBezTo>
                  <a:cubicBezTo>
                    <a:pt x="24" y="43"/>
                    <a:pt x="23" y="41"/>
                    <a:pt x="20" y="38"/>
                  </a:cubicBezTo>
                  <a:cubicBezTo>
                    <a:pt x="17" y="35"/>
                    <a:pt x="9" y="32"/>
                    <a:pt x="6" y="28"/>
                  </a:cubicBezTo>
                  <a:cubicBezTo>
                    <a:pt x="3" y="24"/>
                    <a:pt x="0" y="19"/>
                    <a:pt x="0" y="16"/>
                  </a:cubicBezTo>
                  <a:cubicBezTo>
                    <a:pt x="0" y="13"/>
                    <a:pt x="3" y="7"/>
                    <a:pt x="6" y="7"/>
                  </a:cubicBezTo>
                  <a:cubicBezTo>
                    <a:pt x="9" y="7"/>
                    <a:pt x="14" y="15"/>
                    <a:pt x="19" y="16"/>
                  </a:cubicBezTo>
                  <a:cubicBezTo>
                    <a:pt x="24" y="17"/>
                    <a:pt x="30" y="12"/>
                    <a:pt x="34" y="10"/>
                  </a:cubicBezTo>
                  <a:cubicBezTo>
                    <a:pt x="38" y="8"/>
                    <a:pt x="37" y="0"/>
                    <a:pt x="45" y="4"/>
                  </a:cubicBezTo>
                  <a:cubicBezTo>
                    <a:pt x="53" y="8"/>
                    <a:pt x="78" y="25"/>
                    <a:pt x="81" y="32"/>
                  </a:cubicBezTo>
                  <a:cubicBezTo>
                    <a:pt x="84" y="39"/>
                    <a:pt x="68" y="43"/>
                    <a:pt x="63" y="49"/>
                  </a:cubicBezTo>
                  <a:cubicBezTo>
                    <a:pt x="58" y="55"/>
                    <a:pt x="52" y="60"/>
                    <a:pt x="51" y="65"/>
                  </a:cubicBezTo>
                  <a:cubicBezTo>
                    <a:pt x="50" y="70"/>
                    <a:pt x="50" y="75"/>
                    <a:pt x="55" y="82"/>
                  </a:cubicBezTo>
                  <a:cubicBezTo>
                    <a:pt x="60" y="89"/>
                    <a:pt x="72" y="102"/>
                    <a:pt x="79" y="110"/>
                  </a:cubicBezTo>
                  <a:cubicBezTo>
                    <a:pt x="86" y="118"/>
                    <a:pt x="90" y="123"/>
                    <a:pt x="94" y="130"/>
                  </a:cubicBezTo>
                  <a:cubicBezTo>
                    <a:pt x="98" y="137"/>
                    <a:pt x="103" y="144"/>
                    <a:pt x="105" y="154"/>
                  </a:cubicBezTo>
                  <a:cubicBezTo>
                    <a:pt x="107" y="164"/>
                    <a:pt x="109" y="186"/>
                    <a:pt x="105" y="193"/>
                  </a:cubicBezTo>
                  <a:cubicBezTo>
                    <a:pt x="101" y="200"/>
                    <a:pt x="88" y="194"/>
                    <a:pt x="81" y="197"/>
                  </a:cubicBezTo>
                  <a:cubicBezTo>
                    <a:pt x="74" y="200"/>
                    <a:pt x="67" y="205"/>
                    <a:pt x="64" y="209"/>
                  </a:cubicBezTo>
                  <a:cubicBezTo>
                    <a:pt x="61" y="213"/>
                    <a:pt x="65" y="217"/>
                    <a:pt x="61" y="221"/>
                  </a:cubicBezTo>
                  <a:cubicBezTo>
                    <a:pt x="57" y="225"/>
                    <a:pt x="47" y="235"/>
                    <a:pt x="43" y="235"/>
                  </a:cubicBezTo>
                  <a:cubicBezTo>
                    <a:pt x="39" y="235"/>
                    <a:pt x="37" y="225"/>
                    <a:pt x="36" y="220"/>
                  </a:cubicBezTo>
                  <a:cubicBezTo>
                    <a:pt x="35" y="215"/>
                    <a:pt x="31" y="207"/>
                    <a:pt x="33" y="20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4" name="Freeform 154"/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8487966" y="5189663"/>
              <a:ext cx="296431" cy="422754"/>
            </a:xfrm>
            <a:custGeom>
              <a:avLst/>
              <a:gdLst>
                <a:gd name="T0" fmla="*/ 36 w 180"/>
                <a:gd name="T1" fmla="*/ 244 h 261"/>
                <a:gd name="T2" fmla="*/ 55 w 180"/>
                <a:gd name="T3" fmla="*/ 237 h 261"/>
                <a:gd name="T4" fmla="*/ 66 w 180"/>
                <a:gd name="T5" fmla="*/ 214 h 261"/>
                <a:gd name="T6" fmla="*/ 81 w 180"/>
                <a:gd name="T7" fmla="*/ 198 h 261"/>
                <a:gd name="T8" fmla="*/ 85 w 180"/>
                <a:gd name="T9" fmla="*/ 186 h 261"/>
                <a:gd name="T10" fmla="*/ 108 w 180"/>
                <a:gd name="T11" fmla="*/ 186 h 261"/>
                <a:gd name="T12" fmla="*/ 96 w 180"/>
                <a:gd name="T13" fmla="*/ 172 h 261"/>
                <a:gd name="T14" fmla="*/ 105 w 180"/>
                <a:gd name="T15" fmla="*/ 156 h 261"/>
                <a:gd name="T16" fmla="*/ 121 w 180"/>
                <a:gd name="T17" fmla="*/ 136 h 261"/>
                <a:gd name="T18" fmla="*/ 129 w 180"/>
                <a:gd name="T19" fmla="*/ 129 h 261"/>
                <a:gd name="T20" fmla="*/ 142 w 180"/>
                <a:gd name="T21" fmla="*/ 135 h 261"/>
                <a:gd name="T22" fmla="*/ 156 w 180"/>
                <a:gd name="T23" fmla="*/ 108 h 261"/>
                <a:gd name="T24" fmla="*/ 162 w 180"/>
                <a:gd name="T25" fmla="*/ 97 h 261"/>
                <a:gd name="T26" fmla="*/ 175 w 180"/>
                <a:gd name="T27" fmla="*/ 82 h 261"/>
                <a:gd name="T28" fmla="*/ 178 w 180"/>
                <a:gd name="T29" fmla="*/ 64 h 261"/>
                <a:gd name="T30" fmla="*/ 162 w 180"/>
                <a:gd name="T31" fmla="*/ 69 h 261"/>
                <a:gd name="T32" fmla="*/ 147 w 180"/>
                <a:gd name="T33" fmla="*/ 60 h 261"/>
                <a:gd name="T34" fmla="*/ 144 w 180"/>
                <a:gd name="T35" fmla="*/ 34 h 261"/>
                <a:gd name="T36" fmla="*/ 135 w 180"/>
                <a:gd name="T37" fmla="*/ 27 h 261"/>
                <a:gd name="T38" fmla="*/ 124 w 180"/>
                <a:gd name="T39" fmla="*/ 19 h 261"/>
                <a:gd name="T40" fmla="*/ 112 w 180"/>
                <a:gd name="T41" fmla="*/ 9 h 261"/>
                <a:gd name="T42" fmla="*/ 100 w 180"/>
                <a:gd name="T43" fmla="*/ 3 h 261"/>
                <a:gd name="T44" fmla="*/ 103 w 180"/>
                <a:gd name="T45" fmla="*/ 27 h 261"/>
                <a:gd name="T46" fmla="*/ 121 w 180"/>
                <a:gd name="T47" fmla="*/ 52 h 261"/>
                <a:gd name="T48" fmla="*/ 130 w 180"/>
                <a:gd name="T49" fmla="*/ 72 h 261"/>
                <a:gd name="T50" fmla="*/ 123 w 180"/>
                <a:gd name="T51" fmla="*/ 84 h 261"/>
                <a:gd name="T52" fmla="*/ 114 w 180"/>
                <a:gd name="T53" fmla="*/ 91 h 261"/>
                <a:gd name="T54" fmla="*/ 136 w 180"/>
                <a:gd name="T55" fmla="*/ 115 h 261"/>
                <a:gd name="T56" fmla="*/ 121 w 180"/>
                <a:gd name="T57" fmla="*/ 132 h 261"/>
                <a:gd name="T58" fmla="*/ 103 w 180"/>
                <a:gd name="T59" fmla="*/ 129 h 261"/>
                <a:gd name="T60" fmla="*/ 99 w 180"/>
                <a:gd name="T61" fmla="*/ 117 h 261"/>
                <a:gd name="T62" fmla="*/ 79 w 180"/>
                <a:gd name="T63" fmla="*/ 129 h 261"/>
                <a:gd name="T64" fmla="*/ 79 w 180"/>
                <a:gd name="T65" fmla="*/ 142 h 261"/>
                <a:gd name="T66" fmla="*/ 75 w 180"/>
                <a:gd name="T67" fmla="*/ 157 h 261"/>
                <a:gd name="T68" fmla="*/ 45 w 180"/>
                <a:gd name="T69" fmla="*/ 186 h 261"/>
                <a:gd name="T70" fmla="*/ 28 w 180"/>
                <a:gd name="T71" fmla="*/ 189 h 261"/>
                <a:gd name="T72" fmla="*/ 4 w 180"/>
                <a:gd name="T73" fmla="*/ 210 h 261"/>
                <a:gd name="T74" fmla="*/ 3 w 180"/>
                <a:gd name="T75" fmla="*/ 229 h 261"/>
                <a:gd name="T76" fmla="*/ 15 w 180"/>
                <a:gd name="T77" fmla="*/ 237 h 261"/>
                <a:gd name="T78" fmla="*/ 19 w 180"/>
                <a:gd name="T79" fmla="*/ 258 h 261"/>
                <a:gd name="T80" fmla="*/ 33 w 180"/>
                <a:gd name="T81" fmla="*/ 256 h 261"/>
                <a:gd name="T82" fmla="*/ 36 w 180"/>
                <a:gd name="T83" fmla="*/ 24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" h="261">
                  <a:moveTo>
                    <a:pt x="36" y="244"/>
                  </a:moveTo>
                  <a:cubicBezTo>
                    <a:pt x="40" y="241"/>
                    <a:pt x="50" y="242"/>
                    <a:pt x="55" y="237"/>
                  </a:cubicBezTo>
                  <a:cubicBezTo>
                    <a:pt x="60" y="232"/>
                    <a:pt x="62" y="220"/>
                    <a:pt x="66" y="214"/>
                  </a:cubicBezTo>
                  <a:cubicBezTo>
                    <a:pt x="70" y="208"/>
                    <a:pt x="78" y="203"/>
                    <a:pt x="81" y="198"/>
                  </a:cubicBezTo>
                  <a:cubicBezTo>
                    <a:pt x="84" y="193"/>
                    <a:pt x="81" y="188"/>
                    <a:pt x="85" y="186"/>
                  </a:cubicBezTo>
                  <a:cubicBezTo>
                    <a:pt x="89" y="184"/>
                    <a:pt x="106" y="188"/>
                    <a:pt x="108" y="186"/>
                  </a:cubicBezTo>
                  <a:cubicBezTo>
                    <a:pt x="110" y="184"/>
                    <a:pt x="97" y="177"/>
                    <a:pt x="96" y="172"/>
                  </a:cubicBezTo>
                  <a:cubicBezTo>
                    <a:pt x="95" y="167"/>
                    <a:pt x="101" y="162"/>
                    <a:pt x="105" y="156"/>
                  </a:cubicBezTo>
                  <a:cubicBezTo>
                    <a:pt x="109" y="150"/>
                    <a:pt x="117" y="141"/>
                    <a:pt x="121" y="136"/>
                  </a:cubicBezTo>
                  <a:cubicBezTo>
                    <a:pt x="125" y="131"/>
                    <a:pt x="126" y="129"/>
                    <a:pt x="129" y="129"/>
                  </a:cubicBezTo>
                  <a:cubicBezTo>
                    <a:pt x="132" y="129"/>
                    <a:pt x="138" y="138"/>
                    <a:pt x="142" y="135"/>
                  </a:cubicBezTo>
                  <a:cubicBezTo>
                    <a:pt x="146" y="132"/>
                    <a:pt x="153" y="114"/>
                    <a:pt x="156" y="108"/>
                  </a:cubicBezTo>
                  <a:cubicBezTo>
                    <a:pt x="159" y="102"/>
                    <a:pt x="159" y="101"/>
                    <a:pt x="162" y="97"/>
                  </a:cubicBezTo>
                  <a:cubicBezTo>
                    <a:pt x="165" y="93"/>
                    <a:pt x="172" y="87"/>
                    <a:pt x="175" y="82"/>
                  </a:cubicBezTo>
                  <a:cubicBezTo>
                    <a:pt x="178" y="77"/>
                    <a:pt x="180" y="66"/>
                    <a:pt x="178" y="64"/>
                  </a:cubicBezTo>
                  <a:cubicBezTo>
                    <a:pt x="176" y="62"/>
                    <a:pt x="167" y="70"/>
                    <a:pt x="162" y="69"/>
                  </a:cubicBezTo>
                  <a:cubicBezTo>
                    <a:pt x="157" y="68"/>
                    <a:pt x="150" y="66"/>
                    <a:pt x="147" y="60"/>
                  </a:cubicBezTo>
                  <a:cubicBezTo>
                    <a:pt x="144" y="54"/>
                    <a:pt x="146" y="39"/>
                    <a:pt x="144" y="34"/>
                  </a:cubicBezTo>
                  <a:cubicBezTo>
                    <a:pt x="142" y="29"/>
                    <a:pt x="138" y="29"/>
                    <a:pt x="135" y="27"/>
                  </a:cubicBezTo>
                  <a:cubicBezTo>
                    <a:pt x="132" y="25"/>
                    <a:pt x="128" y="22"/>
                    <a:pt x="124" y="19"/>
                  </a:cubicBezTo>
                  <a:cubicBezTo>
                    <a:pt x="120" y="16"/>
                    <a:pt x="116" y="12"/>
                    <a:pt x="112" y="9"/>
                  </a:cubicBezTo>
                  <a:cubicBezTo>
                    <a:pt x="108" y="6"/>
                    <a:pt x="101" y="0"/>
                    <a:pt x="100" y="3"/>
                  </a:cubicBezTo>
                  <a:cubicBezTo>
                    <a:pt x="99" y="6"/>
                    <a:pt x="100" y="19"/>
                    <a:pt x="103" y="27"/>
                  </a:cubicBezTo>
                  <a:cubicBezTo>
                    <a:pt x="106" y="35"/>
                    <a:pt x="117" y="45"/>
                    <a:pt x="121" y="52"/>
                  </a:cubicBezTo>
                  <a:cubicBezTo>
                    <a:pt x="125" y="59"/>
                    <a:pt x="130" y="67"/>
                    <a:pt x="130" y="72"/>
                  </a:cubicBezTo>
                  <a:cubicBezTo>
                    <a:pt x="130" y="77"/>
                    <a:pt x="126" y="81"/>
                    <a:pt x="123" y="84"/>
                  </a:cubicBezTo>
                  <a:cubicBezTo>
                    <a:pt x="120" y="87"/>
                    <a:pt x="112" y="86"/>
                    <a:pt x="114" y="91"/>
                  </a:cubicBezTo>
                  <a:cubicBezTo>
                    <a:pt x="116" y="96"/>
                    <a:pt x="135" y="108"/>
                    <a:pt x="136" y="115"/>
                  </a:cubicBezTo>
                  <a:cubicBezTo>
                    <a:pt x="137" y="122"/>
                    <a:pt x="126" y="130"/>
                    <a:pt x="121" y="132"/>
                  </a:cubicBezTo>
                  <a:cubicBezTo>
                    <a:pt x="116" y="134"/>
                    <a:pt x="107" y="131"/>
                    <a:pt x="103" y="129"/>
                  </a:cubicBezTo>
                  <a:cubicBezTo>
                    <a:pt x="99" y="127"/>
                    <a:pt x="103" y="117"/>
                    <a:pt x="99" y="117"/>
                  </a:cubicBezTo>
                  <a:cubicBezTo>
                    <a:pt x="95" y="117"/>
                    <a:pt x="82" y="125"/>
                    <a:pt x="79" y="129"/>
                  </a:cubicBezTo>
                  <a:cubicBezTo>
                    <a:pt x="76" y="133"/>
                    <a:pt x="80" y="137"/>
                    <a:pt x="79" y="142"/>
                  </a:cubicBezTo>
                  <a:cubicBezTo>
                    <a:pt x="78" y="147"/>
                    <a:pt x="81" y="150"/>
                    <a:pt x="75" y="157"/>
                  </a:cubicBezTo>
                  <a:cubicBezTo>
                    <a:pt x="69" y="164"/>
                    <a:pt x="53" y="181"/>
                    <a:pt x="45" y="186"/>
                  </a:cubicBezTo>
                  <a:cubicBezTo>
                    <a:pt x="37" y="191"/>
                    <a:pt x="35" y="185"/>
                    <a:pt x="28" y="189"/>
                  </a:cubicBezTo>
                  <a:cubicBezTo>
                    <a:pt x="21" y="193"/>
                    <a:pt x="8" y="203"/>
                    <a:pt x="4" y="210"/>
                  </a:cubicBezTo>
                  <a:cubicBezTo>
                    <a:pt x="0" y="217"/>
                    <a:pt x="1" y="225"/>
                    <a:pt x="3" y="229"/>
                  </a:cubicBezTo>
                  <a:cubicBezTo>
                    <a:pt x="5" y="233"/>
                    <a:pt x="12" y="232"/>
                    <a:pt x="15" y="237"/>
                  </a:cubicBezTo>
                  <a:cubicBezTo>
                    <a:pt x="18" y="242"/>
                    <a:pt x="16" y="255"/>
                    <a:pt x="19" y="258"/>
                  </a:cubicBezTo>
                  <a:cubicBezTo>
                    <a:pt x="22" y="261"/>
                    <a:pt x="30" y="258"/>
                    <a:pt x="33" y="256"/>
                  </a:cubicBezTo>
                  <a:cubicBezTo>
                    <a:pt x="36" y="254"/>
                    <a:pt x="32" y="247"/>
                    <a:pt x="36" y="2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5" name="Freeform 164"/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7347597" y="3762669"/>
              <a:ext cx="183042" cy="378924"/>
            </a:xfrm>
            <a:custGeom>
              <a:avLst/>
              <a:gdLst/>
              <a:ahLst/>
              <a:cxnLst/>
              <a:rect l="l" t="t" r="r" b="b"/>
              <a:pathLst>
                <a:path w="179388" h="371381">
                  <a:moveTo>
                    <a:pt x="84324" y="270723"/>
                  </a:moveTo>
                  <a:lnTo>
                    <a:pt x="84038" y="271462"/>
                  </a:lnTo>
                  <a:cubicBezTo>
                    <a:pt x="78442" y="272731"/>
                    <a:pt x="79725" y="272085"/>
                    <a:pt x="84324" y="270723"/>
                  </a:cubicBezTo>
                  <a:close/>
                  <a:moveTo>
                    <a:pt x="54140" y="47625"/>
                  </a:moveTo>
                  <a:cubicBezTo>
                    <a:pt x="58584" y="47228"/>
                    <a:pt x="62220" y="48418"/>
                    <a:pt x="67877" y="53975"/>
                  </a:cubicBezTo>
                  <a:cubicBezTo>
                    <a:pt x="69493" y="65087"/>
                    <a:pt x="69493" y="74612"/>
                    <a:pt x="64645" y="84137"/>
                  </a:cubicBezTo>
                  <a:cubicBezTo>
                    <a:pt x="72725" y="103187"/>
                    <a:pt x="71109" y="115887"/>
                    <a:pt x="50099" y="120650"/>
                  </a:cubicBezTo>
                  <a:cubicBezTo>
                    <a:pt x="32322" y="142875"/>
                    <a:pt x="48483" y="144462"/>
                    <a:pt x="72725" y="146050"/>
                  </a:cubicBezTo>
                  <a:cubicBezTo>
                    <a:pt x="79190" y="174625"/>
                    <a:pt x="79190" y="168275"/>
                    <a:pt x="117976" y="169862"/>
                  </a:cubicBezTo>
                  <a:cubicBezTo>
                    <a:pt x="113128" y="193675"/>
                    <a:pt x="121208" y="201612"/>
                    <a:pt x="142218" y="211137"/>
                  </a:cubicBezTo>
                  <a:cubicBezTo>
                    <a:pt x="145450" y="236537"/>
                    <a:pt x="148682" y="239712"/>
                    <a:pt x="159995" y="258762"/>
                  </a:cubicBezTo>
                  <a:cubicBezTo>
                    <a:pt x="161611" y="290513"/>
                    <a:pt x="161611" y="303213"/>
                    <a:pt x="179388" y="327025"/>
                  </a:cubicBezTo>
                  <a:cubicBezTo>
                    <a:pt x="156763" y="341313"/>
                    <a:pt x="176156" y="352425"/>
                    <a:pt x="142218" y="355600"/>
                  </a:cubicBezTo>
                  <a:lnTo>
                    <a:pt x="137370" y="371078"/>
                  </a:lnTo>
                  <a:cubicBezTo>
                    <a:pt x="134945" y="372269"/>
                    <a:pt x="130905" y="369888"/>
                    <a:pt x="122824" y="365125"/>
                  </a:cubicBezTo>
                  <a:cubicBezTo>
                    <a:pt x="114744" y="354013"/>
                    <a:pt x="105047" y="346075"/>
                    <a:pt x="98583" y="331788"/>
                  </a:cubicBezTo>
                  <a:cubicBezTo>
                    <a:pt x="98583" y="315913"/>
                    <a:pt x="124441" y="276225"/>
                    <a:pt x="122824" y="266700"/>
                  </a:cubicBezTo>
                  <a:cubicBezTo>
                    <a:pt x="122554" y="260449"/>
                    <a:pt x="94803" y="267516"/>
                    <a:pt x="84324" y="270723"/>
                  </a:cubicBezTo>
                  <a:cubicBezTo>
                    <a:pt x="100983" y="262770"/>
                    <a:pt x="61496" y="226831"/>
                    <a:pt x="69493" y="209550"/>
                  </a:cubicBezTo>
                  <a:cubicBezTo>
                    <a:pt x="59796" y="200025"/>
                    <a:pt x="32322" y="215900"/>
                    <a:pt x="25857" y="212725"/>
                  </a:cubicBezTo>
                  <a:cubicBezTo>
                    <a:pt x="33938" y="207962"/>
                    <a:pt x="40402" y="207962"/>
                    <a:pt x="30706" y="193675"/>
                  </a:cubicBezTo>
                  <a:cubicBezTo>
                    <a:pt x="27474" y="188912"/>
                    <a:pt x="16161" y="182562"/>
                    <a:pt x="16161" y="182562"/>
                  </a:cubicBezTo>
                  <a:cubicBezTo>
                    <a:pt x="21009" y="155575"/>
                    <a:pt x="12929" y="147637"/>
                    <a:pt x="0" y="127000"/>
                  </a:cubicBezTo>
                  <a:cubicBezTo>
                    <a:pt x="4848" y="117475"/>
                    <a:pt x="9696" y="114300"/>
                    <a:pt x="14545" y="106362"/>
                  </a:cubicBezTo>
                  <a:cubicBezTo>
                    <a:pt x="14545" y="93662"/>
                    <a:pt x="12929" y="80962"/>
                    <a:pt x="16161" y="69850"/>
                  </a:cubicBezTo>
                  <a:cubicBezTo>
                    <a:pt x="17777" y="61912"/>
                    <a:pt x="35554" y="60325"/>
                    <a:pt x="35554" y="50800"/>
                  </a:cubicBezTo>
                  <a:cubicBezTo>
                    <a:pt x="44443" y="50006"/>
                    <a:pt x="49695" y="48022"/>
                    <a:pt x="54140" y="47625"/>
                  </a:cubicBezTo>
                  <a:close/>
                  <a:moveTo>
                    <a:pt x="55562" y="0"/>
                  </a:moveTo>
                  <a:cubicBezTo>
                    <a:pt x="60325" y="12700"/>
                    <a:pt x="53975" y="22225"/>
                    <a:pt x="69850" y="26988"/>
                  </a:cubicBezTo>
                  <a:cubicBezTo>
                    <a:pt x="58738" y="41275"/>
                    <a:pt x="53975" y="26988"/>
                    <a:pt x="46037" y="17463"/>
                  </a:cubicBezTo>
                  <a:cubicBezTo>
                    <a:pt x="49212" y="1588"/>
                    <a:pt x="46037" y="7938"/>
                    <a:pt x="5556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6" name="Freeform 166"/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7465845" y="3139066"/>
              <a:ext cx="150646" cy="153876"/>
            </a:xfrm>
            <a:custGeom>
              <a:avLst/>
              <a:gdLst>
                <a:gd name="T0" fmla="*/ 1 w 91"/>
                <a:gd name="T1" fmla="*/ 61 h 95"/>
                <a:gd name="T2" fmla="*/ 12 w 91"/>
                <a:gd name="T3" fmla="*/ 63 h 95"/>
                <a:gd name="T4" fmla="*/ 9 w 91"/>
                <a:gd name="T5" fmla="*/ 84 h 95"/>
                <a:gd name="T6" fmla="*/ 4 w 91"/>
                <a:gd name="T7" fmla="*/ 94 h 95"/>
                <a:gd name="T8" fmla="*/ 24 w 91"/>
                <a:gd name="T9" fmla="*/ 90 h 95"/>
                <a:gd name="T10" fmla="*/ 51 w 91"/>
                <a:gd name="T11" fmla="*/ 69 h 95"/>
                <a:gd name="T12" fmla="*/ 58 w 91"/>
                <a:gd name="T13" fmla="*/ 52 h 95"/>
                <a:gd name="T14" fmla="*/ 79 w 91"/>
                <a:gd name="T15" fmla="*/ 37 h 95"/>
                <a:gd name="T16" fmla="*/ 91 w 91"/>
                <a:gd name="T17" fmla="*/ 13 h 95"/>
                <a:gd name="T18" fmla="*/ 78 w 91"/>
                <a:gd name="T19" fmla="*/ 1 h 95"/>
                <a:gd name="T20" fmla="*/ 72 w 91"/>
                <a:gd name="T21" fmla="*/ 9 h 95"/>
                <a:gd name="T22" fmla="*/ 55 w 91"/>
                <a:gd name="T23" fmla="*/ 13 h 95"/>
                <a:gd name="T24" fmla="*/ 46 w 91"/>
                <a:gd name="T25" fmla="*/ 24 h 95"/>
                <a:gd name="T26" fmla="*/ 31 w 91"/>
                <a:gd name="T27" fmla="*/ 28 h 95"/>
                <a:gd name="T28" fmla="*/ 6 w 91"/>
                <a:gd name="T29" fmla="*/ 46 h 95"/>
                <a:gd name="T30" fmla="*/ 1 w 91"/>
                <a:gd name="T31" fmla="*/ 6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95">
                  <a:moveTo>
                    <a:pt x="1" y="61"/>
                  </a:moveTo>
                  <a:cubicBezTo>
                    <a:pt x="2" y="64"/>
                    <a:pt x="11" y="59"/>
                    <a:pt x="12" y="63"/>
                  </a:cubicBezTo>
                  <a:cubicBezTo>
                    <a:pt x="13" y="67"/>
                    <a:pt x="10" y="79"/>
                    <a:pt x="9" y="84"/>
                  </a:cubicBezTo>
                  <a:cubicBezTo>
                    <a:pt x="8" y="89"/>
                    <a:pt x="2" y="93"/>
                    <a:pt x="4" y="94"/>
                  </a:cubicBezTo>
                  <a:cubicBezTo>
                    <a:pt x="6" y="95"/>
                    <a:pt x="16" y="94"/>
                    <a:pt x="24" y="90"/>
                  </a:cubicBezTo>
                  <a:cubicBezTo>
                    <a:pt x="32" y="86"/>
                    <a:pt x="45" y="75"/>
                    <a:pt x="51" y="69"/>
                  </a:cubicBezTo>
                  <a:cubicBezTo>
                    <a:pt x="57" y="63"/>
                    <a:pt x="53" y="57"/>
                    <a:pt x="58" y="52"/>
                  </a:cubicBezTo>
                  <a:cubicBezTo>
                    <a:pt x="63" y="47"/>
                    <a:pt x="74" y="43"/>
                    <a:pt x="79" y="37"/>
                  </a:cubicBezTo>
                  <a:cubicBezTo>
                    <a:pt x="84" y="31"/>
                    <a:pt x="91" y="19"/>
                    <a:pt x="91" y="13"/>
                  </a:cubicBezTo>
                  <a:cubicBezTo>
                    <a:pt x="91" y="7"/>
                    <a:pt x="81" y="2"/>
                    <a:pt x="78" y="1"/>
                  </a:cubicBezTo>
                  <a:cubicBezTo>
                    <a:pt x="75" y="0"/>
                    <a:pt x="76" y="7"/>
                    <a:pt x="72" y="9"/>
                  </a:cubicBezTo>
                  <a:cubicBezTo>
                    <a:pt x="68" y="11"/>
                    <a:pt x="59" y="10"/>
                    <a:pt x="55" y="13"/>
                  </a:cubicBezTo>
                  <a:cubicBezTo>
                    <a:pt x="51" y="16"/>
                    <a:pt x="50" y="21"/>
                    <a:pt x="46" y="24"/>
                  </a:cubicBezTo>
                  <a:cubicBezTo>
                    <a:pt x="42" y="27"/>
                    <a:pt x="38" y="24"/>
                    <a:pt x="31" y="28"/>
                  </a:cubicBezTo>
                  <a:cubicBezTo>
                    <a:pt x="24" y="32"/>
                    <a:pt x="11" y="42"/>
                    <a:pt x="6" y="46"/>
                  </a:cubicBezTo>
                  <a:cubicBezTo>
                    <a:pt x="1" y="50"/>
                    <a:pt x="0" y="58"/>
                    <a:pt x="1" y="6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7" name="Freeform 168"/>
            <p:cNvSpPr>
              <a:spLocks/>
            </p:cNvSpPr>
            <p:nvPr>
              <p:custDataLst>
                <p:tags r:id="rId113"/>
              </p:custDataLst>
            </p:nvPr>
          </p:nvSpPr>
          <p:spPr bwMode="gray">
            <a:xfrm>
              <a:off x="7480425" y="3250828"/>
              <a:ext cx="115009" cy="157116"/>
            </a:xfrm>
            <a:custGeom>
              <a:avLst/>
              <a:gdLst>
                <a:gd name="T0" fmla="*/ 0 w 69"/>
                <a:gd name="T1" fmla="*/ 24 h 97"/>
                <a:gd name="T2" fmla="*/ 24 w 69"/>
                <a:gd name="T3" fmla="*/ 15 h 97"/>
                <a:gd name="T4" fmla="*/ 39 w 69"/>
                <a:gd name="T5" fmla="*/ 0 h 97"/>
                <a:gd name="T6" fmla="*/ 58 w 69"/>
                <a:gd name="T7" fmla="*/ 21 h 97"/>
                <a:gd name="T8" fmla="*/ 69 w 69"/>
                <a:gd name="T9" fmla="*/ 45 h 97"/>
                <a:gd name="T10" fmla="*/ 34 w 69"/>
                <a:gd name="T11" fmla="*/ 87 h 97"/>
                <a:gd name="T12" fmla="*/ 22 w 69"/>
                <a:gd name="T13" fmla="*/ 94 h 97"/>
                <a:gd name="T14" fmla="*/ 21 w 69"/>
                <a:gd name="T15" fmla="*/ 54 h 97"/>
                <a:gd name="T16" fmla="*/ 7 w 69"/>
                <a:gd name="T17" fmla="*/ 30 h 97"/>
                <a:gd name="T18" fmla="*/ 0 w 69"/>
                <a:gd name="T19" fmla="*/ 2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97">
                  <a:moveTo>
                    <a:pt x="0" y="24"/>
                  </a:moveTo>
                  <a:cubicBezTo>
                    <a:pt x="19" y="21"/>
                    <a:pt x="11" y="25"/>
                    <a:pt x="24" y="15"/>
                  </a:cubicBezTo>
                  <a:cubicBezTo>
                    <a:pt x="32" y="9"/>
                    <a:pt x="28" y="2"/>
                    <a:pt x="39" y="0"/>
                  </a:cubicBezTo>
                  <a:cubicBezTo>
                    <a:pt x="49" y="2"/>
                    <a:pt x="48" y="16"/>
                    <a:pt x="58" y="21"/>
                  </a:cubicBezTo>
                  <a:cubicBezTo>
                    <a:pt x="64" y="28"/>
                    <a:pt x="64" y="37"/>
                    <a:pt x="69" y="45"/>
                  </a:cubicBezTo>
                  <a:cubicBezTo>
                    <a:pt x="66" y="74"/>
                    <a:pt x="65" y="83"/>
                    <a:pt x="34" y="87"/>
                  </a:cubicBezTo>
                  <a:cubicBezTo>
                    <a:pt x="26" y="91"/>
                    <a:pt x="30" y="97"/>
                    <a:pt x="22" y="94"/>
                  </a:cubicBezTo>
                  <a:cubicBezTo>
                    <a:pt x="20" y="81"/>
                    <a:pt x="13" y="69"/>
                    <a:pt x="21" y="54"/>
                  </a:cubicBezTo>
                  <a:cubicBezTo>
                    <a:pt x="19" y="42"/>
                    <a:pt x="20" y="33"/>
                    <a:pt x="7" y="30"/>
                  </a:cubicBezTo>
                  <a:cubicBezTo>
                    <a:pt x="2" y="26"/>
                    <a:pt x="4" y="28"/>
                    <a:pt x="0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8" name="Freeform 169"/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6931298" y="3921403"/>
              <a:ext cx="126348" cy="110143"/>
            </a:xfrm>
            <a:custGeom>
              <a:avLst/>
              <a:gdLst>
                <a:gd name="T0" fmla="*/ 47 w 77"/>
                <a:gd name="T1" fmla="*/ 3 h 68"/>
                <a:gd name="T2" fmla="*/ 76 w 77"/>
                <a:gd name="T3" fmla="*/ 10 h 68"/>
                <a:gd name="T4" fmla="*/ 68 w 77"/>
                <a:gd name="T5" fmla="*/ 37 h 68"/>
                <a:gd name="T6" fmla="*/ 56 w 77"/>
                <a:gd name="T7" fmla="*/ 46 h 68"/>
                <a:gd name="T8" fmla="*/ 44 w 77"/>
                <a:gd name="T9" fmla="*/ 48 h 68"/>
                <a:gd name="T10" fmla="*/ 35 w 77"/>
                <a:gd name="T11" fmla="*/ 61 h 68"/>
                <a:gd name="T12" fmla="*/ 23 w 77"/>
                <a:gd name="T13" fmla="*/ 61 h 68"/>
                <a:gd name="T14" fmla="*/ 8 w 77"/>
                <a:gd name="T15" fmla="*/ 39 h 68"/>
                <a:gd name="T16" fmla="*/ 44 w 77"/>
                <a:gd name="T17" fmla="*/ 7 h 68"/>
                <a:gd name="T18" fmla="*/ 47 w 77"/>
                <a:gd name="T1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68">
                  <a:moveTo>
                    <a:pt x="47" y="3"/>
                  </a:moveTo>
                  <a:cubicBezTo>
                    <a:pt x="57" y="5"/>
                    <a:pt x="67" y="3"/>
                    <a:pt x="76" y="10"/>
                  </a:cubicBezTo>
                  <a:cubicBezTo>
                    <a:pt x="75" y="20"/>
                    <a:pt x="77" y="32"/>
                    <a:pt x="68" y="37"/>
                  </a:cubicBezTo>
                  <a:cubicBezTo>
                    <a:pt x="64" y="43"/>
                    <a:pt x="63" y="45"/>
                    <a:pt x="56" y="46"/>
                  </a:cubicBezTo>
                  <a:cubicBezTo>
                    <a:pt x="52" y="49"/>
                    <a:pt x="47" y="46"/>
                    <a:pt x="44" y="48"/>
                  </a:cubicBezTo>
                  <a:cubicBezTo>
                    <a:pt x="41" y="50"/>
                    <a:pt x="38" y="59"/>
                    <a:pt x="35" y="61"/>
                  </a:cubicBezTo>
                  <a:cubicBezTo>
                    <a:pt x="31" y="68"/>
                    <a:pt x="30" y="65"/>
                    <a:pt x="23" y="61"/>
                  </a:cubicBezTo>
                  <a:cubicBezTo>
                    <a:pt x="18" y="54"/>
                    <a:pt x="13" y="46"/>
                    <a:pt x="8" y="39"/>
                  </a:cubicBezTo>
                  <a:cubicBezTo>
                    <a:pt x="0" y="0"/>
                    <a:pt x="1" y="10"/>
                    <a:pt x="44" y="7"/>
                  </a:cubicBezTo>
                  <a:cubicBezTo>
                    <a:pt x="50" y="4"/>
                    <a:pt x="51" y="5"/>
                    <a:pt x="47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9" name="Freeform 170"/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6864885" y="3727034"/>
              <a:ext cx="189522" cy="205708"/>
            </a:xfrm>
            <a:custGeom>
              <a:avLst/>
              <a:gdLst>
                <a:gd name="T0" fmla="*/ 11 w 115"/>
                <a:gd name="T1" fmla="*/ 15 h 127"/>
                <a:gd name="T2" fmla="*/ 35 w 115"/>
                <a:gd name="T3" fmla="*/ 6 h 127"/>
                <a:gd name="T4" fmla="*/ 38 w 115"/>
                <a:gd name="T5" fmla="*/ 1 h 127"/>
                <a:gd name="T6" fmla="*/ 44 w 115"/>
                <a:gd name="T7" fmla="*/ 9 h 127"/>
                <a:gd name="T8" fmla="*/ 65 w 115"/>
                <a:gd name="T9" fmla="*/ 22 h 127"/>
                <a:gd name="T10" fmla="*/ 75 w 115"/>
                <a:gd name="T11" fmla="*/ 33 h 127"/>
                <a:gd name="T12" fmla="*/ 63 w 115"/>
                <a:gd name="T13" fmla="*/ 48 h 127"/>
                <a:gd name="T14" fmla="*/ 89 w 115"/>
                <a:gd name="T15" fmla="*/ 70 h 127"/>
                <a:gd name="T16" fmla="*/ 96 w 115"/>
                <a:gd name="T17" fmla="*/ 85 h 127"/>
                <a:gd name="T18" fmla="*/ 108 w 115"/>
                <a:gd name="T19" fmla="*/ 99 h 127"/>
                <a:gd name="T20" fmla="*/ 115 w 115"/>
                <a:gd name="T21" fmla="*/ 111 h 127"/>
                <a:gd name="T22" fmla="*/ 110 w 115"/>
                <a:gd name="T23" fmla="*/ 124 h 127"/>
                <a:gd name="T24" fmla="*/ 90 w 115"/>
                <a:gd name="T25" fmla="*/ 123 h 127"/>
                <a:gd name="T26" fmla="*/ 83 w 115"/>
                <a:gd name="T27" fmla="*/ 103 h 127"/>
                <a:gd name="T28" fmla="*/ 75 w 115"/>
                <a:gd name="T29" fmla="*/ 73 h 127"/>
                <a:gd name="T30" fmla="*/ 59 w 115"/>
                <a:gd name="T31" fmla="*/ 61 h 127"/>
                <a:gd name="T32" fmla="*/ 44 w 115"/>
                <a:gd name="T33" fmla="*/ 69 h 127"/>
                <a:gd name="T34" fmla="*/ 24 w 115"/>
                <a:gd name="T35" fmla="*/ 69 h 127"/>
                <a:gd name="T36" fmla="*/ 27 w 115"/>
                <a:gd name="T37" fmla="*/ 51 h 127"/>
                <a:gd name="T38" fmla="*/ 9 w 115"/>
                <a:gd name="T39" fmla="*/ 36 h 127"/>
                <a:gd name="T40" fmla="*/ 8 w 115"/>
                <a:gd name="T41" fmla="*/ 25 h 127"/>
                <a:gd name="T42" fmla="*/ 11 w 115"/>
                <a:gd name="T43" fmla="*/ 1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5" h="127">
                  <a:moveTo>
                    <a:pt x="11" y="15"/>
                  </a:moveTo>
                  <a:cubicBezTo>
                    <a:pt x="31" y="11"/>
                    <a:pt x="23" y="8"/>
                    <a:pt x="35" y="6"/>
                  </a:cubicBezTo>
                  <a:cubicBezTo>
                    <a:pt x="36" y="4"/>
                    <a:pt x="36" y="2"/>
                    <a:pt x="38" y="1"/>
                  </a:cubicBezTo>
                  <a:cubicBezTo>
                    <a:pt x="42" y="0"/>
                    <a:pt x="43" y="8"/>
                    <a:pt x="44" y="9"/>
                  </a:cubicBezTo>
                  <a:cubicBezTo>
                    <a:pt x="49" y="16"/>
                    <a:pt x="57" y="20"/>
                    <a:pt x="65" y="22"/>
                  </a:cubicBezTo>
                  <a:cubicBezTo>
                    <a:pt x="71" y="27"/>
                    <a:pt x="74" y="25"/>
                    <a:pt x="75" y="33"/>
                  </a:cubicBezTo>
                  <a:cubicBezTo>
                    <a:pt x="73" y="43"/>
                    <a:pt x="71" y="43"/>
                    <a:pt x="63" y="48"/>
                  </a:cubicBezTo>
                  <a:cubicBezTo>
                    <a:pt x="69" y="59"/>
                    <a:pt x="76" y="67"/>
                    <a:pt x="89" y="70"/>
                  </a:cubicBezTo>
                  <a:cubicBezTo>
                    <a:pt x="94" y="76"/>
                    <a:pt x="93" y="80"/>
                    <a:pt x="96" y="85"/>
                  </a:cubicBezTo>
                  <a:cubicBezTo>
                    <a:pt x="99" y="90"/>
                    <a:pt x="105" y="95"/>
                    <a:pt x="108" y="99"/>
                  </a:cubicBezTo>
                  <a:cubicBezTo>
                    <a:pt x="110" y="103"/>
                    <a:pt x="115" y="107"/>
                    <a:pt x="115" y="111"/>
                  </a:cubicBezTo>
                  <a:cubicBezTo>
                    <a:pt x="115" y="115"/>
                    <a:pt x="114" y="122"/>
                    <a:pt x="110" y="124"/>
                  </a:cubicBezTo>
                  <a:cubicBezTo>
                    <a:pt x="103" y="124"/>
                    <a:pt x="95" y="127"/>
                    <a:pt x="90" y="123"/>
                  </a:cubicBezTo>
                  <a:cubicBezTo>
                    <a:pt x="81" y="117"/>
                    <a:pt x="94" y="108"/>
                    <a:pt x="83" y="103"/>
                  </a:cubicBezTo>
                  <a:cubicBezTo>
                    <a:pt x="74" y="91"/>
                    <a:pt x="80" y="92"/>
                    <a:pt x="75" y="73"/>
                  </a:cubicBezTo>
                  <a:cubicBezTo>
                    <a:pt x="74" y="68"/>
                    <a:pt x="63" y="64"/>
                    <a:pt x="59" y="61"/>
                  </a:cubicBezTo>
                  <a:cubicBezTo>
                    <a:pt x="54" y="60"/>
                    <a:pt x="50" y="68"/>
                    <a:pt x="44" y="69"/>
                  </a:cubicBezTo>
                  <a:cubicBezTo>
                    <a:pt x="38" y="70"/>
                    <a:pt x="27" y="72"/>
                    <a:pt x="24" y="69"/>
                  </a:cubicBezTo>
                  <a:cubicBezTo>
                    <a:pt x="17" y="68"/>
                    <a:pt x="29" y="56"/>
                    <a:pt x="27" y="51"/>
                  </a:cubicBezTo>
                  <a:cubicBezTo>
                    <a:pt x="25" y="46"/>
                    <a:pt x="12" y="40"/>
                    <a:pt x="9" y="36"/>
                  </a:cubicBezTo>
                  <a:cubicBezTo>
                    <a:pt x="5" y="30"/>
                    <a:pt x="0" y="28"/>
                    <a:pt x="8" y="25"/>
                  </a:cubicBezTo>
                  <a:cubicBezTo>
                    <a:pt x="9" y="18"/>
                    <a:pt x="8" y="21"/>
                    <a:pt x="11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0" name="Freeform 171"/>
            <p:cNvSpPr>
              <a:spLocks/>
            </p:cNvSpPr>
            <p:nvPr>
              <p:custDataLst>
                <p:tags r:id="rId116"/>
              </p:custDataLst>
            </p:nvPr>
          </p:nvSpPr>
          <p:spPr bwMode="gray">
            <a:xfrm>
              <a:off x="7213150" y="4162745"/>
              <a:ext cx="27538" cy="29155"/>
            </a:xfrm>
            <a:custGeom>
              <a:avLst/>
              <a:gdLst>
                <a:gd name="T0" fmla="*/ 0 w 17"/>
                <a:gd name="T1" fmla="*/ 9 h 18"/>
                <a:gd name="T2" fmla="*/ 14 w 17"/>
                <a:gd name="T3" fmla="*/ 13 h 18"/>
                <a:gd name="T4" fmla="*/ 6 w 17"/>
                <a:gd name="T5" fmla="*/ 3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cubicBezTo>
                    <a:pt x="3" y="18"/>
                    <a:pt x="6" y="18"/>
                    <a:pt x="14" y="13"/>
                  </a:cubicBezTo>
                  <a:cubicBezTo>
                    <a:pt x="17" y="3"/>
                    <a:pt x="17" y="0"/>
                    <a:pt x="6" y="3"/>
                  </a:cubicBezTo>
                  <a:cubicBezTo>
                    <a:pt x="2" y="10"/>
                    <a:pt x="4" y="9"/>
                    <a:pt x="0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1" name="Freeform 172"/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7336259" y="3654145"/>
              <a:ext cx="82612" cy="93945"/>
            </a:xfrm>
            <a:custGeom>
              <a:avLst/>
              <a:gdLst>
                <a:gd name="T0" fmla="*/ 4 w 50"/>
                <a:gd name="T1" fmla="*/ 24 h 58"/>
                <a:gd name="T2" fmla="*/ 16 w 50"/>
                <a:gd name="T3" fmla="*/ 22 h 58"/>
                <a:gd name="T4" fmla="*/ 22 w 50"/>
                <a:gd name="T5" fmla="*/ 12 h 58"/>
                <a:gd name="T6" fmla="*/ 37 w 50"/>
                <a:gd name="T7" fmla="*/ 0 h 58"/>
                <a:gd name="T8" fmla="*/ 38 w 50"/>
                <a:gd name="T9" fmla="*/ 22 h 58"/>
                <a:gd name="T10" fmla="*/ 25 w 50"/>
                <a:gd name="T11" fmla="*/ 39 h 58"/>
                <a:gd name="T12" fmla="*/ 17 w 50"/>
                <a:gd name="T13" fmla="*/ 46 h 58"/>
                <a:gd name="T14" fmla="*/ 4 w 50"/>
                <a:gd name="T15" fmla="*/ 30 h 58"/>
                <a:gd name="T16" fmla="*/ 4 w 50"/>
                <a:gd name="T17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58">
                  <a:moveTo>
                    <a:pt x="4" y="24"/>
                  </a:moveTo>
                  <a:cubicBezTo>
                    <a:pt x="8" y="23"/>
                    <a:pt x="13" y="25"/>
                    <a:pt x="16" y="22"/>
                  </a:cubicBezTo>
                  <a:cubicBezTo>
                    <a:pt x="32" y="8"/>
                    <a:pt x="6" y="15"/>
                    <a:pt x="22" y="12"/>
                  </a:cubicBezTo>
                  <a:cubicBezTo>
                    <a:pt x="29" y="7"/>
                    <a:pt x="28" y="2"/>
                    <a:pt x="37" y="0"/>
                  </a:cubicBezTo>
                  <a:cubicBezTo>
                    <a:pt x="50" y="2"/>
                    <a:pt x="44" y="14"/>
                    <a:pt x="38" y="22"/>
                  </a:cubicBezTo>
                  <a:cubicBezTo>
                    <a:pt x="34" y="40"/>
                    <a:pt x="40" y="36"/>
                    <a:pt x="25" y="39"/>
                  </a:cubicBezTo>
                  <a:cubicBezTo>
                    <a:pt x="24" y="45"/>
                    <a:pt x="22" y="58"/>
                    <a:pt x="17" y="46"/>
                  </a:cubicBezTo>
                  <a:cubicBezTo>
                    <a:pt x="15" y="37"/>
                    <a:pt x="11" y="35"/>
                    <a:pt x="4" y="30"/>
                  </a:cubicBezTo>
                  <a:cubicBezTo>
                    <a:pt x="2" y="24"/>
                    <a:pt x="0" y="26"/>
                    <a:pt x="4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2" name="Freeform 205"/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8193682" y="4530427"/>
              <a:ext cx="50883" cy="38874"/>
            </a:xfrm>
            <a:custGeom>
              <a:avLst/>
              <a:gdLst>
                <a:gd name="T0" fmla="*/ 1 w 31"/>
                <a:gd name="T1" fmla="*/ 0 h 24"/>
                <a:gd name="T2" fmla="*/ 12 w 31"/>
                <a:gd name="T3" fmla="*/ 3 h 24"/>
                <a:gd name="T4" fmla="*/ 31 w 31"/>
                <a:gd name="T5" fmla="*/ 14 h 24"/>
                <a:gd name="T6" fmla="*/ 3 w 31"/>
                <a:gd name="T7" fmla="*/ 14 h 24"/>
                <a:gd name="T8" fmla="*/ 1 w 3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4">
                  <a:moveTo>
                    <a:pt x="1" y="0"/>
                  </a:moveTo>
                  <a:cubicBezTo>
                    <a:pt x="5" y="1"/>
                    <a:pt x="9" y="1"/>
                    <a:pt x="12" y="3"/>
                  </a:cubicBezTo>
                  <a:cubicBezTo>
                    <a:pt x="25" y="11"/>
                    <a:pt x="8" y="10"/>
                    <a:pt x="31" y="14"/>
                  </a:cubicBezTo>
                  <a:cubicBezTo>
                    <a:pt x="24" y="24"/>
                    <a:pt x="12" y="16"/>
                    <a:pt x="3" y="14"/>
                  </a:cubicBezTo>
                  <a:cubicBezTo>
                    <a:pt x="0" y="7"/>
                    <a:pt x="4" y="7"/>
                    <a:pt x="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3" name="Freeform 206"/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7906442" y="4342537"/>
              <a:ext cx="241281" cy="205708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4" name="Freeform 207"/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8080427" y="4373312"/>
              <a:ext cx="111613" cy="64790"/>
            </a:xfrm>
            <a:custGeom>
              <a:avLst/>
              <a:gdLst>
                <a:gd name="T0" fmla="*/ 0 w 57"/>
                <a:gd name="T1" fmla="*/ 16 h 33"/>
                <a:gd name="T2" fmla="*/ 16 w 57"/>
                <a:gd name="T3" fmla="*/ 32 h 33"/>
                <a:gd name="T4" fmla="*/ 34 w 57"/>
                <a:gd name="T5" fmla="*/ 32 h 33"/>
                <a:gd name="T6" fmla="*/ 49 w 57"/>
                <a:gd name="T7" fmla="*/ 23 h 33"/>
                <a:gd name="T8" fmla="*/ 56 w 57"/>
                <a:gd name="T9" fmla="*/ 8 h 33"/>
                <a:gd name="T10" fmla="*/ 56 w 57"/>
                <a:gd name="T11" fmla="*/ 0 h 33"/>
                <a:gd name="T12" fmla="*/ 49 w 57"/>
                <a:gd name="T13" fmla="*/ 0 h 33"/>
                <a:gd name="T14" fmla="*/ 49 w 57"/>
                <a:gd name="T15" fmla="*/ 16 h 33"/>
                <a:gd name="T16" fmla="*/ 41 w 57"/>
                <a:gd name="T17" fmla="*/ 16 h 33"/>
                <a:gd name="T18" fmla="*/ 34 w 57"/>
                <a:gd name="T19" fmla="*/ 16 h 33"/>
                <a:gd name="T20" fmla="*/ 0 w 57"/>
                <a:gd name="T2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5" name="Freeform 208"/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8160854" y="4360354"/>
              <a:ext cx="49241" cy="32395"/>
            </a:xfrm>
            <a:custGeom>
              <a:avLst/>
              <a:gdLst>
                <a:gd name="T0" fmla="*/ 0 w 25"/>
                <a:gd name="T1" fmla="*/ 0 h 17"/>
                <a:gd name="T2" fmla="*/ 15 w 25"/>
                <a:gd name="T3" fmla="*/ 8 h 17"/>
                <a:gd name="T4" fmla="*/ 24 w 25"/>
                <a:gd name="T5" fmla="*/ 16 h 17"/>
                <a:gd name="T6" fmla="*/ 24 w 25"/>
                <a:gd name="T7" fmla="*/ 8 h 17"/>
                <a:gd name="T8" fmla="*/ 0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6" name="Freeform 209"/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8256053" y="4405707"/>
              <a:ext cx="36110" cy="46973"/>
            </a:xfrm>
            <a:custGeom>
              <a:avLst/>
              <a:gdLst>
                <a:gd name="T0" fmla="*/ 0 w 18"/>
                <a:gd name="T1" fmla="*/ 0 h 25"/>
                <a:gd name="T2" fmla="*/ 8 w 18"/>
                <a:gd name="T3" fmla="*/ 24 h 25"/>
                <a:gd name="T4" fmla="*/ 17 w 18"/>
                <a:gd name="T5" fmla="*/ 16 h 25"/>
                <a:gd name="T6" fmla="*/ 0 w 18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7" name="Freeform 210"/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8367667" y="4496413"/>
              <a:ext cx="32827" cy="32395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16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8" name="Freeform 213"/>
            <p:cNvSpPr>
              <a:spLocks/>
            </p:cNvSpPr>
            <p:nvPr>
              <p:custDataLst>
                <p:tags r:id="rId124"/>
              </p:custDataLst>
            </p:nvPr>
          </p:nvSpPr>
          <p:spPr bwMode="gray">
            <a:xfrm>
              <a:off x="6879463" y="4102814"/>
              <a:ext cx="480772" cy="140642"/>
            </a:xfrm>
            <a:custGeom>
              <a:avLst/>
              <a:gdLst/>
              <a:ahLst/>
              <a:cxnLst/>
              <a:rect l="l" t="t" r="r" b="b"/>
              <a:pathLst>
                <a:path w="471173" h="137842">
                  <a:moveTo>
                    <a:pt x="406205" y="0"/>
                  </a:moveTo>
                  <a:lnTo>
                    <a:pt x="423398" y="16764"/>
                  </a:lnTo>
                  <a:lnTo>
                    <a:pt x="423398" y="33528"/>
                  </a:lnTo>
                  <a:lnTo>
                    <a:pt x="471173" y="46562"/>
                  </a:lnTo>
                  <a:lnTo>
                    <a:pt x="436787" y="46562"/>
                  </a:lnTo>
                  <a:lnTo>
                    <a:pt x="452053" y="63326"/>
                  </a:lnTo>
                  <a:lnTo>
                    <a:pt x="436787" y="63326"/>
                  </a:lnTo>
                  <a:lnTo>
                    <a:pt x="392841" y="63326"/>
                  </a:lnTo>
                  <a:lnTo>
                    <a:pt x="346993" y="121078"/>
                  </a:lnTo>
                  <a:lnTo>
                    <a:pt x="329800" y="137842"/>
                  </a:lnTo>
                  <a:lnTo>
                    <a:pt x="299218" y="121078"/>
                  </a:lnTo>
                  <a:lnTo>
                    <a:pt x="282025" y="137842"/>
                  </a:lnTo>
                  <a:lnTo>
                    <a:pt x="251468" y="137842"/>
                  </a:lnTo>
                  <a:lnTo>
                    <a:pt x="222813" y="121078"/>
                  </a:lnTo>
                  <a:lnTo>
                    <a:pt x="270563" y="121078"/>
                  </a:lnTo>
                  <a:lnTo>
                    <a:pt x="270563" y="93138"/>
                  </a:lnTo>
                  <a:lnTo>
                    <a:pt x="299218" y="93138"/>
                  </a:lnTo>
                  <a:lnTo>
                    <a:pt x="329800" y="63326"/>
                  </a:lnTo>
                  <a:lnTo>
                    <a:pt x="346993" y="63326"/>
                  </a:lnTo>
                  <a:lnTo>
                    <a:pt x="358455" y="63326"/>
                  </a:lnTo>
                  <a:lnTo>
                    <a:pt x="375648" y="46562"/>
                  </a:lnTo>
                  <a:lnTo>
                    <a:pt x="358455" y="46562"/>
                  </a:lnTo>
                  <a:lnTo>
                    <a:pt x="375648" y="33528"/>
                  </a:lnTo>
                  <a:close/>
                  <a:moveTo>
                    <a:pt x="0" y="0"/>
                  </a:moveTo>
                  <a:lnTo>
                    <a:pt x="17728" y="16764"/>
                  </a:lnTo>
                  <a:lnTo>
                    <a:pt x="35457" y="33528"/>
                  </a:lnTo>
                  <a:lnTo>
                    <a:pt x="47275" y="16764"/>
                  </a:lnTo>
                  <a:lnTo>
                    <a:pt x="84701" y="46562"/>
                  </a:lnTo>
                  <a:lnTo>
                    <a:pt x="84701" y="93138"/>
                  </a:lnTo>
                  <a:lnTo>
                    <a:pt x="96520" y="137842"/>
                  </a:lnTo>
                  <a:lnTo>
                    <a:pt x="84701" y="137842"/>
                  </a:lnTo>
                  <a:lnTo>
                    <a:pt x="35457" y="93138"/>
                  </a:lnTo>
                  <a:lnTo>
                    <a:pt x="0" y="63326"/>
                  </a:lnTo>
                  <a:lnTo>
                    <a:pt x="0" y="1676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9" name="Freeform 215"/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7217197" y="4149787"/>
              <a:ext cx="49425" cy="32395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0" name="Oval 216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6948658" y="4212957"/>
              <a:ext cx="28007" cy="27536"/>
            </a:xfrm>
            <a:prstGeom prst="ellipse">
              <a:avLst/>
            </a:pr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321" name="Group 233"/>
            <p:cNvGrpSpPr>
              <a:grpSpLocks/>
            </p:cNvGrpSpPr>
            <p:nvPr>
              <p:custDataLst>
                <p:tags r:id="rId127"/>
              </p:custDataLst>
            </p:nvPr>
          </p:nvGrpSpPr>
          <p:grpSpPr bwMode="auto">
            <a:xfrm>
              <a:off x="5543095" y="2696876"/>
              <a:ext cx="1035079" cy="505360"/>
              <a:chOff x="3419" y="1862"/>
              <a:chExt cx="629" cy="312"/>
            </a:xfrm>
            <a:grpFill/>
          </p:grpSpPr>
          <p:sp>
            <p:nvSpPr>
              <p:cNvPr id="376" name="Freeform 234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3692" y="1862"/>
                <a:ext cx="356" cy="312"/>
              </a:xfrm>
              <a:custGeom>
                <a:avLst/>
                <a:gdLst>
                  <a:gd name="T0" fmla="*/ 0 w 356"/>
                  <a:gd name="T1" fmla="*/ 25 h 312"/>
                  <a:gd name="T2" fmla="*/ 75 w 356"/>
                  <a:gd name="T3" fmla="*/ 0 h 312"/>
                  <a:gd name="T4" fmla="*/ 99 w 356"/>
                  <a:gd name="T5" fmla="*/ 27 h 312"/>
                  <a:gd name="T6" fmla="*/ 114 w 356"/>
                  <a:gd name="T7" fmla="*/ 12 h 312"/>
                  <a:gd name="T8" fmla="*/ 154 w 356"/>
                  <a:gd name="T9" fmla="*/ 40 h 312"/>
                  <a:gd name="T10" fmla="*/ 160 w 356"/>
                  <a:gd name="T11" fmla="*/ 42 h 312"/>
                  <a:gd name="T12" fmla="*/ 187 w 356"/>
                  <a:gd name="T13" fmla="*/ 30 h 312"/>
                  <a:gd name="T14" fmla="*/ 191 w 356"/>
                  <a:gd name="T15" fmla="*/ 28 h 312"/>
                  <a:gd name="T16" fmla="*/ 196 w 356"/>
                  <a:gd name="T17" fmla="*/ 42 h 312"/>
                  <a:gd name="T18" fmla="*/ 214 w 356"/>
                  <a:gd name="T19" fmla="*/ 54 h 312"/>
                  <a:gd name="T20" fmla="*/ 226 w 356"/>
                  <a:gd name="T21" fmla="*/ 70 h 312"/>
                  <a:gd name="T22" fmla="*/ 233 w 356"/>
                  <a:gd name="T23" fmla="*/ 85 h 312"/>
                  <a:gd name="T24" fmla="*/ 232 w 356"/>
                  <a:gd name="T25" fmla="*/ 100 h 312"/>
                  <a:gd name="T26" fmla="*/ 236 w 356"/>
                  <a:gd name="T27" fmla="*/ 103 h 312"/>
                  <a:gd name="T28" fmla="*/ 248 w 356"/>
                  <a:gd name="T29" fmla="*/ 108 h 312"/>
                  <a:gd name="T30" fmla="*/ 265 w 356"/>
                  <a:gd name="T31" fmla="*/ 105 h 312"/>
                  <a:gd name="T32" fmla="*/ 277 w 356"/>
                  <a:gd name="T33" fmla="*/ 112 h 312"/>
                  <a:gd name="T34" fmla="*/ 287 w 356"/>
                  <a:gd name="T35" fmla="*/ 108 h 312"/>
                  <a:gd name="T36" fmla="*/ 302 w 356"/>
                  <a:gd name="T37" fmla="*/ 114 h 312"/>
                  <a:gd name="T38" fmla="*/ 320 w 356"/>
                  <a:gd name="T39" fmla="*/ 130 h 312"/>
                  <a:gd name="T40" fmla="*/ 353 w 356"/>
                  <a:gd name="T41" fmla="*/ 138 h 312"/>
                  <a:gd name="T42" fmla="*/ 340 w 356"/>
                  <a:gd name="T43" fmla="*/ 152 h 312"/>
                  <a:gd name="T44" fmla="*/ 329 w 356"/>
                  <a:gd name="T45" fmla="*/ 157 h 312"/>
                  <a:gd name="T46" fmla="*/ 328 w 356"/>
                  <a:gd name="T47" fmla="*/ 175 h 312"/>
                  <a:gd name="T48" fmla="*/ 323 w 356"/>
                  <a:gd name="T49" fmla="*/ 195 h 312"/>
                  <a:gd name="T50" fmla="*/ 319 w 356"/>
                  <a:gd name="T51" fmla="*/ 192 h 312"/>
                  <a:gd name="T52" fmla="*/ 305 w 356"/>
                  <a:gd name="T53" fmla="*/ 183 h 312"/>
                  <a:gd name="T54" fmla="*/ 281 w 356"/>
                  <a:gd name="T55" fmla="*/ 195 h 312"/>
                  <a:gd name="T56" fmla="*/ 274 w 356"/>
                  <a:gd name="T57" fmla="*/ 214 h 312"/>
                  <a:gd name="T58" fmla="*/ 278 w 356"/>
                  <a:gd name="T59" fmla="*/ 234 h 312"/>
                  <a:gd name="T60" fmla="*/ 268 w 356"/>
                  <a:gd name="T61" fmla="*/ 226 h 312"/>
                  <a:gd name="T62" fmla="*/ 241 w 356"/>
                  <a:gd name="T63" fmla="*/ 232 h 312"/>
                  <a:gd name="T64" fmla="*/ 247 w 356"/>
                  <a:gd name="T65" fmla="*/ 261 h 312"/>
                  <a:gd name="T66" fmla="*/ 245 w 356"/>
                  <a:gd name="T67" fmla="*/ 274 h 312"/>
                  <a:gd name="T68" fmla="*/ 254 w 356"/>
                  <a:gd name="T69" fmla="*/ 283 h 312"/>
                  <a:gd name="T70" fmla="*/ 242 w 356"/>
                  <a:gd name="T71" fmla="*/ 287 h 312"/>
                  <a:gd name="T72" fmla="*/ 196 w 356"/>
                  <a:gd name="T73" fmla="*/ 309 h 312"/>
                  <a:gd name="T74" fmla="*/ 208 w 356"/>
                  <a:gd name="T75" fmla="*/ 282 h 312"/>
                  <a:gd name="T76" fmla="*/ 172 w 356"/>
                  <a:gd name="T77" fmla="*/ 279 h 312"/>
                  <a:gd name="T78" fmla="*/ 144 w 356"/>
                  <a:gd name="T79" fmla="*/ 270 h 312"/>
                  <a:gd name="T80" fmla="*/ 124 w 356"/>
                  <a:gd name="T81" fmla="*/ 283 h 312"/>
                  <a:gd name="T82" fmla="*/ 109 w 356"/>
                  <a:gd name="T83" fmla="*/ 279 h 312"/>
                  <a:gd name="T84" fmla="*/ 79 w 356"/>
                  <a:gd name="T85" fmla="*/ 292 h 312"/>
                  <a:gd name="T86" fmla="*/ 51 w 356"/>
                  <a:gd name="T87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12">
                    <a:moveTo>
                      <a:pt x="0" y="25"/>
                    </a:moveTo>
                    <a:cubicBezTo>
                      <a:pt x="10" y="28"/>
                      <a:pt x="59" y="0"/>
                      <a:pt x="75" y="0"/>
                    </a:cubicBezTo>
                    <a:cubicBezTo>
                      <a:pt x="91" y="0"/>
                      <a:pt x="92" y="25"/>
                      <a:pt x="99" y="27"/>
                    </a:cubicBezTo>
                    <a:cubicBezTo>
                      <a:pt x="106" y="29"/>
                      <a:pt x="105" y="10"/>
                      <a:pt x="114" y="12"/>
                    </a:cubicBezTo>
                    <a:cubicBezTo>
                      <a:pt x="123" y="14"/>
                      <a:pt x="146" y="35"/>
                      <a:pt x="154" y="40"/>
                    </a:cubicBezTo>
                    <a:cubicBezTo>
                      <a:pt x="162" y="45"/>
                      <a:pt x="155" y="44"/>
                      <a:pt x="160" y="42"/>
                    </a:cubicBezTo>
                    <a:cubicBezTo>
                      <a:pt x="166" y="32"/>
                      <a:pt x="176" y="31"/>
                      <a:pt x="187" y="30"/>
                    </a:cubicBezTo>
                    <a:cubicBezTo>
                      <a:pt x="188" y="29"/>
                      <a:pt x="190" y="27"/>
                      <a:pt x="191" y="28"/>
                    </a:cubicBezTo>
                    <a:cubicBezTo>
                      <a:pt x="194" y="29"/>
                      <a:pt x="195" y="41"/>
                      <a:pt x="196" y="42"/>
                    </a:cubicBezTo>
                    <a:cubicBezTo>
                      <a:pt x="198" y="46"/>
                      <a:pt x="210" y="52"/>
                      <a:pt x="214" y="54"/>
                    </a:cubicBezTo>
                    <a:cubicBezTo>
                      <a:pt x="218" y="60"/>
                      <a:pt x="222" y="64"/>
                      <a:pt x="226" y="70"/>
                    </a:cubicBezTo>
                    <a:cubicBezTo>
                      <a:pt x="228" y="76"/>
                      <a:pt x="232" y="80"/>
                      <a:pt x="233" y="85"/>
                    </a:cubicBezTo>
                    <a:cubicBezTo>
                      <a:pt x="234" y="90"/>
                      <a:pt x="231" y="97"/>
                      <a:pt x="232" y="100"/>
                    </a:cubicBezTo>
                    <a:cubicBezTo>
                      <a:pt x="233" y="106"/>
                      <a:pt x="233" y="102"/>
                      <a:pt x="236" y="103"/>
                    </a:cubicBezTo>
                    <a:cubicBezTo>
                      <a:pt x="239" y="104"/>
                      <a:pt x="243" y="108"/>
                      <a:pt x="248" y="108"/>
                    </a:cubicBezTo>
                    <a:cubicBezTo>
                      <a:pt x="254" y="104"/>
                      <a:pt x="258" y="106"/>
                      <a:pt x="265" y="105"/>
                    </a:cubicBezTo>
                    <a:cubicBezTo>
                      <a:pt x="269" y="110"/>
                      <a:pt x="271" y="111"/>
                      <a:pt x="277" y="112"/>
                    </a:cubicBezTo>
                    <a:cubicBezTo>
                      <a:pt x="281" y="111"/>
                      <a:pt x="283" y="108"/>
                      <a:pt x="287" y="108"/>
                    </a:cubicBezTo>
                    <a:cubicBezTo>
                      <a:pt x="291" y="108"/>
                      <a:pt x="299" y="111"/>
                      <a:pt x="302" y="114"/>
                    </a:cubicBezTo>
                    <a:cubicBezTo>
                      <a:pt x="306" y="120"/>
                      <a:pt x="314" y="127"/>
                      <a:pt x="320" y="130"/>
                    </a:cubicBezTo>
                    <a:cubicBezTo>
                      <a:pt x="329" y="141"/>
                      <a:pt x="338" y="136"/>
                      <a:pt x="353" y="138"/>
                    </a:cubicBezTo>
                    <a:cubicBezTo>
                      <a:pt x="356" y="142"/>
                      <a:pt x="344" y="149"/>
                      <a:pt x="340" y="152"/>
                    </a:cubicBezTo>
                    <a:cubicBezTo>
                      <a:pt x="336" y="155"/>
                      <a:pt x="331" y="153"/>
                      <a:pt x="329" y="157"/>
                    </a:cubicBezTo>
                    <a:cubicBezTo>
                      <a:pt x="325" y="162"/>
                      <a:pt x="329" y="169"/>
                      <a:pt x="328" y="175"/>
                    </a:cubicBezTo>
                    <a:cubicBezTo>
                      <a:pt x="327" y="181"/>
                      <a:pt x="324" y="192"/>
                      <a:pt x="323" y="195"/>
                    </a:cubicBezTo>
                    <a:cubicBezTo>
                      <a:pt x="323" y="197"/>
                      <a:pt x="320" y="193"/>
                      <a:pt x="319" y="192"/>
                    </a:cubicBezTo>
                    <a:cubicBezTo>
                      <a:pt x="314" y="189"/>
                      <a:pt x="310" y="186"/>
                      <a:pt x="305" y="183"/>
                    </a:cubicBezTo>
                    <a:cubicBezTo>
                      <a:pt x="287" y="186"/>
                      <a:pt x="286" y="182"/>
                      <a:pt x="281" y="195"/>
                    </a:cubicBezTo>
                    <a:cubicBezTo>
                      <a:pt x="277" y="200"/>
                      <a:pt x="275" y="207"/>
                      <a:pt x="274" y="214"/>
                    </a:cubicBezTo>
                    <a:cubicBezTo>
                      <a:pt x="274" y="220"/>
                      <a:pt x="279" y="232"/>
                      <a:pt x="278" y="234"/>
                    </a:cubicBezTo>
                    <a:cubicBezTo>
                      <a:pt x="274" y="230"/>
                      <a:pt x="273" y="229"/>
                      <a:pt x="268" y="226"/>
                    </a:cubicBezTo>
                    <a:cubicBezTo>
                      <a:pt x="263" y="226"/>
                      <a:pt x="244" y="226"/>
                      <a:pt x="241" y="232"/>
                    </a:cubicBezTo>
                    <a:cubicBezTo>
                      <a:pt x="238" y="238"/>
                      <a:pt x="246" y="254"/>
                      <a:pt x="247" y="261"/>
                    </a:cubicBezTo>
                    <a:cubicBezTo>
                      <a:pt x="246" y="265"/>
                      <a:pt x="244" y="270"/>
                      <a:pt x="245" y="274"/>
                    </a:cubicBezTo>
                    <a:cubicBezTo>
                      <a:pt x="246" y="278"/>
                      <a:pt x="254" y="283"/>
                      <a:pt x="254" y="283"/>
                    </a:cubicBezTo>
                    <a:cubicBezTo>
                      <a:pt x="254" y="285"/>
                      <a:pt x="248" y="284"/>
                      <a:pt x="242" y="287"/>
                    </a:cubicBezTo>
                    <a:cubicBezTo>
                      <a:pt x="232" y="291"/>
                      <a:pt x="202" y="310"/>
                      <a:pt x="196" y="309"/>
                    </a:cubicBezTo>
                    <a:cubicBezTo>
                      <a:pt x="190" y="308"/>
                      <a:pt x="212" y="287"/>
                      <a:pt x="208" y="282"/>
                    </a:cubicBezTo>
                    <a:cubicBezTo>
                      <a:pt x="204" y="277"/>
                      <a:pt x="183" y="281"/>
                      <a:pt x="172" y="279"/>
                    </a:cubicBezTo>
                    <a:cubicBezTo>
                      <a:pt x="161" y="277"/>
                      <a:pt x="152" y="269"/>
                      <a:pt x="144" y="270"/>
                    </a:cubicBezTo>
                    <a:cubicBezTo>
                      <a:pt x="136" y="271"/>
                      <a:pt x="130" y="282"/>
                      <a:pt x="124" y="283"/>
                    </a:cubicBezTo>
                    <a:cubicBezTo>
                      <a:pt x="118" y="284"/>
                      <a:pt x="116" y="278"/>
                      <a:pt x="109" y="279"/>
                    </a:cubicBezTo>
                    <a:cubicBezTo>
                      <a:pt x="102" y="280"/>
                      <a:pt x="89" y="287"/>
                      <a:pt x="79" y="292"/>
                    </a:cubicBezTo>
                    <a:cubicBezTo>
                      <a:pt x="69" y="297"/>
                      <a:pt x="57" y="308"/>
                      <a:pt x="51" y="312"/>
                    </a:cubicBez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7" name="Freeform 235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3419" y="1864"/>
                <a:ext cx="339" cy="308"/>
              </a:xfrm>
              <a:custGeom>
                <a:avLst/>
                <a:gdLst>
                  <a:gd name="T0" fmla="*/ 339 w 339"/>
                  <a:gd name="T1" fmla="*/ 0 h 308"/>
                  <a:gd name="T2" fmla="*/ 273 w 339"/>
                  <a:gd name="T3" fmla="*/ 23 h 308"/>
                  <a:gd name="T4" fmla="*/ 252 w 339"/>
                  <a:gd name="T5" fmla="*/ 31 h 308"/>
                  <a:gd name="T6" fmla="*/ 233 w 339"/>
                  <a:gd name="T7" fmla="*/ 34 h 308"/>
                  <a:gd name="T8" fmla="*/ 226 w 339"/>
                  <a:gd name="T9" fmla="*/ 55 h 308"/>
                  <a:gd name="T10" fmla="*/ 216 w 339"/>
                  <a:gd name="T11" fmla="*/ 74 h 308"/>
                  <a:gd name="T12" fmla="*/ 221 w 339"/>
                  <a:gd name="T13" fmla="*/ 92 h 308"/>
                  <a:gd name="T14" fmla="*/ 228 w 339"/>
                  <a:gd name="T15" fmla="*/ 103 h 308"/>
                  <a:gd name="T16" fmla="*/ 221 w 339"/>
                  <a:gd name="T17" fmla="*/ 112 h 308"/>
                  <a:gd name="T18" fmla="*/ 194 w 339"/>
                  <a:gd name="T19" fmla="*/ 109 h 308"/>
                  <a:gd name="T20" fmla="*/ 180 w 339"/>
                  <a:gd name="T21" fmla="*/ 101 h 308"/>
                  <a:gd name="T22" fmla="*/ 164 w 339"/>
                  <a:gd name="T23" fmla="*/ 100 h 308"/>
                  <a:gd name="T24" fmla="*/ 147 w 339"/>
                  <a:gd name="T25" fmla="*/ 110 h 308"/>
                  <a:gd name="T26" fmla="*/ 101 w 339"/>
                  <a:gd name="T27" fmla="*/ 86 h 308"/>
                  <a:gd name="T28" fmla="*/ 66 w 339"/>
                  <a:gd name="T29" fmla="*/ 88 h 308"/>
                  <a:gd name="T30" fmla="*/ 54 w 339"/>
                  <a:gd name="T31" fmla="*/ 97 h 308"/>
                  <a:gd name="T32" fmla="*/ 36 w 339"/>
                  <a:gd name="T33" fmla="*/ 116 h 308"/>
                  <a:gd name="T34" fmla="*/ 23 w 339"/>
                  <a:gd name="T35" fmla="*/ 118 h 308"/>
                  <a:gd name="T36" fmla="*/ 12 w 339"/>
                  <a:gd name="T37" fmla="*/ 142 h 308"/>
                  <a:gd name="T38" fmla="*/ 5 w 339"/>
                  <a:gd name="T39" fmla="*/ 155 h 308"/>
                  <a:gd name="T40" fmla="*/ 12 w 339"/>
                  <a:gd name="T41" fmla="*/ 173 h 308"/>
                  <a:gd name="T42" fmla="*/ 26 w 339"/>
                  <a:gd name="T43" fmla="*/ 181 h 308"/>
                  <a:gd name="T44" fmla="*/ 41 w 339"/>
                  <a:gd name="T45" fmla="*/ 202 h 308"/>
                  <a:gd name="T46" fmla="*/ 47 w 339"/>
                  <a:gd name="T47" fmla="*/ 211 h 308"/>
                  <a:gd name="T48" fmla="*/ 48 w 339"/>
                  <a:gd name="T49" fmla="*/ 206 h 308"/>
                  <a:gd name="T50" fmla="*/ 57 w 339"/>
                  <a:gd name="T51" fmla="*/ 200 h 308"/>
                  <a:gd name="T52" fmla="*/ 89 w 339"/>
                  <a:gd name="T53" fmla="*/ 197 h 308"/>
                  <a:gd name="T54" fmla="*/ 108 w 339"/>
                  <a:gd name="T55" fmla="*/ 211 h 308"/>
                  <a:gd name="T56" fmla="*/ 108 w 339"/>
                  <a:gd name="T57" fmla="*/ 221 h 308"/>
                  <a:gd name="T58" fmla="*/ 125 w 339"/>
                  <a:gd name="T59" fmla="*/ 227 h 308"/>
                  <a:gd name="T60" fmla="*/ 113 w 339"/>
                  <a:gd name="T61" fmla="*/ 247 h 308"/>
                  <a:gd name="T62" fmla="*/ 99 w 339"/>
                  <a:gd name="T63" fmla="*/ 233 h 308"/>
                  <a:gd name="T64" fmla="*/ 87 w 339"/>
                  <a:gd name="T65" fmla="*/ 238 h 308"/>
                  <a:gd name="T66" fmla="*/ 74 w 339"/>
                  <a:gd name="T67" fmla="*/ 248 h 308"/>
                  <a:gd name="T68" fmla="*/ 77 w 339"/>
                  <a:gd name="T69" fmla="*/ 265 h 308"/>
                  <a:gd name="T70" fmla="*/ 87 w 339"/>
                  <a:gd name="T71" fmla="*/ 279 h 308"/>
                  <a:gd name="T72" fmla="*/ 102 w 339"/>
                  <a:gd name="T73" fmla="*/ 295 h 308"/>
                  <a:gd name="T74" fmla="*/ 134 w 339"/>
                  <a:gd name="T75" fmla="*/ 293 h 308"/>
                  <a:gd name="T76" fmla="*/ 152 w 339"/>
                  <a:gd name="T77" fmla="*/ 302 h 308"/>
                  <a:gd name="T78" fmla="*/ 153 w 339"/>
                  <a:gd name="T79" fmla="*/ 242 h 308"/>
                  <a:gd name="T80" fmla="*/ 170 w 339"/>
                  <a:gd name="T81" fmla="*/ 235 h 308"/>
                  <a:gd name="T82" fmla="*/ 188 w 339"/>
                  <a:gd name="T83" fmla="*/ 226 h 308"/>
                  <a:gd name="T84" fmla="*/ 206 w 339"/>
                  <a:gd name="T85" fmla="*/ 230 h 308"/>
                  <a:gd name="T86" fmla="*/ 230 w 339"/>
                  <a:gd name="T87" fmla="*/ 253 h 308"/>
                  <a:gd name="T88" fmla="*/ 254 w 339"/>
                  <a:gd name="T89" fmla="*/ 269 h 308"/>
                  <a:gd name="T90" fmla="*/ 287 w 339"/>
                  <a:gd name="T91" fmla="*/ 269 h 308"/>
                  <a:gd name="T92" fmla="*/ 303 w 339"/>
                  <a:gd name="T93" fmla="*/ 287 h 308"/>
                  <a:gd name="T94" fmla="*/ 321 w 339"/>
                  <a:gd name="T95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9" h="308">
                    <a:moveTo>
                      <a:pt x="339" y="0"/>
                    </a:moveTo>
                    <a:cubicBezTo>
                      <a:pt x="328" y="3"/>
                      <a:pt x="287" y="18"/>
                      <a:pt x="273" y="23"/>
                    </a:cubicBezTo>
                    <a:cubicBezTo>
                      <a:pt x="262" y="26"/>
                      <a:pt x="259" y="29"/>
                      <a:pt x="252" y="31"/>
                    </a:cubicBezTo>
                    <a:cubicBezTo>
                      <a:pt x="245" y="33"/>
                      <a:pt x="237" y="30"/>
                      <a:pt x="233" y="34"/>
                    </a:cubicBezTo>
                    <a:cubicBezTo>
                      <a:pt x="225" y="39"/>
                      <a:pt x="229" y="48"/>
                      <a:pt x="226" y="55"/>
                    </a:cubicBezTo>
                    <a:cubicBezTo>
                      <a:pt x="223" y="62"/>
                      <a:pt x="217" y="68"/>
                      <a:pt x="216" y="74"/>
                    </a:cubicBezTo>
                    <a:cubicBezTo>
                      <a:pt x="211" y="82"/>
                      <a:pt x="216" y="85"/>
                      <a:pt x="221" y="92"/>
                    </a:cubicBezTo>
                    <a:cubicBezTo>
                      <a:pt x="223" y="101"/>
                      <a:pt x="226" y="94"/>
                      <a:pt x="228" y="103"/>
                    </a:cubicBezTo>
                    <a:cubicBezTo>
                      <a:pt x="227" y="105"/>
                      <a:pt x="225" y="112"/>
                      <a:pt x="221" y="112"/>
                    </a:cubicBezTo>
                    <a:cubicBezTo>
                      <a:pt x="212" y="112"/>
                      <a:pt x="194" y="109"/>
                      <a:pt x="194" y="109"/>
                    </a:cubicBezTo>
                    <a:cubicBezTo>
                      <a:pt x="189" y="107"/>
                      <a:pt x="185" y="104"/>
                      <a:pt x="180" y="101"/>
                    </a:cubicBezTo>
                    <a:cubicBezTo>
                      <a:pt x="175" y="100"/>
                      <a:pt x="169" y="99"/>
                      <a:pt x="164" y="100"/>
                    </a:cubicBezTo>
                    <a:cubicBezTo>
                      <a:pt x="159" y="101"/>
                      <a:pt x="157" y="112"/>
                      <a:pt x="147" y="110"/>
                    </a:cubicBezTo>
                    <a:cubicBezTo>
                      <a:pt x="133" y="108"/>
                      <a:pt x="114" y="90"/>
                      <a:pt x="101" y="86"/>
                    </a:cubicBezTo>
                    <a:cubicBezTo>
                      <a:pt x="88" y="82"/>
                      <a:pt x="74" y="86"/>
                      <a:pt x="66" y="88"/>
                    </a:cubicBezTo>
                    <a:cubicBezTo>
                      <a:pt x="62" y="93"/>
                      <a:pt x="59" y="94"/>
                      <a:pt x="54" y="97"/>
                    </a:cubicBezTo>
                    <a:cubicBezTo>
                      <a:pt x="53" y="105"/>
                      <a:pt x="43" y="112"/>
                      <a:pt x="36" y="116"/>
                    </a:cubicBezTo>
                    <a:cubicBezTo>
                      <a:pt x="35" y="127"/>
                      <a:pt x="32" y="122"/>
                      <a:pt x="23" y="118"/>
                    </a:cubicBezTo>
                    <a:cubicBezTo>
                      <a:pt x="17" y="112"/>
                      <a:pt x="18" y="136"/>
                      <a:pt x="12" y="142"/>
                    </a:cubicBezTo>
                    <a:cubicBezTo>
                      <a:pt x="11" y="149"/>
                      <a:pt x="10" y="151"/>
                      <a:pt x="5" y="155"/>
                    </a:cubicBezTo>
                    <a:cubicBezTo>
                      <a:pt x="0" y="164"/>
                      <a:pt x="2" y="172"/>
                      <a:pt x="12" y="173"/>
                    </a:cubicBezTo>
                    <a:cubicBezTo>
                      <a:pt x="17" y="175"/>
                      <a:pt x="21" y="178"/>
                      <a:pt x="26" y="181"/>
                    </a:cubicBezTo>
                    <a:cubicBezTo>
                      <a:pt x="32" y="189"/>
                      <a:pt x="31" y="198"/>
                      <a:pt x="41" y="202"/>
                    </a:cubicBezTo>
                    <a:cubicBezTo>
                      <a:pt x="41" y="204"/>
                      <a:pt x="41" y="213"/>
                      <a:pt x="47" y="211"/>
                    </a:cubicBezTo>
                    <a:cubicBezTo>
                      <a:pt x="49" y="210"/>
                      <a:pt x="47" y="207"/>
                      <a:pt x="48" y="206"/>
                    </a:cubicBezTo>
                    <a:cubicBezTo>
                      <a:pt x="50" y="203"/>
                      <a:pt x="54" y="201"/>
                      <a:pt x="57" y="200"/>
                    </a:cubicBezTo>
                    <a:cubicBezTo>
                      <a:pt x="67" y="196"/>
                      <a:pt x="78" y="198"/>
                      <a:pt x="89" y="197"/>
                    </a:cubicBezTo>
                    <a:cubicBezTo>
                      <a:pt x="103" y="195"/>
                      <a:pt x="102" y="200"/>
                      <a:pt x="108" y="211"/>
                    </a:cubicBezTo>
                    <a:cubicBezTo>
                      <a:pt x="113" y="214"/>
                      <a:pt x="105" y="218"/>
                      <a:pt x="108" y="221"/>
                    </a:cubicBezTo>
                    <a:cubicBezTo>
                      <a:pt x="111" y="224"/>
                      <a:pt x="124" y="223"/>
                      <a:pt x="125" y="227"/>
                    </a:cubicBezTo>
                    <a:cubicBezTo>
                      <a:pt x="123" y="236"/>
                      <a:pt x="121" y="243"/>
                      <a:pt x="113" y="247"/>
                    </a:cubicBezTo>
                    <a:cubicBezTo>
                      <a:pt x="106" y="243"/>
                      <a:pt x="108" y="236"/>
                      <a:pt x="99" y="233"/>
                    </a:cubicBezTo>
                    <a:cubicBezTo>
                      <a:pt x="78" y="238"/>
                      <a:pt x="95" y="228"/>
                      <a:pt x="87" y="238"/>
                    </a:cubicBezTo>
                    <a:cubicBezTo>
                      <a:pt x="85" y="241"/>
                      <a:pt x="74" y="248"/>
                      <a:pt x="74" y="248"/>
                    </a:cubicBezTo>
                    <a:cubicBezTo>
                      <a:pt x="70" y="255"/>
                      <a:pt x="66" y="263"/>
                      <a:pt x="77" y="265"/>
                    </a:cubicBezTo>
                    <a:cubicBezTo>
                      <a:pt x="79" y="270"/>
                      <a:pt x="83" y="274"/>
                      <a:pt x="87" y="279"/>
                    </a:cubicBezTo>
                    <a:cubicBezTo>
                      <a:pt x="91" y="284"/>
                      <a:pt x="94" y="293"/>
                      <a:pt x="102" y="295"/>
                    </a:cubicBezTo>
                    <a:cubicBezTo>
                      <a:pt x="113" y="290"/>
                      <a:pt x="120" y="292"/>
                      <a:pt x="134" y="293"/>
                    </a:cubicBezTo>
                    <a:cubicBezTo>
                      <a:pt x="140" y="296"/>
                      <a:pt x="146" y="298"/>
                      <a:pt x="152" y="302"/>
                    </a:cubicBezTo>
                    <a:cubicBezTo>
                      <a:pt x="156" y="293"/>
                      <a:pt x="150" y="253"/>
                      <a:pt x="153" y="242"/>
                    </a:cubicBezTo>
                    <a:cubicBezTo>
                      <a:pt x="156" y="231"/>
                      <a:pt x="164" y="238"/>
                      <a:pt x="170" y="235"/>
                    </a:cubicBezTo>
                    <a:cubicBezTo>
                      <a:pt x="176" y="231"/>
                      <a:pt x="181" y="227"/>
                      <a:pt x="188" y="226"/>
                    </a:cubicBezTo>
                    <a:cubicBezTo>
                      <a:pt x="194" y="227"/>
                      <a:pt x="200" y="229"/>
                      <a:pt x="206" y="230"/>
                    </a:cubicBezTo>
                    <a:cubicBezTo>
                      <a:pt x="217" y="238"/>
                      <a:pt x="214" y="250"/>
                      <a:pt x="230" y="253"/>
                    </a:cubicBezTo>
                    <a:cubicBezTo>
                      <a:pt x="238" y="258"/>
                      <a:pt x="245" y="267"/>
                      <a:pt x="254" y="269"/>
                    </a:cubicBezTo>
                    <a:cubicBezTo>
                      <a:pt x="263" y="272"/>
                      <a:pt x="279" y="266"/>
                      <a:pt x="287" y="269"/>
                    </a:cubicBezTo>
                    <a:cubicBezTo>
                      <a:pt x="295" y="274"/>
                      <a:pt x="295" y="282"/>
                      <a:pt x="303" y="287"/>
                    </a:cubicBezTo>
                    <a:cubicBezTo>
                      <a:pt x="304" y="300"/>
                      <a:pt x="310" y="301"/>
                      <a:pt x="321" y="308"/>
                    </a:cubicBez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22" name="Freeform 236"/>
            <p:cNvSpPr>
              <a:spLocks/>
            </p:cNvSpPr>
            <p:nvPr>
              <p:custDataLst>
                <p:tags r:id="rId128"/>
              </p:custDataLst>
            </p:nvPr>
          </p:nvSpPr>
          <p:spPr bwMode="gray">
            <a:xfrm>
              <a:off x="3975089" y="1426996"/>
              <a:ext cx="32397" cy="3401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3" name="Freeform 237"/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3975089" y="1426996"/>
              <a:ext cx="32397" cy="3401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4" name="Freeform 311"/>
            <p:cNvSpPr>
              <a:spLocks/>
            </p:cNvSpPr>
            <p:nvPr>
              <p:custDataLst>
                <p:tags r:id="rId130"/>
              </p:custDataLst>
            </p:nvPr>
          </p:nvSpPr>
          <p:spPr bwMode="gray">
            <a:xfrm>
              <a:off x="3816345" y="2115388"/>
              <a:ext cx="278613" cy="183032"/>
            </a:xfrm>
            <a:custGeom>
              <a:avLst/>
              <a:gdLst>
                <a:gd name="T0" fmla="*/ 32 w 169"/>
                <a:gd name="T1" fmla="*/ 1 h 113"/>
                <a:gd name="T2" fmla="*/ 50 w 169"/>
                <a:gd name="T3" fmla="*/ 17 h 113"/>
                <a:gd name="T4" fmla="*/ 60 w 169"/>
                <a:gd name="T5" fmla="*/ 31 h 113"/>
                <a:gd name="T6" fmla="*/ 72 w 169"/>
                <a:gd name="T7" fmla="*/ 25 h 113"/>
                <a:gd name="T8" fmla="*/ 114 w 169"/>
                <a:gd name="T9" fmla="*/ 13 h 113"/>
                <a:gd name="T10" fmla="*/ 152 w 169"/>
                <a:gd name="T11" fmla="*/ 11 h 113"/>
                <a:gd name="T12" fmla="*/ 148 w 169"/>
                <a:gd name="T13" fmla="*/ 23 h 113"/>
                <a:gd name="T14" fmla="*/ 166 w 169"/>
                <a:gd name="T15" fmla="*/ 45 h 113"/>
                <a:gd name="T16" fmla="*/ 158 w 169"/>
                <a:gd name="T17" fmla="*/ 67 h 113"/>
                <a:gd name="T18" fmla="*/ 134 w 169"/>
                <a:gd name="T19" fmla="*/ 87 h 113"/>
                <a:gd name="T20" fmla="*/ 116 w 169"/>
                <a:gd name="T21" fmla="*/ 95 h 113"/>
                <a:gd name="T22" fmla="*/ 112 w 169"/>
                <a:gd name="T23" fmla="*/ 107 h 113"/>
                <a:gd name="T24" fmla="*/ 94 w 169"/>
                <a:gd name="T25" fmla="*/ 113 h 113"/>
                <a:gd name="T26" fmla="*/ 54 w 169"/>
                <a:gd name="T27" fmla="*/ 97 h 113"/>
                <a:gd name="T28" fmla="*/ 24 w 169"/>
                <a:gd name="T29" fmla="*/ 107 h 113"/>
                <a:gd name="T30" fmla="*/ 38 w 169"/>
                <a:gd name="T31" fmla="*/ 85 h 113"/>
                <a:gd name="T32" fmla="*/ 16 w 169"/>
                <a:gd name="T33" fmla="*/ 69 h 113"/>
                <a:gd name="T34" fmla="*/ 2 w 169"/>
                <a:gd name="T35" fmla="*/ 55 h 113"/>
                <a:gd name="T36" fmla="*/ 26 w 169"/>
                <a:gd name="T37" fmla="*/ 53 h 113"/>
                <a:gd name="T38" fmla="*/ 24 w 169"/>
                <a:gd name="T39" fmla="*/ 47 h 113"/>
                <a:gd name="T40" fmla="*/ 0 w 169"/>
                <a:gd name="T41" fmla="*/ 41 h 113"/>
                <a:gd name="T42" fmla="*/ 4 w 169"/>
                <a:gd name="T43" fmla="*/ 29 h 113"/>
                <a:gd name="T44" fmla="*/ 16 w 169"/>
                <a:gd name="T45" fmla="*/ 21 h 113"/>
                <a:gd name="T46" fmla="*/ 28 w 169"/>
                <a:gd name="T47" fmla="*/ 5 h 113"/>
                <a:gd name="T48" fmla="*/ 32 w 169"/>
                <a:gd name="T49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9" h="113">
                  <a:moveTo>
                    <a:pt x="32" y="1"/>
                  </a:moveTo>
                  <a:cubicBezTo>
                    <a:pt x="35" y="6"/>
                    <a:pt x="45" y="15"/>
                    <a:pt x="50" y="17"/>
                  </a:cubicBezTo>
                  <a:cubicBezTo>
                    <a:pt x="53" y="45"/>
                    <a:pt x="50" y="43"/>
                    <a:pt x="60" y="31"/>
                  </a:cubicBezTo>
                  <a:cubicBezTo>
                    <a:pt x="63" y="27"/>
                    <a:pt x="68" y="26"/>
                    <a:pt x="72" y="25"/>
                  </a:cubicBezTo>
                  <a:cubicBezTo>
                    <a:pt x="81" y="11"/>
                    <a:pt x="99" y="14"/>
                    <a:pt x="114" y="13"/>
                  </a:cubicBezTo>
                  <a:cubicBezTo>
                    <a:pt x="126" y="5"/>
                    <a:pt x="131" y="0"/>
                    <a:pt x="152" y="11"/>
                  </a:cubicBezTo>
                  <a:cubicBezTo>
                    <a:pt x="156" y="13"/>
                    <a:pt x="148" y="23"/>
                    <a:pt x="148" y="23"/>
                  </a:cubicBezTo>
                  <a:cubicBezTo>
                    <a:pt x="157" y="29"/>
                    <a:pt x="158" y="37"/>
                    <a:pt x="166" y="45"/>
                  </a:cubicBezTo>
                  <a:cubicBezTo>
                    <a:pt x="169" y="54"/>
                    <a:pt x="168" y="64"/>
                    <a:pt x="158" y="67"/>
                  </a:cubicBezTo>
                  <a:cubicBezTo>
                    <a:pt x="147" y="84"/>
                    <a:pt x="161" y="84"/>
                    <a:pt x="134" y="87"/>
                  </a:cubicBezTo>
                  <a:cubicBezTo>
                    <a:pt x="127" y="89"/>
                    <a:pt x="123" y="93"/>
                    <a:pt x="116" y="95"/>
                  </a:cubicBezTo>
                  <a:cubicBezTo>
                    <a:pt x="115" y="99"/>
                    <a:pt x="113" y="103"/>
                    <a:pt x="112" y="107"/>
                  </a:cubicBezTo>
                  <a:cubicBezTo>
                    <a:pt x="110" y="113"/>
                    <a:pt x="94" y="113"/>
                    <a:pt x="94" y="113"/>
                  </a:cubicBezTo>
                  <a:cubicBezTo>
                    <a:pt x="77" y="111"/>
                    <a:pt x="69" y="102"/>
                    <a:pt x="54" y="97"/>
                  </a:cubicBezTo>
                  <a:cubicBezTo>
                    <a:pt x="26" y="100"/>
                    <a:pt x="41" y="101"/>
                    <a:pt x="24" y="107"/>
                  </a:cubicBezTo>
                  <a:cubicBezTo>
                    <a:pt x="21" y="98"/>
                    <a:pt x="32" y="93"/>
                    <a:pt x="38" y="85"/>
                  </a:cubicBezTo>
                  <a:cubicBezTo>
                    <a:pt x="28" y="79"/>
                    <a:pt x="29" y="72"/>
                    <a:pt x="16" y="69"/>
                  </a:cubicBezTo>
                  <a:cubicBezTo>
                    <a:pt x="9" y="64"/>
                    <a:pt x="9" y="60"/>
                    <a:pt x="2" y="55"/>
                  </a:cubicBezTo>
                  <a:cubicBezTo>
                    <a:pt x="10" y="54"/>
                    <a:pt x="18" y="56"/>
                    <a:pt x="26" y="53"/>
                  </a:cubicBezTo>
                  <a:cubicBezTo>
                    <a:pt x="28" y="52"/>
                    <a:pt x="26" y="48"/>
                    <a:pt x="24" y="47"/>
                  </a:cubicBezTo>
                  <a:cubicBezTo>
                    <a:pt x="17" y="43"/>
                    <a:pt x="0" y="41"/>
                    <a:pt x="0" y="41"/>
                  </a:cubicBezTo>
                  <a:cubicBezTo>
                    <a:pt x="1" y="37"/>
                    <a:pt x="0" y="31"/>
                    <a:pt x="4" y="29"/>
                  </a:cubicBezTo>
                  <a:cubicBezTo>
                    <a:pt x="8" y="26"/>
                    <a:pt x="16" y="21"/>
                    <a:pt x="16" y="21"/>
                  </a:cubicBezTo>
                  <a:cubicBezTo>
                    <a:pt x="19" y="13"/>
                    <a:pt x="21" y="10"/>
                    <a:pt x="28" y="5"/>
                  </a:cubicBezTo>
                  <a:cubicBezTo>
                    <a:pt x="38" y="8"/>
                    <a:pt x="38" y="9"/>
                    <a:pt x="32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5" name="Freeform 312"/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2735911" y="1300656"/>
              <a:ext cx="1235939" cy="1162977"/>
            </a:xfrm>
            <a:custGeom>
              <a:avLst/>
              <a:gdLst>
                <a:gd name="T0" fmla="*/ 188 w 763"/>
                <a:gd name="T1" fmla="*/ 119 h 718"/>
                <a:gd name="T2" fmla="*/ 209 w 763"/>
                <a:gd name="T3" fmla="*/ 172 h 718"/>
                <a:gd name="T4" fmla="*/ 210 w 763"/>
                <a:gd name="T5" fmla="*/ 248 h 718"/>
                <a:gd name="T6" fmla="*/ 228 w 763"/>
                <a:gd name="T7" fmla="*/ 287 h 718"/>
                <a:gd name="T8" fmla="*/ 248 w 763"/>
                <a:gd name="T9" fmla="*/ 299 h 718"/>
                <a:gd name="T10" fmla="*/ 276 w 763"/>
                <a:gd name="T11" fmla="*/ 324 h 718"/>
                <a:gd name="T12" fmla="*/ 222 w 763"/>
                <a:gd name="T13" fmla="*/ 332 h 718"/>
                <a:gd name="T14" fmla="*/ 238 w 763"/>
                <a:gd name="T15" fmla="*/ 380 h 718"/>
                <a:gd name="T16" fmla="*/ 276 w 763"/>
                <a:gd name="T17" fmla="*/ 354 h 718"/>
                <a:gd name="T18" fmla="*/ 276 w 763"/>
                <a:gd name="T19" fmla="*/ 410 h 718"/>
                <a:gd name="T20" fmla="*/ 237 w 763"/>
                <a:gd name="T21" fmla="*/ 427 h 718"/>
                <a:gd name="T22" fmla="*/ 256 w 763"/>
                <a:gd name="T23" fmla="*/ 525 h 718"/>
                <a:gd name="T24" fmla="*/ 303 w 763"/>
                <a:gd name="T25" fmla="*/ 669 h 718"/>
                <a:gd name="T26" fmla="*/ 353 w 763"/>
                <a:gd name="T27" fmla="*/ 690 h 718"/>
                <a:gd name="T28" fmla="*/ 392 w 763"/>
                <a:gd name="T29" fmla="*/ 707 h 718"/>
                <a:gd name="T30" fmla="*/ 411 w 763"/>
                <a:gd name="T31" fmla="*/ 629 h 718"/>
                <a:gd name="T32" fmla="*/ 440 w 763"/>
                <a:gd name="T33" fmla="*/ 559 h 718"/>
                <a:gd name="T34" fmla="*/ 442 w 763"/>
                <a:gd name="T35" fmla="*/ 542 h 718"/>
                <a:gd name="T36" fmla="*/ 486 w 763"/>
                <a:gd name="T37" fmla="*/ 525 h 718"/>
                <a:gd name="T38" fmla="*/ 591 w 763"/>
                <a:gd name="T39" fmla="*/ 429 h 718"/>
                <a:gd name="T40" fmla="*/ 698 w 763"/>
                <a:gd name="T41" fmla="*/ 361 h 718"/>
                <a:gd name="T42" fmla="*/ 672 w 763"/>
                <a:gd name="T43" fmla="*/ 337 h 718"/>
                <a:gd name="T44" fmla="*/ 670 w 763"/>
                <a:gd name="T45" fmla="*/ 315 h 718"/>
                <a:gd name="T46" fmla="*/ 679 w 763"/>
                <a:gd name="T47" fmla="*/ 284 h 718"/>
                <a:gd name="T48" fmla="*/ 697 w 763"/>
                <a:gd name="T49" fmla="*/ 337 h 718"/>
                <a:gd name="T50" fmla="*/ 722 w 763"/>
                <a:gd name="T51" fmla="*/ 283 h 718"/>
                <a:gd name="T52" fmla="*/ 720 w 763"/>
                <a:gd name="T53" fmla="*/ 248 h 718"/>
                <a:gd name="T54" fmla="*/ 698 w 763"/>
                <a:gd name="T55" fmla="*/ 200 h 718"/>
                <a:gd name="T56" fmla="*/ 737 w 763"/>
                <a:gd name="T57" fmla="*/ 159 h 718"/>
                <a:gd name="T58" fmla="*/ 756 w 763"/>
                <a:gd name="T59" fmla="*/ 143 h 718"/>
                <a:gd name="T60" fmla="*/ 746 w 763"/>
                <a:gd name="T61" fmla="*/ 112 h 718"/>
                <a:gd name="T62" fmla="*/ 751 w 763"/>
                <a:gd name="T63" fmla="*/ 65 h 718"/>
                <a:gd name="T64" fmla="*/ 727 w 763"/>
                <a:gd name="T65" fmla="*/ 19 h 718"/>
                <a:gd name="T66" fmla="*/ 4 w 763"/>
                <a:gd name="T67" fmla="*/ 0 h 718"/>
                <a:gd name="T68" fmla="*/ 4 w 763"/>
                <a:gd name="T69" fmla="*/ 33 h 718"/>
                <a:gd name="T70" fmla="*/ 57 w 763"/>
                <a:gd name="T71" fmla="*/ 30 h 718"/>
                <a:gd name="T72" fmla="*/ 172 w 763"/>
                <a:gd name="T73" fmla="*/ 6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3" h="718">
                  <a:moveTo>
                    <a:pt x="172" y="71"/>
                  </a:moveTo>
                  <a:lnTo>
                    <a:pt x="188" y="119"/>
                  </a:lnTo>
                  <a:lnTo>
                    <a:pt x="191" y="150"/>
                  </a:lnTo>
                  <a:lnTo>
                    <a:pt x="209" y="172"/>
                  </a:lnTo>
                  <a:lnTo>
                    <a:pt x="203" y="230"/>
                  </a:lnTo>
                  <a:lnTo>
                    <a:pt x="210" y="248"/>
                  </a:lnTo>
                  <a:lnTo>
                    <a:pt x="210" y="290"/>
                  </a:lnTo>
                  <a:lnTo>
                    <a:pt x="228" y="287"/>
                  </a:lnTo>
                  <a:lnTo>
                    <a:pt x="237" y="265"/>
                  </a:lnTo>
                  <a:lnTo>
                    <a:pt x="248" y="299"/>
                  </a:lnTo>
                  <a:lnTo>
                    <a:pt x="266" y="305"/>
                  </a:lnTo>
                  <a:lnTo>
                    <a:pt x="276" y="324"/>
                  </a:lnTo>
                  <a:lnTo>
                    <a:pt x="231" y="314"/>
                  </a:lnTo>
                  <a:lnTo>
                    <a:pt x="222" y="332"/>
                  </a:lnTo>
                  <a:lnTo>
                    <a:pt x="220" y="361"/>
                  </a:lnTo>
                  <a:lnTo>
                    <a:pt x="238" y="380"/>
                  </a:lnTo>
                  <a:lnTo>
                    <a:pt x="257" y="373"/>
                  </a:lnTo>
                  <a:lnTo>
                    <a:pt x="276" y="354"/>
                  </a:lnTo>
                  <a:lnTo>
                    <a:pt x="287" y="380"/>
                  </a:lnTo>
                  <a:lnTo>
                    <a:pt x="276" y="410"/>
                  </a:lnTo>
                  <a:lnTo>
                    <a:pt x="260" y="410"/>
                  </a:lnTo>
                  <a:lnTo>
                    <a:pt x="237" y="427"/>
                  </a:lnTo>
                  <a:lnTo>
                    <a:pt x="238" y="510"/>
                  </a:lnTo>
                  <a:lnTo>
                    <a:pt x="256" y="525"/>
                  </a:lnTo>
                  <a:lnTo>
                    <a:pt x="268" y="575"/>
                  </a:lnTo>
                  <a:lnTo>
                    <a:pt x="303" y="669"/>
                  </a:lnTo>
                  <a:lnTo>
                    <a:pt x="324" y="690"/>
                  </a:lnTo>
                  <a:lnTo>
                    <a:pt x="353" y="690"/>
                  </a:lnTo>
                  <a:lnTo>
                    <a:pt x="381" y="718"/>
                  </a:lnTo>
                  <a:lnTo>
                    <a:pt x="392" y="707"/>
                  </a:lnTo>
                  <a:lnTo>
                    <a:pt x="411" y="646"/>
                  </a:lnTo>
                  <a:lnTo>
                    <a:pt x="411" y="629"/>
                  </a:lnTo>
                  <a:lnTo>
                    <a:pt x="430" y="603"/>
                  </a:lnTo>
                  <a:lnTo>
                    <a:pt x="440" y="559"/>
                  </a:lnTo>
                  <a:lnTo>
                    <a:pt x="430" y="545"/>
                  </a:lnTo>
                  <a:lnTo>
                    <a:pt x="442" y="542"/>
                  </a:lnTo>
                  <a:lnTo>
                    <a:pt x="446" y="523"/>
                  </a:lnTo>
                  <a:lnTo>
                    <a:pt x="486" y="525"/>
                  </a:lnTo>
                  <a:lnTo>
                    <a:pt x="574" y="427"/>
                  </a:lnTo>
                  <a:lnTo>
                    <a:pt x="591" y="429"/>
                  </a:lnTo>
                  <a:lnTo>
                    <a:pt x="635" y="408"/>
                  </a:lnTo>
                  <a:lnTo>
                    <a:pt x="698" y="361"/>
                  </a:lnTo>
                  <a:lnTo>
                    <a:pt x="709" y="343"/>
                  </a:lnTo>
                  <a:lnTo>
                    <a:pt x="672" y="337"/>
                  </a:lnTo>
                  <a:lnTo>
                    <a:pt x="647" y="343"/>
                  </a:lnTo>
                  <a:lnTo>
                    <a:pt x="670" y="315"/>
                  </a:lnTo>
                  <a:lnTo>
                    <a:pt x="661" y="293"/>
                  </a:lnTo>
                  <a:lnTo>
                    <a:pt x="679" y="284"/>
                  </a:lnTo>
                  <a:lnTo>
                    <a:pt x="688" y="326"/>
                  </a:lnTo>
                  <a:lnTo>
                    <a:pt x="697" y="337"/>
                  </a:lnTo>
                  <a:lnTo>
                    <a:pt x="720" y="326"/>
                  </a:lnTo>
                  <a:lnTo>
                    <a:pt x="722" y="283"/>
                  </a:lnTo>
                  <a:lnTo>
                    <a:pt x="678" y="230"/>
                  </a:lnTo>
                  <a:lnTo>
                    <a:pt x="720" y="248"/>
                  </a:lnTo>
                  <a:lnTo>
                    <a:pt x="720" y="208"/>
                  </a:lnTo>
                  <a:lnTo>
                    <a:pt x="698" y="200"/>
                  </a:lnTo>
                  <a:lnTo>
                    <a:pt x="737" y="178"/>
                  </a:lnTo>
                  <a:lnTo>
                    <a:pt x="737" y="159"/>
                  </a:lnTo>
                  <a:lnTo>
                    <a:pt x="726" y="152"/>
                  </a:lnTo>
                  <a:lnTo>
                    <a:pt x="756" y="143"/>
                  </a:lnTo>
                  <a:lnTo>
                    <a:pt x="763" y="115"/>
                  </a:lnTo>
                  <a:lnTo>
                    <a:pt x="746" y="112"/>
                  </a:lnTo>
                  <a:lnTo>
                    <a:pt x="757" y="87"/>
                  </a:lnTo>
                  <a:lnTo>
                    <a:pt x="751" y="65"/>
                  </a:lnTo>
                  <a:lnTo>
                    <a:pt x="747" y="33"/>
                  </a:lnTo>
                  <a:lnTo>
                    <a:pt x="727" y="19"/>
                  </a:lnTo>
                  <a:lnTo>
                    <a:pt x="727" y="3"/>
                  </a:lnTo>
                  <a:lnTo>
                    <a:pt x="4" y="0"/>
                  </a:lnTo>
                  <a:lnTo>
                    <a:pt x="0" y="15"/>
                  </a:lnTo>
                  <a:lnTo>
                    <a:pt x="4" y="33"/>
                  </a:lnTo>
                  <a:lnTo>
                    <a:pt x="49" y="42"/>
                  </a:lnTo>
                  <a:lnTo>
                    <a:pt x="57" y="30"/>
                  </a:lnTo>
                  <a:lnTo>
                    <a:pt x="118" y="34"/>
                  </a:lnTo>
                  <a:lnTo>
                    <a:pt x="172" y="61"/>
                  </a:lnTo>
                  <a:lnTo>
                    <a:pt x="172" y="71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6" name="Freeform 320"/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4197008" y="3142305"/>
              <a:ext cx="80992" cy="174932"/>
            </a:xfrm>
            <a:custGeom>
              <a:avLst/>
              <a:gdLst>
                <a:gd name="T0" fmla="*/ 9 w 50"/>
                <a:gd name="T1" fmla="*/ 0 h 111"/>
                <a:gd name="T2" fmla="*/ 25 w 50"/>
                <a:gd name="T3" fmla="*/ 17 h 111"/>
                <a:gd name="T4" fmla="*/ 46 w 50"/>
                <a:gd name="T5" fmla="*/ 20 h 111"/>
                <a:gd name="T6" fmla="*/ 46 w 50"/>
                <a:gd name="T7" fmla="*/ 33 h 111"/>
                <a:gd name="T8" fmla="*/ 40 w 50"/>
                <a:gd name="T9" fmla="*/ 47 h 111"/>
                <a:gd name="T10" fmla="*/ 28 w 50"/>
                <a:gd name="T11" fmla="*/ 111 h 111"/>
                <a:gd name="T12" fmla="*/ 4 w 50"/>
                <a:gd name="T13" fmla="*/ 86 h 111"/>
                <a:gd name="T14" fmla="*/ 9 w 50"/>
                <a:gd name="T15" fmla="*/ 63 h 111"/>
                <a:gd name="T16" fmla="*/ 7 w 50"/>
                <a:gd name="T17" fmla="*/ 12 h 111"/>
                <a:gd name="T18" fmla="*/ 9 w 50"/>
                <a:gd name="T1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111">
                  <a:moveTo>
                    <a:pt x="9" y="0"/>
                  </a:moveTo>
                  <a:cubicBezTo>
                    <a:pt x="12" y="1"/>
                    <a:pt x="19" y="14"/>
                    <a:pt x="25" y="17"/>
                  </a:cubicBezTo>
                  <a:cubicBezTo>
                    <a:pt x="31" y="20"/>
                    <a:pt x="42" y="17"/>
                    <a:pt x="46" y="20"/>
                  </a:cubicBezTo>
                  <a:cubicBezTo>
                    <a:pt x="50" y="25"/>
                    <a:pt x="49" y="27"/>
                    <a:pt x="46" y="33"/>
                  </a:cubicBezTo>
                  <a:cubicBezTo>
                    <a:pt x="45" y="39"/>
                    <a:pt x="43" y="42"/>
                    <a:pt x="40" y="47"/>
                  </a:cubicBezTo>
                  <a:cubicBezTo>
                    <a:pt x="38" y="68"/>
                    <a:pt x="41" y="93"/>
                    <a:pt x="28" y="111"/>
                  </a:cubicBezTo>
                  <a:cubicBezTo>
                    <a:pt x="3" y="109"/>
                    <a:pt x="16" y="103"/>
                    <a:pt x="4" y="86"/>
                  </a:cubicBezTo>
                  <a:cubicBezTo>
                    <a:pt x="2" y="77"/>
                    <a:pt x="0" y="68"/>
                    <a:pt x="9" y="63"/>
                  </a:cubicBezTo>
                  <a:cubicBezTo>
                    <a:pt x="10" y="41"/>
                    <a:pt x="15" y="31"/>
                    <a:pt x="7" y="12"/>
                  </a:cubicBezTo>
                  <a:cubicBezTo>
                    <a:pt x="8" y="8"/>
                    <a:pt x="9" y="0"/>
                    <a:pt x="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7" name="Freeform 331"/>
            <p:cNvSpPr>
              <a:spLocks/>
            </p:cNvSpPr>
            <p:nvPr/>
          </p:nvSpPr>
          <p:spPr bwMode="gray">
            <a:xfrm>
              <a:off x="7208292" y="4535718"/>
              <a:ext cx="948314" cy="843456"/>
            </a:xfrm>
            <a:custGeom>
              <a:avLst/>
              <a:gdLst/>
              <a:ahLst/>
              <a:cxnLst/>
              <a:rect l="l" t="t" r="r" b="b"/>
              <a:pathLst>
                <a:path w="929381" h="826665">
                  <a:moveTo>
                    <a:pt x="693000" y="752264"/>
                  </a:moveTo>
                  <a:cubicBezTo>
                    <a:pt x="698193" y="754675"/>
                    <a:pt x="703711" y="759498"/>
                    <a:pt x="709229" y="760531"/>
                  </a:cubicBezTo>
                  <a:cubicBezTo>
                    <a:pt x="711826" y="761909"/>
                    <a:pt x="717993" y="762598"/>
                    <a:pt x="717993" y="762598"/>
                  </a:cubicBezTo>
                  <a:cubicBezTo>
                    <a:pt x="721239" y="764320"/>
                    <a:pt x="725459" y="763975"/>
                    <a:pt x="729029" y="764664"/>
                  </a:cubicBezTo>
                  <a:cubicBezTo>
                    <a:pt x="734547" y="767075"/>
                    <a:pt x="739741" y="765353"/>
                    <a:pt x="746233" y="765353"/>
                  </a:cubicBezTo>
                  <a:cubicBezTo>
                    <a:pt x="747856" y="764320"/>
                    <a:pt x="749154" y="763631"/>
                    <a:pt x="751102" y="763287"/>
                  </a:cubicBezTo>
                  <a:cubicBezTo>
                    <a:pt x="753049" y="761564"/>
                    <a:pt x="756295" y="759842"/>
                    <a:pt x="758892" y="759153"/>
                  </a:cubicBezTo>
                  <a:cubicBezTo>
                    <a:pt x="762138" y="757431"/>
                    <a:pt x="766033" y="758120"/>
                    <a:pt x="769603" y="758464"/>
                  </a:cubicBezTo>
                  <a:cubicBezTo>
                    <a:pt x="770577" y="763287"/>
                    <a:pt x="771226" y="768109"/>
                    <a:pt x="768954" y="772931"/>
                  </a:cubicBezTo>
                  <a:cubicBezTo>
                    <a:pt x="768305" y="776720"/>
                    <a:pt x="768305" y="780509"/>
                    <a:pt x="767007" y="783954"/>
                  </a:cubicBezTo>
                  <a:cubicBezTo>
                    <a:pt x="766682" y="786709"/>
                    <a:pt x="765059" y="788776"/>
                    <a:pt x="763111" y="790498"/>
                  </a:cubicBezTo>
                  <a:cubicBezTo>
                    <a:pt x="761813" y="792909"/>
                    <a:pt x="761489" y="795320"/>
                    <a:pt x="760190" y="797731"/>
                  </a:cubicBezTo>
                  <a:cubicBezTo>
                    <a:pt x="759866" y="799798"/>
                    <a:pt x="758892" y="800832"/>
                    <a:pt x="758243" y="802554"/>
                  </a:cubicBezTo>
                  <a:cubicBezTo>
                    <a:pt x="757593" y="805654"/>
                    <a:pt x="758892" y="809443"/>
                    <a:pt x="755321" y="810132"/>
                  </a:cubicBezTo>
                  <a:cubicBezTo>
                    <a:pt x="752238" y="811337"/>
                    <a:pt x="750777" y="810993"/>
                    <a:pt x="745584" y="811854"/>
                  </a:cubicBezTo>
                  <a:lnTo>
                    <a:pt x="740390" y="815987"/>
                  </a:lnTo>
                  <a:cubicBezTo>
                    <a:pt x="739416" y="817021"/>
                    <a:pt x="739416" y="816676"/>
                    <a:pt x="737793" y="818054"/>
                  </a:cubicBezTo>
                  <a:cubicBezTo>
                    <a:pt x="736170" y="819432"/>
                    <a:pt x="735521" y="822187"/>
                    <a:pt x="733574" y="823565"/>
                  </a:cubicBezTo>
                  <a:cubicBezTo>
                    <a:pt x="732600" y="825632"/>
                    <a:pt x="732275" y="826321"/>
                    <a:pt x="730003" y="826665"/>
                  </a:cubicBezTo>
                  <a:cubicBezTo>
                    <a:pt x="719292" y="826321"/>
                    <a:pt x="720915" y="826665"/>
                    <a:pt x="714423" y="822532"/>
                  </a:cubicBezTo>
                  <a:cubicBezTo>
                    <a:pt x="712800" y="820121"/>
                    <a:pt x="711826" y="818743"/>
                    <a:pt x="709554" y="817365"/>
                  </a:cubicBezTo>
                  <a:cubicBezTo>
                    <a:pt x="707931" y="814954"/>
                    <a:pt x="707606" y="813576"/>
                    <a:pt x="704685" y="812887"/>
                  </a:cubicBezTo>
                  <a:cubicBezTo>
                    <a:pt x="702088" y="810821"/>
                    <a:pt x="699167" y="806343"/>
                    <a:pt x="697869" y="802898"/>
                  </a:cubicBezTo>
                  <a:cubicBezTo>
                    <a:pt x="697544" y="799454"/>
                    <a:pt x="696570" y="794976"/>
                    <a:pt x="700465" y="794287"/>
                  </a:cubicBezTo>
                  <a:cubicBezTo>
                    <a:pt x="702413" y="793254"/>
                    <a:pt x="701764" y="792220"/>
                    <a:pt x="700790" y="790154"/>
                  </a:cubicBezTo>
                  <a:cubicBezTo>
                    <a:pt x="700465" y="787742"/>
                    <a:pt x="699167" y="785676"/>
                    <a:pt x="697544" y="783954"/>
                  </a:cubicBezTo>
                  <a:cubicBezTo>
                    <a:pt x="696570" y="781542"/>
                    <a:pt x="695272" y="779820"/>
                    <a:pt x="693974" y="777753"/>
                  </a:cubicBezTo>
                  <a:cubicBezTo>
                    <a:pt x="693649" y="775342"/>
                    <a:pt x="693000" y="774998"/>
                    <a:pt x="691052" y="773964"/>
                  </a:cubicBezTo>
                  <a:cubicBezTo>
                    <a:pt x="690728" y="771553"/>
                    <a:pt x="690403" y="770864"/>
                    <a:pt x="688780" y="769487"/>
                  </a:cubicBezTo>
                  <a:cubicBezTo>
                    <a:pt x="687806" y="767075"/>
                    <a:pt x="687482" y="764664"/>
                    <a:pt x="687157" y="762253"/>
                  </a:cubicBezTo>
                  <a:cubicBezTo>
                    <a:pt x="687806" y="758464"/>
                    <a:pt x="687157" y="756053"/>
                    <a:pt x="689754" y="753986"/>
                  </a:cubicBezTo>
                  <a:cubicBezTo>
                    <a:pt x="691052" y="751575"/>
                    <a:pt x="690079" y="752264"/>
                    <a:pt x="693000" y="752264"/>
                  </a:cubicBezTo>
                  <a:close/>
                  <a:moveTo>
                    <a:pt x="0" y="395067"/>
                  </a:moveTo>
                  <a:cubicBezTo>
                    <a:pt x="1288" y="397374"/>
                    <a:pt x="2497" y="399746"/>
                    <a:pt x="3037" y="402446"/>
                  </a:cubicBezTo>
                  <a:cubicBezTo>
                    <a:pt x="891" y="400845"/>
                    <a:pt x="184" y="395849"/>
                    <a:pt x="0" y="395067"/>
                  </a:cubicBezTo>
                  <a:close/>
                  <a:moveTo>
                    <a:pt x="681395" y="757"/>
                  </a:moveTo>
                  <a:cubicBezTo>
                    <a:pt x="682613" y="-1224"/>
                    <a:pt x="686183" y="671"/>
                    <a:pt x="694623" y="6526"/>
                  </a:cubicBezTo>
                  <a:cubicBezTo>
                    <a:pt x="698193" y="12382"/>
                    <a:pt x="697869" y="15826"/>
                    <a:pt x="704036" y="18237"/>
                  </a:cubicBezTo>
                  <a:cubicBezTo>
                    <a:pt x="705984" y="38216"/>
                    <a:pt x="704036" y="29604"/>
                    <a:pt x="708905" y="44760"/>
                  </a:cubicBezTo>
                  <a:cubicBezTo>
                    <a:pt x="710528" y="49582"/>
                    <a:pt x="713449" y="59572"/>
                    <a:pt x="713449" y="59572"/>
                  </a:cubicBezTo>
                  <a:cubicBezTo>
                    <a:pt x="715072" y="70938"/>
                    <a:pt x="713774" y="91606"/>
                    <a:pt x="725784" y="96083"/>
                  </a:cubicBezTo>
                  <a:cubicBezTo>
                    <a:pt x="736820" y="91950"/>
                    <a:pt x="731951" y="88161"/>
                    <a:pt x="740065" y="90917"/>
                  </a:cubicBezTo>
                  <a:cubicBezTo>
                    <a:pt x="743636" y="97117"/>
                    <a:pt x="747206" y="96428"/>
                    <a:pt x="750777" y="102628"/>
                  </a:cubicBezTo>
                  <a:cubicBezTo>
                    <a:pt x="751426" y="108484"/>
                    <a:pt x="751426" y="114684"/>
                    <a:pt x="752400" y="120539"/>
                  </a:cubicBezTo>
                  <a:cubicBezTo>
                    <a:pt x="753049" y="123984"/>
                    <a:pt x="755646" y="130529"/>
                    <a:pt x="755646" y="130529"/>
                  </a:cubicBezTo>
                  <a:cubicBezTo>
                    <a:pt x="756295" y="136384"/>
                    <a:pt x="758892" y="146718"/>
                    <a:pt x="760839" y="152573"/>
                  </a:cubicBezTo>
                  <a:cubicBezTo>
                    <a:pt x="762787" y="158429"/>
                    <a:pt x="766357" y="162907"/>
                    <a:pt x="767980" y="167040"/>
                  </a:cubicBezTo>
                  <a:cubicBezTo>
                    <a:pt x="768954" y="170485"/>
                    <a:pt x="771226" y="173585"/>
                    <a:pt x="771226" y="177029"/>
                  </a:cubicBezTo>
                  <a:cubicBezTo>
                    <a:pt x="771551" y="187363"/>
                    <a:pt x="770577" y="198041"/>
                    <a:pt x="772524" y="208374"/>
                  </a:cubicBezTo>
                  <a:cubicBezTo>
                    <a:pt x="772849" y="210441"/>
                    <a:pt x="775770" y="210441"/>
                    <a:pt x="777393" y="211475"/>
                  </a:cubicBezTo>
                  <a:cubicBezTo>
                    <a:pt x="784859" y="216641"/>
                    <a:pt x="792649" y="218708"/>
                    <a:pt x="800764" y="221464"/>
                  </a:cubicBezTo>
                  <a:cubicBezTo>
                    <a:pt x="803685" y="223875"/>
                    <a:pt x="807580" y="225253"/>
                    <a:pt x="810177" y="228008"/>
                  </a:cubicBezTo>
                  <a:lnTo>
                    <a:pt x="813098" y="233132"/>
                  </a:lnTo>
                  <a:cubicBezTo>
                    <a:pt x="812855" y="233433"/>
                    <a:pt x="812936" y="233175"/>
                    <a:pt x="817967" y="234897"/>
                  </a:cubicBezTo>
                  <a:cubicBezTo>
                    <a:pt x="821538" y="240753"/>
                    <a:pt x="824134" y="242820"/>
                    <a:pt x="830302" y="244542"/>
                  </a:cubicBezTo>
                  <a:cubicBezTo>
                    <a:pt x="837118" y="249709"/>
                    <a:pt x="834521" y="251431"/>
                    <a:pt x="830302" y="257975"/>
                  </a:cubicBezTo>
                  <a:cubicBezTo>
                    <a:pt x="834846" y="262798"/>
                    <a:pt x="837442" y="267620"/>
                    <a:pt x="842636" y="271065"/>
                  </a:cubicBezTo>
                  <a:cubicBezTo>
                    <a:pt x="843610" y="282087"/>
                    <a:pt x="840364" y="293798"/>
                    <a:pt x="850426" y="297587"/>
                  </a:cubicBezTo>
                  <a:cubicBezTo>
                    <a:pt x="859190" y="294487"/>
                    <a:pt x="862761" y="299999"/>
                    <a:pt x="870875" y="302410"/>
                  </a:cubicBezTo>
                  <a:cubicBezTo>
                    <a:pt x="875744" y="305165"/>
                    <a:pt x="869901" y="315499"/>
                    <a:pt x="876718" y="325488"/>
                  </a:cubicBezTo>
                  <a:cubicBezTo>
                    <a:pt x="883534" y="335477"/>
                    <a:pt x="904957" y="354422"/>
                    <a:pt x="911449" y="362000"/>
                  </a:cubicBezTo>
                  <a:cubicBezTo>
                    <a:pt x="917616" y="369233"/>
                    <a:pt x="912423" y="360966"/>
                    <a:pt x="915020" y="370955"/>
                  </a:cubicBezTo>
                  <a:cubicBezTo>
                    <a:pt x="917941" y="370267"/>
                    <a:pt x="928328" y="356488"/>
                    <a:pt x="929301" y="358211"/>
                  </a:cubicBezTo>
                  <a:cubicBezTo>
                    <a:pt x="930275" y="359933"/>
                    <a:pt x="922160" y="371300"/>
                    <a:pt x="920538" y="381289"/>
                  </a:cubicBezTo>
                  <a:cubicBezTo>
                    <a:pt x="918915" y="391278"/>
                    <a:pt x="918590" y="406089"/>
                    <a:pt x="919564" y="417456"/>
                  </a:cubicBezTo>
                  <a:cubicBezTo>
                    <a:pt x="920538" y="428823"/>
                    <a:pt x="926380" y="437090"/>
                    <a:pt x="925406" y="450179"/>
                  </a:cubicBezTo>
                  <a:cubicBezTo>
                    <a:pt x="924108" y="463268"/>
                    <a:pt x="914046" y="483247"/>
                    <a:pt x="912747" y="495991"/>
                  </a:cubicBezTo>
                  <a:cubicBezTo>
                    <a:pt x="908528" y="509425"/>
                    <a:pt x="903983" y="523547"/>
                    <a:pt x="900413" y="530781"/>
                  </a:cubicBezTo>
                  <a:cubicBezTo>
                    <a:pt x="897816" y="534225"/>
                    <a:pt x="893921" y="535948"/>
                    <a:pt x="891000" y="539048"/>
                  </a:cubicBezTo>
                  <a:cubicBezTo>
                    <a:pt x="888728" y="545592"/>
                    <a:pt x="890675" y="551103"/>
                    <a:pt x="884833" y="553515"/>
                  </a:cubicBezTo>
                  <a:cubicBezTo>
                    <a:pt x="880613" y="560059"/>
                    <a:pt x="871849" y="562126"/>
                    <a:pt x="867629" y="568670"/>
                  </a:cubicBezTo>
                  <a:cubicBezTo>
                    <a:pt x="865357" y="576248"/>
                    <a:pt x="863734" y="576248"/>
                    <a:pt x="857242" y="578660"/>
                  </a:cubicBezTo>
                  <a:cubicBezTo>
                    <a:pt x="854321" y="582104"/>
                    <a:pt x="854970" y="587271"/>
                    <a:pt x="852698" y="592093"/>
                  </a:cubicBezTo>
                  <a:cubicBezTo>
                    <a:pt x="850426" y="596915"/>
                    <a:pt x="847505" y="601738"/>
                    <a:pt x="844259" y="606905"/>
                  </a:cubicBezTo>
                  <a:cubicBezTo>
                    <a:pt x="841987" y="614138"/>
                    <a:pt x="841013" y="620683"/>
                    <a:pt x="833547" y="623438"/>
                  </a:cubicBezTo>
                  <a:cubicBezTo>
                    <a:pt x="830626" y="627572"/>
                    <a:pt x="828354" y="623094"/>
                    <a:pt x="825757" y="631705"/>
                  </a:cubicBezTo>
                  <a:cubicBezTo>
                    <a:pt x="823810" y="639627"/>
                    <a:pt x="823161" y="667528"/>
                    <a:pt x="817967" y="676139"/>
                  </a:cubicBezTo>
                  <a:cubicBezTo>
                    <a:pt x="816020" y="684062"/>
                    <a:pt x="798167" y="683717"/>
                    <a:pt x="794597" y="684406"/>
                  </a:cubicBezTo>
                  <a:cubicBezTo>
                    <a:pt x="787131" y="686817"/>
                    <a:pt x="777069" y="684062"/>
                    <a:pt x="769603" y="686817"/>
                  </a:cubicBezTo>
                  <a:cubicBezTo>
                    <a:pt x="762138" y="689573"/>
                    <a:pt x="755321" y="697151"/>
                    <a:pt x="749154" y="700940"/>
                  </a:cubicBezTo>
                  <a:cubicBezTo>
                    <a:pt x="741688" y="706451"/>
                    <a:pt x="742662" y="707140"/>
                    <a:pt x="732924" y="710584"/>
                  </a:cubicBezTo>
                  <a:cubicBezTo>
                    <a:pt x="727731" y="710929"/>
                    <a:pt x="722862" y="706106"/>
                    <a:pt x="717993" y="702662"/>
                  </a:cubicBezTo>
                  <a:lnTo>
                    <a:pt x="710406" y="693921"/>
                  </a:lnTo>
                  <a:cubicBezTo>
                    <a:pt x="709310" y="692759"/>
                    <a:pt x="708418" y="692328"/>
                    <a:pt x="704036" y="689573"/>
                  </a:cubicBezTo>
                  <a:cubicBezTo>
                    <a:pt x="698031" y="691360"/>
                    <a:pt x="704360" y="689487"/>
                    <a:pt x="694623" y="694395"/>
                  </a:cubicBezTo>
                  <a:cubicBezTo>
                    <a:pt x="688131" y="697495"/>
                    <a:pt x="672550" y="706795"/>
                    <a:pt x="665085" y="707484"/>
                  </a:cubicBezTo>
                  <a:cubicBezTo>
                    <a:pt x="655347" y="705418"/>
                    <a:pt x="660540" y="707484"/>
                    <a:pt x="649504" y="699217"/>
                  </a:cubicBezTo>
                  <a:cubicBezTo>
                    <a:pt x="639442" y="696117"/>
                    <a:pt x="646583" y="697840"/>
                    <a:pt x="627757" y="696117"/>
                  </a:cubicBezTo>
                  <a:cubicBezTo>
                    <a:pt x="621914" y="691640"/>
                    <a:pt x="615747" y="690262"/>
                    <a:pt x="608931" y="687851"/>
                  </a:cubicBezTo>
                  <a:cubicBezTo>
                    <a:pt x="602439" y="683028"/>
                    <a:pt x="600816" y="675106"/>
                    <a:pt x="593350" y="673039"/>
                  </a:cubicBezTo>
                  <a:lnTo>
                    <a:pt x="590683" y="668637"/>
                  </a:lnTo>
                  <a:cubicBezTo>
                    <a:pt x="589496" y="666602"/>
                    <a:pt x="592052" y="669509"/>
                    <a:pt x="592052" y="657883"/>
                  </a:cubicBezTo>
                  <a:cubicBezTo>
                    <a:pt x="592052" y="646516"/>
                    <a:pt x="582963" y="633772"/>
                    <a:pt x="573226" y="629983"/>
                  </a:cubicBezTo>
                  <a:cubicBezTo>
                    <a:pt x="572252" y="628260"/>
                    <a:pt x="571927" y="625505"/>
                    <a:pt x="569980" y="624816"/>
                  </a:cubicBezTo>
                  <a:cubicBezTo>
                    <a:pt x="566085" y="623094"/>
                    <a:pt x="561216" y="630672"/>
                    <a:pt x="557645" y="628260"/>
                  </a:cubicBezTo>
                  <a:cubicBezTo>
                    <a:pt x="555049" y="626538"/>
                    <a:pt x="561865" y="617583"/>
                    <a:pt x="565436" y="615171"/>
                  </a:cubicBezTo>
                  <a:cubicBezTo>
                    <a:pt x="564137" y="606905"/>
                    <a:pt x="561865" y="602771"/>
                    <a:pt x="559268" y="595193"/>
                  </a:cubicBezTo>
                  <a:cubicBezTo>
                    <a:pt x="558295" y="596915"/>
                    <a:pt x="557321" y="598638"/>
                    <a:pt x="556022" y="600015"/>
                  </a:cubicBezTo>
                  <a:cubicBezTo>
                    <a:pt x="554724" y="601049"/>
                    <a:pt x="552452" y="600360"/>
                    <a:pt x="551478" y="601738"/>
                  </a:cubicBezTo>
                  <a:cubicBezTo>
                    <a:pt x="544013" y="610005"/>
                    <a:pt x="556347" y="604838"/>
                    <a:pt x="545311" y="608282"/>
                  </a:cubicBezTo>
                  <a:lnTo>
                    <a:pt x="543688" y="616549"/>
                  </a:lnTo>
                  <a:lnTo>
                    <a:pt x="532693" y="617927"/>
                  </a:lnTo>
                  <a:cubicBezTo>
                    <a:pt x="530948" y="616377"/>
                    <a:pt x="530542" y="613277"/>
                    <a:pt x="529731" y="610005"/>
                  </a:cubicBezTo>
                  <a:cubicBezTo>
                    <a:pt x="534275" y="608282"/>
                    <a:pt x="541091" y="611382"/>
                    <a:pt x="543688" y="606905"/>
                  </a:cubicBezTo>
                  <a:cubicBezTo>
                    <a:pt x="546934" y="603804"/>
                    <a:pt x="543039" y="599327"/>
                    <a:pt x="545636" y="591749"/>
                  </a:cubicBezTo>
                  <a:cubicBezTo>
                    <a:pt x="547259" y="586582"/>
                    <a:pt x="552127" y="581071"/>
                    <a:pt x="554400" y="576248"/>
                  </a:cubicBezTo>
                  <a:lnTo>
                    <a:pt x="559268" y="562126"/>
                  </a:lnTo>
                  <a:lnTo>
                    <a:pt x="556469" y="552352"/>
                  </a:lnTo>
                  <a:cubicBezTo>
                    <a:pt x="555860" y="551706"/>
                    <a:pt x="554887" y="553515"/>
                    <a:pt x="551478" y="557304"/>
                  </a:cubicBezTo>
                  <a:lnTo>
                    <a:pt x="548800" y="566044"/>
                  </a:lnTo>
                  <a:cubicBezTo>
                    <a:pt x="548232" y="567206"/>
                    <a:pt x="547259" y="567637"/>
                    <a:pt x="543688" y="570393"/>
                  </a:cubicBezTo>
                  <a:cubicBezTo>
                    <a:pt x="541091" y="577626"/>
                    <a:pt x="538495" y="576937"/>
                    <a:pt x="532652" y="580382"/>
                  </a:cubicBezTo>
                  <a:cubicBezTo>
                    <a:pt x="529406" y="582448"/>
                    <a:pt x="523239" y="586926"/>
                    <a:pt x="523239" y="586926"/>
                  </a:cubicBezTo>
                  <a:cubicBezTo>
                    <a:pt x="516422" y="597604"/>
                    <a:pt x="518045" y="596915"/>
                    <a:pt x="507659" y="600015"/>
                  </a:cubicBezTo>
                  <a:cubicBezTo>
                    <a:pt x="503114" y="608282"/>
                    <a:pt x="500193" y="608627"/>
                    <a:pt x="493701" y="601738"/>
                  </a:cubicBezTo>
                  <a:cubicBezTo>
                    <a:pt x="490780" y="587615"/>
                    <a:pt x="490780" y="572115"/>
                    <a:pt x="476498" y="566948"/>
                  </a:cubicBezTo>
                  <a:cubicBezTo>
                    <a:pt x="471304" y="561437"/>
                    <a:pt x="468059" y="559715"/>
                    <a:pt x="470331" y="552137"/>
                  </a:cubicBezTo>
                  <a:cubicBezTo>
                    <a:pt x="466760" y="541803"/>
                    <a:pt x="470655" y="548348"/>
                    <a:pt x="453127" y="545592"/>
                  </a:cubicBezTo>
                  <a:cubicBezTo>
                    <a:pt x="447934" y="543870"/>
                    <a:pt x="445013" y="538703"/>
                    <a:pt x="439819" y="537325"/>
                  </a:cubicBezTo>
                  <a:cubicBezTo>
                    <a:pt x="434626" y="535948"/>
                    <a:pt x="426836" y="539392"/>
                    <a:pt x="421967" y="537325"/>
                  </a:cubicBezTo>
                  <a:cubicBezTo>
                    <a:pt x="419045" y="532503"/>
                    <a:pt x="409632" y="525614"/>
                    <a:pt x="409632" y="525614"/>
                  </a:cubicBezTo>
                  <a:cubicBezTo>
                    <a:pt x="390482" y="526303"/>
                    <a:pt x="369708" y="521136"/>
                    <a:pt x="351855" y="529059"/>
                  </a:cubicBezTo>
                  <a:cubicBezTo>
                    <a:pt x="348609" y="530436"/>
                    <a:pt x="346337" y="534225"/>
                    <a:pt x="342767" y="535603"/>
                  </a:cubicBezTo>
                  <a:cubicBezTo>
                    <a:pt x="339521" y="536636"/>
                    <a:pt x="336600" y="538014"/>
                    <a:pt x="333354" y="539048"/>
                  </a:cubicBezTo>
                  <a:cubicBezTo>
                    <a:pt x="320046" y="543870"/>
                    <a:pt x="291157" y="545592"/>
                    <a:pt x="291157" y="545592"/>
                  </a:cubicBezTo>
                  <a:cubicBezTo>
                    <a:pt x="283367" y="548348"/>
                    <a:pt x="273954" y="550415"/>
                    <a:pt x="267462" y="555926"/>
                  </a:cubicBezTo>
                  <a:cubicBezTo>
                    <a:pt x="259347" y="560059"/>
                    <a:pt x="249934" y="558337"/>
                    <a:pt x="243767" y="563159"/>
                  </a:cubicBezTo>
                  <a:cubicBezTo>
                    <a:pt x="242469" y="565226"/>
                    <a:pt x="234029" y="583137"/>
                    <a:pt x="230459" y="585204"/>
                  </a:cubicBezTo>
                  <a:cubicBezTo>
                    <a:pt x="214878" y="588993"/>
                    <a:pt x="167813" y="583137"/>
                    <a:pt x="149311" y="585204"/>
                  </a:cubicBezTo>
                  <a:cubicBezTo>
                    <a:pt x="132757" y="585893"/>
                    <a:pt x="136003" y="596227"/>
                    <a:pt x="131134" y="598293"/>
                  </a:cubicBezTo>
                  <a:cubicBezTo>
                    <a:pt x="126265" y="600360"/>
                    <a:pt x="124967" y="596227"/>
                    <a:pt x="119773" y="598638"/>
                  </a:cubicBezTo>
                  <a:cubicBezTo>
                    <a:pt x="114255" y="599671"/>
                    <a:pt x="109062" y="611038"/>
                    <a:pt x="99649" y="613449"/>
                  </a:cubicBezTo>
                  <a:cubicBezTo>
                    <a:pt x="90236" y="615860"/>
                    <a:pt x="72059" y="614827"/>
                    <a:pt x="63619" y="613449"/>
                  </a:cubicBezTo>
                  <a:cubicBezTo>
                    <a:pt x="53233" y="605871"/>
                    <a:pt x="58101" y="608282"/>
                    <a:pt x="49662" y="605182"/>
                  </a:cubicBezTo>
                  <a:cubicBezTo>
                    <a:pt x="45442" y="597604"/>
                    <a:pt x="42521" y="596915"/>
                    <a:pt x="34082" y="595193"/>
                  </a:cubicBezTo>
                  <a:cubicBezTo>
                    <a:pt x="33108" y="592093"/>
                    <a:pt x="28564" y="583482"/>
                    <a:pt x="32459" y="580382"/>
                  </a:cubicBezTo>
                  <a:cubicBezTo>
                    <a:pt x="36678" y="577282"/>
                    <a:pt x="42196" y="576593"/>
                    <a:pt x="46741" y="573837"/>
                  </a:cubicBezTo>
                  <a:lnTo>
                    <a:pt x="51285" y="563848"/>
                  </a:lnTo>
                  <a:cubicBezTo>
                    <a:pt x="50960" y="560404"/>
                    <a:pt x="48039" y="553859"/>
                    <a:pt x="48039" y="553859"/>
                  </a:cubicBezTo>
                  <a:cubicBezTo>
                    <a:pt x="50960" y="545592"/>
                    <a:pt x="52583" y="537325"/>
                    <a:pt x="49662" y="529059"/>
                  </a:cubicBezTo>
                  <a:cubicBezTo>
                    <a:pt x="47390" y="522514"/>
                    <a:pt x="45118" y="519069"/>
                    <a:pt x="40249" y="514247"/>
                  </a:cubicBezTo>
                  <a:cubicBezTo>
                    <a:pt x="39275" y="510803"/>
                    <a:pt x="36678" y="507703"/>
                    <a:pt x="35705" y="504258"/>
                  </a:cubicBezTo>
                  <a:cubicBezTo>
                    <a:pt x="32783" y="491169"/>
                    <a:pt x="35055" y="477391"/>
                    <a:pt x="31160" y="464646"/>
                  </a:cubicBezTo>
                  <a:cubicBezTo>
                    <a:pt x="28888" y="456724"/>
                    <a:pt x="22721" y="452246"/>
                    <a:pt x="20124" y="444668"/>
                  </a:cubicBezTo>
                  <a:cubicBezTo>
                    <a:pt x="17852" y="437435"/>
                    <a:pt x="16554" y="431234"/>
                    <a:pt x="12334" y="425034"/>
                  </a:cubicBezTo>
                  <a:lnTo>
                    <a:pt x="3037" y="402446"/>
                  </a:lnTo>
                  <a:cubicBezTo>
                    <a:pt x="4102" y="404212"/>
                    <a:pt x="6140" y="403876"/>
                    <a:pt x="9088" y="398512"/>
                  </a:cubicBezTo>
                  <a:cubicBezTo>
                    <a:pt x="10711" y="395756"/>
                    <a:pt x="8115" y="391967"/>
                    <a:pt x="7790" y="388522"/>
                  </a:cubicBezTo>
                  <a:cubicBezTo>
                    <a:pt x="11584" y="383571"/>
                    <a:pt x="12497" y="393000"/>
                    <a:pt x="13957" y="395067"/>
                  </a:cubicBezTo>
                  <a:cubicBezTo>
                    <a:pt x="14931" y="396445"/>
                    <a:pt x="16878" y="396100"/>
                    <a:pt x="18501" y="396789"/>
                  </a:cubicBezTo>
                  <a:cubicBezTo>
                    <a:pt x="28888" y="393000"/>
                    <a:pt x="23370" y="382667"/>
                    <a:pt x="18501" y="375433"/>
                  </a:cubicBezTo>
                  <a:cubicBezTo>
                    <a:pt x="16229" y="368544"/>
                    <a:pt x="13308" y="369233"/>
                    <a:pt x="7790" y="365444"/>
                  </a:cubicBezTo>
                  <a:cubicBezTo>
                    <a:pt x="7141" y="363722"/>
                    <a:pt x="6492" y="362000"/>
                    <a:pt x="6167" y="360277"/>
                  </a:cubicBezTo>
                  <a:cubicBezTo>
                    <a:pt x="5518" y="358211"/>
                    <a:pt x="5193" y="355800"/>
                    <a:pt x="4544" y="353733"/>
                  </a:cubicBezTo>
                  <a:cubicBezTo>
                    <a:pt x="3570" y="350288"/>
                    <a:pt x="1298" y="343744"/>
                    <a:pt x="1298" y="343744"/>
                  </a:cubicBezTo>
                  <a:cubicBezTo>
                    <a:pt x="2596" y="333066"/>
                    <a:pt x="5842" y="329277"/>
                    <a:pt x="11036" y="321010"/>
                  </a:cubicBezTo>
                  <a:cubicBezTo>
                    <a:pt x="13957" y="309988"/>
                    <a:pt x="8764" y="285187"/>
                    <a:pt x="20124" y="281054"/>
                  </a:cubicBezTo>
                  <a:cubicBezTo>
                    <a:pt x="17528" y="289665"/>
                    <a:pt x="12334" y="297243"/>
                    <a:pt x="23370" y="301032"/>
                  </a:cubicBezTo>
                  <a:cubicBezTo>
                    <a:pt x="29537" y="290009"/>
                    <a:pt x="33757" y="284154"/>
                    <a:pt x="44469" y="276576"/>
                  </a:cubicBezTo>
                  <a:cubicBezTo>
                    <a:pt x="49662" y="271065"/>
                    <a:pt x="51285" y="270376"/>
                    <a:pt x="54531" y="267965"/>
                  </a:cubicBezTo>
                  <a:cubicBezTo>
                    <a:pt x="57777" y="265898"/>
                    <a:pt x="63619" y="261076"/>
                    <a:pt x="63619" y="261076"/>
                  </a:cubicBezTo>
                  <a:cubicBezTo>
                    <a:pt x="65892" y="254531"/>
                    <a:pt x="70436" y="255564"/>
                    <a:pt x="76603" y="253842"/>
                  </a:cubicBezTo>
                  <a:cubicBezTo>
                    <a:pt x="83744" y="248331"/>
                    <a:pt x="88288" y="248331"/>
                    <a:pt x="96403" y="251431"/>
                  </a:cubicBezTo>
                  <a:cubicBezTo>
                    <a:pt x="99973" y="250742"/>
                    <a:pt x="103869" y="250742"/>
                    <a:pt x="107439" y="249709"/>
                  </a:cubicBezTo>
                  <a:cubicBezTo>
                    <a:pt x="109062" y="249020"/>
                    <a:pt x="110685" y="247642"/>
                    <a:pt x="111983" y="246264"/>
                  </a:cubicBezTo>
                  <a:cubicBezTo>
                    <a:pt x="113282" y="244886"/>
                    <a:pt x="113606" y="242131"/>
                    <a:pt x="115229" y="241442"/>
                  </a:cubicBezTo>
                  <a:cubicBezTo>
                    <a:pt x="120098" y="239720"/>
                    <a:pt x="125616" y="240408"/>
                    <a:pt x="130810" y="239720"/>
                  </a:cubicBezTo>
                  <a:cubicBezTo>
                    <a:pt x="136003" y="238342"/>
                    <a:pt x="140223" y="236275"/>
                    <a:pt x="146714" y="235242"/>
                  </a:cubicBezTo>
                  <a:cubicBezTo>
                    <a:pt x="153206" y="234208"/>
                    <a:pt x="163269" y="235242"/>
                    <a:pt x="169760" y="233175"/>
                  </a:cubicBezTo>
                  <a:cubicBezTo>
                    <a:pt x="178849" y="230419"/>
                    <a:pt x="181121" y="226975"/>
                    <a:pt x="185341" y="223186"/>
                  </a:cubicBezTo>
                  <a:cubicBezTo>
                    <a:pt x="190534" y="219397"/>
                    <a:pt x="192482" y="216297"/>
                    <a:pt x="194754" y="210097"/>
                  </a:cubicBezTo>
                  <a:cubicBezTo>
                    <a:pt x="198324" y="206308"/>
                    <a:pt x="198973" y="198730"/>
                    <a:pt x="202219" y="195285"/>
                  </a:cubicBezTo>
                  <a:cubicBezTo>
                    <a:pt x="205465" y="191841"/>
                    <a:pt x="213580" y="194596"/>
                    <a:pt x="214878" y="190119"/>
                  </a:cubicBezTo>
                  <a:cubicBezTo>
                    <a:pt x="216501" y="186330"/>
                    <a:pt x="209360" y="172896"/>
                    <a:pt x="210659" y="167385"/>
                  </a:cubicBezTo>
                  <a:cubicBezTo>
                    <a:pt x="211957" y="161874"/>
                    <a:pt x="218773" y="158429"/>
                    <a:pt x="222669" y="157051"/>
                  </a:cubicBezTo>
                  <a:lnTo>
                    <a:pt x="228389" y="147751"/>
                  </a:lnTo>
                  <a:cubicBezTo>
                    <a:pt x="230378" y="148354"/>
                    <a:pt x="232406" y="152229"/>
                    <a:pt x="234354" y="158085"/>
                  </a:cubicBezTo>
                  <a:cubicBezTo>
                    <a:pt x="235977" y="162907"/>
                    <a:pt x="240521" y="170485"/>
                    <a:pt x="242144" y="175307"/>
                  </a:cubicBezTo>
                  <a:cubicBezTo>
                    <a:pt x="244741" y="177718"/>
                    <a:pt x="244741" y="173240"/>
                    <a:pt x="246039" y="171174"/>
                  </a:cubicBezTo>
                  <a:cubicBezTo>
                    <a:pt x="247337" y="169107"/>
                    <a:pt x="249934" y="167040"/>
                    <a:pt x="249285" y="163596"/>
                  </a:cubicBezTo>
                  <a:cubicBezTo>
                    <a:pt x="254478" y="154985"/>
                    <a:pt x="249609" y="154985"/>
                    <a:pt x="242793" y="150507"/>
                  </a:cubicBezTo>
                  <a:lnTo>
                    <a:pt x="244391" y="143935"/>
                  </a:lnTo>
                  <a:cubicBezTo>
                    <a:pt x="245471" y="141142"/>
                    <a:pt x="246688" y="147407"/>
                    <a:pt x="263242" y="142240"/>
                  </a:cubicBezTo>
                  <a:cubicBezTo>
                    <a:pt x="268111" y="140862"/>
                    <a:pt x="269409" y="127428"/>
                    <a:pt x="269409" y="127428"/>
                  </a:cubicBezTo>
                  <a:lnTo>
                    <a:pt x="266164" y="122262"/>
                  </a:lnTo>
                  <a:cubicBezTo>
                    <a:pt x="267787" y="119851"/>
                    <a:pt x="271357" y="121573"/>
                    <a:pt x="273954" y="120539"/>
                  </a:cubicBezTo>
                  <a:cubicBezTo>
                    <a:pt x="275577" y="119851"/>
                    <a:pt x="277200" y="118473"/>
                    <a:pt x="278823" y="117439"/>
                  </a:cubicBezTo>
                  <a:cubicBezTo>
                    <a:pt x="280121" y="116750"/>
                    <a:pt x="281744" y="116406"/>
                    <a:pt x="283367" y="115717"/>
                  </a:cubicBezTo>
                  <a:cubicBezTo>
                    <a:pt x="284665" y="111584"/>
                    <a:pt x="284341" y="106417"/>
                    <a:pt x="286613" y="102628"/>
                  </a:cubicBezTo>
                  <a:cubicBezTo>
                    <a:pt x="288560" y="99528"/>
                    <a:pt x="293105" y="99528"/>
                    <a:pt x="296026" y="97461"/>
                  </a:cubicBezTo>
                  <a:cubicBezTo>
                    <a:pt x="298298" y="88850"/>
                    <a:pt x="304465" y="88505"/>
                    <a:pt x="311606" y="86094"/>
                  </a:cubicBezTo>
                  <a:cubicBezTo>
                    <a:pt x="314528" y="85061"/>
                    <a:pt x="320695" y="82650"/>
                    <a:pt x="320695" y="82650"/>
                  </a:cubicBezTo>
                  <a:cubicBezTo>
                    <a:pt x="325564" y="75416"/>
                    <a:pt x="324265" y="79894"/>
                    <a:pt x="331406" y="82650"/>
                  </a:cubicBezTo>
                  <a:cubicBezTo>
                    <a:pt x="339196" y="94361"/>
                    <a:pt x="351531" y="101250"/>
                    <a:pt x="364514" y="105728"/>
                  </a:cubicBezTo>
                  <a:cubicBezTo>
                    <a:pt x="372305" y="109517"/>
                    <a:pt x="381068" y="108828"/>
                    <a:pt x="384314" y="106072"/>
                  </a:cubicBezTo>
                  <a:cubicBezTo>
                    <a:pt x="387236" y="104350"/>
                    <a:pt x="382042" y="97806"/>
                    <a:pt x="382042" y="95050"/>
                  </a:cubicBezTo>
                  <a:cubicBezTo>
                    <a:pt x="382042" y="92294"/>
                    <a:pt x="383341" y="90917"/>
                    <a:pt x="384639" y="89194"/>
                  </a:cubicBezTo>
                  <a:cubicBezTo>
                    <a:pt x="385937" y="85750"/>
                    <a:pt x="385937" y="87472"/>
                    <a:pt x="389183" y="84372"/>
                  </a:cubicBezTo>
                  <a:lnTo>
                    <a:pt x="393727" y="73350"/>
                  </a:lnTo>
                  <a:cubicBezTo>
                    <a:pt x="396000" y="71283"/>
                    <a:pt x="401518" y="73350"/>
                    <a:pt x="403465" y="70938"/>
                  </a:cubicBezTo>
                  <a:lnTo>
                    <a:pt x="398840" y="61035"/>
                  </a:lnTo>
                  <a:cubicBezTo>
                    <a:pt x="398272" y="59658"/>
                    <a:pt x="399732" y="59399"/>
                    <a:pt x="406386" y="57849"/>
                  </a:cubicBezTo>
                  <a:cubicBezTo>
                    <a:pt x="409632" y="52683"/>
                    <a:pt x="415800" y="44760"/>
                    <a:pt x="420668" y="43038"/>
                  </a:cubicBezTo>
                  <a:cubicBezTo>
                    <a:pt x="422941" y="39249"/>
                    <a:pt x="422616" y="37182"/>
                    <a:pt x="427809" y="37871"/>
                  </a:cubicBezTo>
                  <a:lnTo>
                    <a:pt x="435600" y="42005"/>
                  </a:lnTo>
                  <a:cubicBezTo>
                    <a:pt x="442416" y="41316"/>
                    <a:pt x="453777" y="41316"/>
                    <a:pt x="459619" y="37871"/>
                  </a:cubicBezTo>
                  <a:cubicBezTo>
                    <a:pt x="462216" y="36149"/>
                    <a:pt x="460268" y="30638"/>
                    <a:pt x="457996" y="28227"/>
                  </a:cubicBezTo>
                  <a:cubicBezTo>
                    <a:pt x="455724" y="25815"/>
                    <a:pt x="451829" y="27193"/>
                    <a:pt x="448583" y="26504"/>
                  </a:cubicBezTo>
                  <a:lnTo>
                    <a:pt x="441630" y="20170"/>
                  </a:lnTo>
                  <a:cubicBezTo>
                    <a:pt x="438784" y="15762"/>
                    <a:pt x="447122" y="16343"/>
                    <a:pt x="456373" y="14793"/>
                  </a:cubicBezTo>
                  <a:cubicBezTo>
                    <a:pt x="461242" y="15826"/>
                    <a:pt x="467085" y="14793"/>
                    <a:pt x="470331" y="18237"/>
                  </a:cubicBezTo>
                  <a:cubicBezTo>
                    <a:pt x="472786" y="24179"/>
                    <a:pt x="466517" y="21079"/>
                    <a:pt x="476498" y="26504"/>
                  </a:cubicBezTo>
                  <a:cubicBezTo>
                    <a:pt x="481691" y="28571"/>
                    <a:pt x="489482" y="35804"/>
                    <a:pt x="498895" y="36838"/>
                  </a:cubicBezTo>
                  <a:cubicBezTo>
                    <a:pt x="506360" y="38905"/>
                    <a:pt x="515124" y="40627"/>
                    <a:pt x="520642" y="39938"/>
                  </a:cubicBezTo>
                  <a:cubicBezTo>
                    <a:pt x="526160" y="39249"/>
                    <a:pt x="529082" y="33738"/>
                    <a:pt x="532652" y="33049"/>
                  </a:cubicBezTo>
                  <a:cubicBezTo>
                    <a:pt x="536223" y="31671"/>
                    <a:pt x="537845" y="35460"/>
                    <a:pt x="541741" y="35804"/>
                  </a:cubicBezTo>
                  <a:cubicBezTo>
                    <a:pt x="545636" y="36149"/>
                    <a:pt x="554075" y="32360"/>
                    <a:pt x="556022" y="34771"/>
                  </a:cubicBezTo>
                  <a:cubicBezTo>
                    <a:pt x="559918" y="37527"/>
                    <a:pt x="555049" y="44760"/>
                    <a:pt x="554400" y="49582"/>
                  </a:cubicBezTo>
                  <a:cubicBezTo>
                    <a:pt x="553101" y="57849"/>
                    <a:pt x="551478" y="64738"/>
                    <a:pt x="545311" y="69561"/>
                  </a:cubicBezTo>
                  <a:lnTo>
                    <a:pt x="546822" y="76428"/>
                  </a:lnTo>
                  <a:cubicBezTo>
                    <a:pt x="548253" y="80045"/>
                    <a:pt x="549774" y="76105"/>
                    <a:pt x="554400" y="84372"/>
                  </a:cubicBezTo>
                  <a:cubicBezTo>
                    <a:pt x="554075" y="87817"/>
                    <a:pt x="555373" y="91950"/>
                    <a:pt x="553101" y="94361"/>
                  </a:cubicBezTo>
                  <a:cubicBezTo>
                    <a:pt x="546609" y="101250"/>
                    <a:pt x="545960" y="88161"/>
                    <a:pt x="545311" y="87472"/>
                  </a:cubicBezTo>
                  <a:cubicBezTo>
                    <a:pt x="544013" y="85750"/>
                    <a:pt x="542065" y="85405"/>
                    <a:pt x="540442" y="84372"/>
                  </a:cubicBezTo>
                  <a:cubicBezTo>
                    <a:pt x="535898" y="89194"/>
                    <a:pt x="531354" y="90917"/>
                    <a:pt x="529731" y="97461"/>
                  </a:cubicBezTo>
                  <a:cubicBezTo>
                    <a:pt x="528108" y="100906"/>
                    <a:pt x="524213" y="103661"/>
                    <a:pt x="524537" y="106417"/>
                  </a:cubicBezTo>
                  <a:cubicBezTo>
                    <a:pt x="524862" y="109173"/>
                    <a:pt x="527459" y="110895"/>
                    <a:pt x="531029" y="113995"/>
                  </a:cubicBezTo>
                  <a:cubicBezTo>
                    <a:pt x="532652" y="120195"/>
                    <a:pt x="545311" y="125706"/>
                    <a:pt x="545311" y="125706"/>
                  </a:cubicBezTo>
                  <a:cubicBezTo>
                    <a:pt x="550829" y="130184"/>
                    <a:pt x="555049" y="132940"/>
                    <a:pt x="565436" y="137418"/>
                  </a:cubicBezTo>
                  <a:cubicBezTo>
                    <a:pt x="572901" y="142240"/>
                    <a:pt x="582963" y="150507"/>
                    <a:pt x="590429" y="153951"/>
                  </a:cubicBezTo>
                  <a:cubicBezTo>
                    <a:pt x="597895" y="157396"/>
                    <a:pt x="606983" y="156362"/>
                    <a:pt x="610554" y="158774"/>
                  </a:cubicBezTo>
                  <a:cubicBezTo>
                    <a:pt x="611852" y="159807"/>
                    <a:pt x="610878" y="166696"/>
                    <a:pt x="612177" y="168074"/>
                  </a:cubicBezTo>
                  <a:cubicBezTo>
                    <a:pt x="614449" y="170485"/>
                    <a:pt x="616721" y="167040"/>
                    <a:pt x="618344" y="170140"/>
                  </a:cubicBezTo>
                  <a:cubicBezTo>
                    <a:pt x="621265" y="175996"/>
                    <a:pt x="621265" y="174963"/>
                    <a:pt x="626134" y="178407"/>
                  </a:cubicBezTo>
                  <a:cubicBezTo>
                    <a:pt x="637170" y="177718"/>
                    <a:pt x="647557" y="181507"/>
                    <a:pt x="651127" y="170140"/>
                  </a:cubicBezTo>
                  <a:cubicBezTo>
                    <a:pt x="652426" y="160496"/>
                    <a:pt x="655347" y="150162"/>
                    <a:pt x="660865" y="142240"/>
                  </a:cubicBezTo>
                  <a:cubicBezTo>
                    <a:pt x="664111" y="128117"/>
                    <a:pt x="664760" y="137073"/>
                    <a:pt x="667357" y="113306"/>
                  </a:cubicBezTo>
                  <a:cubicBezTo>
                    <a:pt x="668006" y="107106"/>
                    <a:pt x="666708" y="100906"/>
                    <a:pt x="666708" y="100906"/>
                  </a:cubicBezTo>
                  <a:cubicBezTo>
                    <a:pt x="668980" y="68527"/>
                    <a:pt x="665734" y="85061"/>
                    <a:pt x="669954" y="70938"/>
                  </a:cubicBezTo>
                  <a:cubicBezTo>
                    <a:pt x="671252" y="66116"/>
                    <a:pt x="674498" y="56127"/>
                    <a:pt x="674498" y="56127"/>
                  </a:cubicBezTo>
                  <a:cubicBezTo>
                    <a:pt x="675147" y="48549"/>
                    <a:pt x="674822" y="40627"/>
                    <a:pt x="676121" y="33049"/>
                  </a:cubicBezTo>
                  <a:cubicBezTo>
                    <a:pt x="677095" y="27882"/>
                    <a:pt x="682288" y="18237"/>
                    <a:pt x="682288" y="182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8" name="Freeform 339"/>
            <p:cNvSpPr>
              <a:spLocks/>
            </p:cNvSpPr>
            <p:nvPr>
              <p:custDataLst>
                <p:tags r:id="rId133"/>
              </p:custDataLst>
            </p:nvPr>
          </p:nvSpPr>
          <p:spPr bwMode="gray">
            <a:xfrm>
              <a:off x="7587917" y="3045356"/>
              <a:ext cx="373599" cy="455409"/>
            </a:xfrm>
            <a:custGeom>
              <a:avLst/>
              <a:gdLst/>
              <a:ahLst/>
              <a:cxnLst/>
              <a:rect l="l" t="t" r="r" b="b"/>
              <a:pathLst>
                <a:path w="366140" h="446343">
                  <a:moveTo>
                    <a:pt x="278678" y="132903"/>
                  </a:moveTo>
                  <a:cubicBezTo>
                    <a:pt x="281307" y="132784"/>
                    <a:pt x="283589" y="133643"/>
                    <a:pt x="285177" y="135934"/>
                  </a:cubicBezTo>
                  <a:cubicBezTo>
                    <a:pt x="291527" y="145098"/>
                    <a:pt x="294702" y="187863"/>
                    <a:pt x="296289" y="203136"/>
                  </a:cubicBezTo>
                  <a:cubicBezTo>
                    <a:pt x="297877" y="218409"/>
                    <a:pt x="299464" y="215354"/>
                    <a:pt x="296289" y="224518"/>
                  </a:cubicBezTo>
                  <a:cubicBezTo>
                    <a:pt x="293114" y="233682"/>
                    <a:pt x="286764" y="242846"/>
                    <a:pt x="282002" y="256592"/>
                  </a:cubicBezTo>
                  <a:cubicBezTo>
                    <a:pt x="275652" y="270338"/>
                    <a:pt x="269302" y="299356"/>
                    <a:pt x="262952" y="310048"/>
                  </a:cubicBezTo>
                  <a:cubicBezTo>
                    <a:pt x="256602" y="320739"/>
                    <a:pt x="250252" y="316157"/>
                    <a:pt x="243902" y="320739"/>
                  </a:cubicBezTo>
                  <a:cubicBezTo>
                    <a:pt x="237552" y="325321"/>
                    <a:pt x="228027" y="332957"/>
                    <a:pt x="226439" y="337539"/>
                  </a:cubicBezTo>
                  <a:cubicBezTo>
                    <a:pt x="224852" y="342121"/>
                    <a:pt x="239139" y="352812"/>
                    <a:pt x="235964" y="352812"/>
                  </a:cubicBezTo>
                  <a:cubicBezTo>
                    <a:pt x="232789" y="352812"/>
                    <a:pt x="218502" y="337539"/>
                    <a:pt x="210564" y="334485"/>
                  </a:cubicBezTo>
                  <a:cubicBezTo>
                    <a:pt x="202627" y="331430"/>
                    <a:pt x="189927" y="331430"/>
                    <a:pt x="183577" y="332957"/>
                  </a:cubicBezTo>
                  <a:cubicBezTo>
                    <a:pt x="177227" y="334485"/>
                    <a:pt x="172464" y="340594"/>
                    <a:pt x="167702" y="346703"/>
                  </a:cubicBezTo>
                  <a:cubicBezTo>
                    <a:pt x="162939" y="352812"/>
                    <a:pt x="161352" y="363504"/>
                    <a:pt x="155002" y="366558"/>
                  </a:cubicBezTo>
                  <a:cubicBezTo>
                    <a:pt x="148652" y="369613"/>
                    <a:pt x="137539" y="369613"/>
                    <a:pt x="129602" y="369613"/>
                  </a:cubicBezTo>
                  <a:cubicBezTo>
                    <a:pt x="121664" y="369613"/>
                    <a:pt x="113727" y="363504"/>
                    <a:pt x="105789" y="365031"/>
                  </a:cubicBezTo>
                  <a:cubicBezTo>
                    <a:pt x="97852" y="366558"/>
                    <a:pt x="93089" y="374195"/>
                    <a:pt x="85152" y="380304"/>
                  </a:cubicBezTo>
                  <a:cubicBezTo>
                    <a:pt x="77214" y="386413"/>
                    <a:pt x="62927" y="392523"/>
                    <a:pt x="56577" y="401686"/>
                  </a:cubicBezTo>
                  <a:cubicBezTo>
                    <a:pt x="50227" y="412378"/>
                    <a:pt x="50227" y="442924"/>
                    <a:pt x="42289" y="445979"/>
                  </a:cubicBezTo>
                  <a:cubicBezTo>
                    <a:pt x="34352" y="449033"/>
                    <a:pt x="10539" y="432233"/>
                    <a:pt x="4189" y="420014"/>
                  </a:cubicBezTo>
                  <a:cubicBezTo>
                    <a:pt x="-2161" y="407796"/>
                    <a:pt x="-573" y="386413"/>
                    <a:pt x="4189" y="374195"/>
                  </a:cubicBezTo>
                  <a:cubicBezTo>
                    <a:pt x="8952" y="361976"/>
                    <a:pt x="23239" y="351285"/>
                    <a:pt x="32764" y="343649"/>
                  </a:cubicBezTo>
                  <a:cubicBezTo>
                    <a:pt x="42289" y="336012"/>
                    <a:pt x="53402" y="337539"/>
                    <a:pt x="61339" y="332957"/>
                  </a:cubicBezTo>
                  <a:cubicBezTo>
                    <a:pt x="69277" y="328375"/>
                    <a:pt x="70864" y="314630"/>
                    <a:pt x="85152" y="311575"/>
                  </a:cubicBezTo>
                  <a:cubicBezTo>
                    <a:pt x="97852" y="308520"/>
                    <a:pt x="135952" y="314630"/>
                    <a:pt x="150239" y="310048"/>
                  </a:cubicBezTo>
                  <a:cubicBezTo>
                    <a:pt x="164527" y="305466"/>
                    <a:pt x="170877" y="294775"/>
                    <a:pt x="174052" y="288665"/>
                  </a:cubicBezTo>
                  <a:cubicBezTo>
                    <a:pt x="177227" y="281029"/>
                    <a:pt x="167702" y="264228"/>
                    <a:pt x="174052" y="261174"/>
                  </a:cubicBezTo>
                  <a:cubicBezTo>
                    <a:pt x="180402" y="258119"/>
                    <a:pt x="199452" y="270338"/>
                    <a:pt x="207389" y="267283"/>
                  </a:cubicBezTo>
                  <a:cubicBezTo>
                    <a:pt x="215327" y="264228"/>
                    <a:pt x="213739" y="244373"/>
                    <a:pt x="220089" y="238264"/>
                  </a:cubicBezTo>
                  <a:cubicBezTo>
                    <a:pt x="226439" y="232155"/>
                    <a:pt x="240727" y="242846"/>
                    <a:pt x="245489" y="233682"/>
                  </a:cubicBezTo>
                  <a:cubicBezTo>
                    <a:pt x="250252" y="224518"/>
                    <a:pt x="247077" y="198554"/>
                    <a:pt x="248664" y="184808"/>
                  </a:cubicBezTo>
                  <a:cubicBezTo>
                    <a:pt x="250252" y="172590"/>
                    <a:pt x="248664" y="155789"/>
                    <a:pt x="255014" y="148153"/>
                  </a:cubicBezTo>
                  <a:cubicBezTo>
                    <a:pt x="259777" y="142425"/>
                    <a:pt x="270790" y="133261"/>
                    <a:pt x="278678" y="132903"/>
                  </a:cubicBezTo>
                  <a:close/>
                  <a:moveTo>
                    <a:pt x="266560" y="2495"/>
                  </a:moveTo>
                  <a:lnTo>
                    <a:pt x="264539" y="2723"/>
                  </a:lnTo>
                  <a:cubicBezTo>
                    <a:pt x="263055" y="2723"/>
                    <a:pt x="264193" y="2574"/>
                    <a:pt x="266560" y="2495"/>
                  </a:cubicBezTo>
                  <a:close/>
                  <a:moveTo>
                    <a:pt x="285177" y="425"/>
                  </a:moveTo>
                  <a:cubicBezTo>
                    <a:pt x="294702" y="-341"/>
                    <a:pt x="305021" y="-341"/>
                    <a:pt x="310577" y="2723"/>
                  </a:cubicBezTo>
                  <a:cubicBezTo>
                    <a:pt x="321690" y="8852"/>
                    <a:pt x="324865" y="34898"/>
                    <a:pt x="334390" y="41027"/>
                  </a:cubicBezTo>
                  <a:cubicBezTo>
                    <a:pt x="343915" y="47155"/>
                    <a:pt x="361377" y="33366"/>
                    <a:pt x="366140" y="36430"/>
                  </a:cubicBezTo>
                  <a:cubicBezTo>
                    <a:pt x="370902" y="39494"/>
                    <a:pt x="370902" y="53284"/>
                    <a:pt x="366140" y="60944"/>
                  </a:cubicBezTo>
                  <a:cubicBezTo>
                    <a:pt x="361377" y="68605"/>
                    <a:pt x="347090" y="77798"/>
                    <a:pt x="339152" y="83926"/>
                  </a:cubicBezTo>
                  <a:cubicBezTo>
                    <a:pt x="331215" y="90055"/>
                    <a:pt x="329627" y="97715"/>
                    <a:pt x="320102" y="97715"/>
                  </a:cubicBezTo>
                  <a:cubicBezTo>
                    <a:pt x="310577" y="97715"/>
                    <a:pt x="283589" y="85458"/>
                    <a:pt x="277239" y="88523"/>
                  </a:cubicBezTo>
                  <a:cubicBezTo>
                    <a:pt x="272477" y="91587"/>
                    <a:pt x="285177" y="106908"/>
                    <a:pt x="280414" y="113037"/>
                  </a:cubicBezTo>
                  <a:cubicBezTo>
                    <a:pt x="275652" y="119165"/>
                    <a:pt x="258189" y="128358"/>
                    <a:pt x="250252" y="125294"/>
                  </a:cubicBezTo>
                  <a:cubicBezTo>
                    <a:pt x="242314" y="122229"/>
                    <a:pt x="232789" y="105376"/>
                    <a:pt x="234377" y="94651"/>
                  </a:cubicBezTo>
                  <a:cubicBezTo>
                    <a:pt x="235964" y="83926"/>
                    <a:pt x="255014" y="74733"/>
                    <a:pt x="262952" y="62476"/>
                  </a:cubicBezTo>
                  <a:cubicBezTo>
                    <a:pt x="270889" y="50219"/>
                    <a:pt x="278827" y="31834"/>
                    <a:pt x="282002" y="22641"/>
                  </a:cubicBezTo>
                  <a:cubicBezTo>
                    <a:pt x="285177" y="13448"/>
                    <a:pt x="288352" y="7320"/>
                    <a:pt x="285177" y="4256"/>
                  </a:cubicBezTo>
                  <a:cubicBezTo>
                    <a:pt x="282992" y="2147"/>
                    <a:pt x="271782" y="2215"/>
                    <a:pt x="266560" y="2495"/>
                  </a:cubicBezTo>
                  <a:cubicBezTo>
                    <a:pt x="270296" y="2164"/>
                    <a:pt x="277477" y="1044"/>
                    <a:pt x="285177" y="4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9" name="Freeform 404"/>
            <p:cNvSpPr>
              <a:spLocks/>
            </p:cNvSpPr>
            <p:nvPr>
              <p:custDataLst>
                <p:tags r:id="rId134"/>
              </p:custDataLst>
            </p:nvPr>
          </p:nvSpPr>
          <p:spPr bwMode="gray">
            <a:xfrm>
              <a:off x="2630622" y="3997531"/>
              <a:ext cx="330447" cy="259159"/>
            </a:xfrm>
            <a:custGeom>
              <a:avLst/>
              <a:gdLst>
                <a:gd name="T0" fmla="*/ 18 w 200"/>
                <a:gd name="T1" fmla="*/ 4 h 160"/>
                <a:gd name="T2" fmla="*/ 16 w 200"/>
                <a:gd name="T3" fmla="*/ 25 h 160"/>
                <a:gd name="T4" fmla="*/ 30 w 200"/>
                <a:gd name="T5" fmla="*/ 36 h 160"/>
                <a:gd name="T6" fmla="*/ 31 w 200"/>
                <a:gd name="T7" fmla="*/ 13 h 160"/>
                <a:gd name="T8" fmla="*/ 51 w 200"/>
                <a:gd name="T9" fmla="*/ 9 h 160"/>
                <a:gd name="T10" fmla="*/ 69 w 200"/>
                <a:gd name="T11" fmla="*/ 3 h 160"/>
                <a:gd name="T12" fmla="*/ 93 w 200"/>
                <a:gd name="T13" fmla="*/ 16 h 160"/>
                <a:gd name="T14" fmla="*/ 117 w 200"/>
                <a:gd name="T15" fmla="*/ 21 h 160"/>
                <a:gd name="T16" fmla="*/ 133 w 200"/>
                <a:gd name="T17" fmla="*/ 12 h 160"/>
                <a:gd name="T18" fmla="*/ 154 w 200"/>
                <a:gd name="T19" fmla="*/ 18 h 160"/>
                <a:gd name="T20" fmla="*/ 174 w 200"/>
                <a:gd name="T21" fmla="*/ 27 h 160"/>
                <a:gd name="T22" fmla="*/ 186 w 200"/>
                <a:gd name="T23" fmla="*/ 37 h 160"/>
                <a:gd name="T24" fmla="*/ 189 w 200"/>
                <a:gd name="T25" fmla="*/ 57 h 160"/>
                <a:gd name="T26" fmla="*/ 181 w 200"/>
                <a:gd name="T27" fmla="*/ 72 h 160"/>
                <a:gd name="T28" fmla="*/ 178 w 200"/>
                <a:gd name="T29" fmla="*/ 87 h 160"/>
                <a:gd name="T30" fmla="*/ 175 w 200"/>
                <a:gd name="T31" fmla="*/ 100 h 160"/>
                <a:gd name="T32" fmla="*/ 162 w 200"/>
                <a:gd name="T33" fmla="*/ 115 h 160"/>
                <a:gd name="T34" fmla="*/ 135 w 200"/>
                <a:gd name="T35" fmla="*/ 120 h 160"/>
                <a:gd name="T36" fmla="*/ 135 w 200"/>
                <a:gd name="T37" fmla="*/ 135 h 160"/>
                <a:gd name="T38" fmla="*/ 129 w 200"/>
                <a:gd name="T39" fmla="*/ 151 h 160"/>
                <a:gd name="T40" fmla="*/ 124 w 200"/>
                <a:gd name="T41" fmla="*/ 157 h 160"/>
                <a:gd name="T42" fmla="*/ 106 w 200"/>
                <a:gd name="T43" fmla="*/ 159 h 160"/>
                <a:gd name="T44" fmla="*/ 82 w 200"/>
                <a:gd name="T45" fmla="*/ 148 h 160"/>
                <a:gd name="T46" fmla="*/ 84 w 200"/>
                <a:gd name="T47" fmla="*/ 136 h 160"/>
                <a:gd name="T48" fmla="*/ 82 w 200"/>
                <a:gd name="T49" fmla="*/ 87 h 160"/>
                <a:gd name="T50" fmla="*/ 61 w 200"/>
                <a:gd name="T51" fmla="*/ 82 h 160"/>
                <a:gd name="T52" fmla="*/ 43 w 200"/>
                <a:gd name="T53" fmla="*/ 73 h 160"/>
                <a:gd name="T54" fmla="*/ 30 w 200"/>
                <a:gd name="T55" fmla="*/ 63 h 160"/>
                <a:gd name="T56" fmla="*/ 18 w 200"/>
                <a:gd name="T57" fmla="*/ 57 h 160"/>
                <a:gd name="T58" fmla="*/ 6 w 200"/>
                <a:gd name="T59" fmla="*/ 37 h 160"/>
                <a:gd name="T60" fmla="*/ 0 w 200"/>
                <a:gd name="T61" fmla="*/ 22 h 160"/>
                <a:gd name="T62" fmla="*/ 15 w 200"/>
                <a:gd name="T63" fmla="*/ 6 h 160"/>
                <a:gd name="T64" fmla="*/ 24 w 200"/>
                <a:gd name="T65" fmla="*/ 1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0" h="160">
                  <a:moveTo>
                    <a:pt x="18" y="4"/>
                  </a:moveTo>
                  <a:cubicBezTo>
                    <a:pt x="23" y="12"/>
                    <a:pt x="31" y="23"/>
                    <a:pt x="16" y="25"/>
                  </a:cubicBezTo>
                  <a:cubicBezTo>
                    <a:pt x="13" y="39"/>
                    <a:pt x="15" y="37"/>
                    <a:pt x="30" y="36"/>
                  </a:cubicBezTo>
                  <a:cubicBezTo>
                    <a:pt x="30" y="28"/>
                    <a:pt x="27" y="20"/>
                    <a:pt x="31" y="13"/>
                  </a:cubicBezTo>
                  <a:cubicBezTo>
                    <a:pt x="35" y="7"/>
                    <a:pt x="51" y="9"/>
                    <a:pt x="51" y="9"/>
                  </a:cubicBezTo>
                  <a:cubicBezTo>
                    <a:pt x="59" y="3"/>
                    <a:pt x="57" y="0"/>
                    <a:pt x="69" y="3"/>
                  </a:cubicBezTo>
                  <a:cubicBezTo>
                    <a:pt x="71" y="22"/>
                    <a:pt x="73" y="18"/>
                    <a:pt x="93" y="16"/>
                  </a:cubicBezTo>
                  <a:cubicBezTo>
                    <a:pt x="111" y="20"/>
                    <a:pt x="103" y="18"/>
                    <a:pt x="117" y="21"/>
                  </a:cubicBezTo>
                  <a:cubicBezTo>
                    <a:pt x="127" y="19"/>
                    <a:pt x="126" y="17"/>
                    <a:pt x="133" y="12"/>
                  </a:cubicBezTo>
                  <a:cubicBezTo>
                    <a:pt x="143" y="13"/>
                    <a:pt x="147" y="12"/>
                    <a:pt x="154" y="18"/>
                  </a:cubicBezTo>
                  <a:cubicBezTo>
                    <a:pt x="158" y="26"/>
                    <a:pt x="166" y="25"/>
                    <a:pt x="174" y="27"/>
                  </a:cubicBezTo>
                  <a:cubicBezTo>
                    <a:pt x="175" y="35"/>
                    <a:pt x="178" y="36"/>
                    <a:pt x="186" y="37"/>
                  </a:cubicBezTo>
                  <a:cubicBezTo>
                    <a:pt x="196" y="42"/>
                    <a:pt x="200" y="55"/>
                    <a:pt x="189" y="57"/>
                  </a:cubicBezTo>
                  <a:cubicBezTo>
                    <a:pt x="188" y="75"/>
                    <a:pt x="189" y="62"/>
                    <a:pt x="181" y="72"/>
                  </a:cubicBezTo>
                  <a:cubicBezTo>
                    <a:pt x="179" y="77"/>
                    <a:pt x="179" y="82"/>
                    <a:pt x="178" y="87"/>
                  </a:cubicBezTo>
                  <a:cubicBezTo>
                    <a:pt x="177" y="92"/>
                    <a:pt x="178" y="95"/>
                    <a:pt x="175" y="100"/>
                  </a:cubicBezTo>
                  <a:cubicBezTo>
                    <a:pt x="172" y="105"/>
                    <a:pt x="169" y="112"/>
                    <a:pt x="162" y="115"/>
                  </a:cubicBezTo>
                  <a:cubicBezTo>
                    <a:pt x="152" y="115"/>
                    <a:pt x="146" y="116"/>
                    <a:pt x="135" y="120"/>
                  </a:cubicBezTo>
                  <a:cubicBezTo>
                    <a:pt x="136" y="126"/>
                    <a:pt x="132" y="129"/>
                    <a:pt x="135" y="135"/>
                  </a:cubicBezTo>
                  <a:cubicBezTo>
                    <a:pt x="134" y="140"/>
                    <a:pt x="131" y="148"/>
                    <a:pt x="129" y="151"/>
                  </a:cubicBezTo>
                  <a:cubicBezTo>
                    <a:pt x="127" y="154"/>
                    <a:pt x="128" y="156"/>
                    <a:pt x="124" y="157"/>
                  </a:cubicBezTo>
                  <a:cubicBezTo>
                    <a:pt x="120" y="158"/>
                    <a:pt x="113" y="160"/>
                    <a:pt x="106" y="159"/>
                  </a:cubicBezTo>
                  <a:cubicBezTo>
                    <a:pt x="99" y="158"/>
                    <a:pt x="86" y="152"/>
                    <a:pt x="82" y="148"/>
                  </a:cubicBezTo>
                  <a:cubicBezTo>
                    <a:pt x="78" y="144"/>
                    <a:pt x="84" y="146"/>
                    <a:pt x="84" y="136"/>
                  </a:cubicBezTo>
                  <a:cubicBezTo>
                    <a:pt x="81" y="125"/>
                    <a:pt x="86" y="96"/>
                    <a:pt x="82" y="87"/>
                  </a:cubicBezTo>
                  <a:cubicBezTo>
                    <a:pt x="78" y="78"/>
                    <a:pt x="67" y="84"/>
                    <a:pt x="61" y="82"/>
                  </a:cubicBezTo>
                  <a:cubicBezTo>
                    <a:pt x="55" y="78"/>
                    <a:pt x="49" y="77"/>
                    <a:pt x="43" y="73"/>
                  </a:cubicBezTo>
                  <a:cubicBezTo>
                    <a:pt x="37" y="69"/>
                    <a:pt x="37" y="64"/>
                    <a:pt x="30" y="63"/>
                  </a:cubicBezTo>
                  <a:cubicBezTo>
                    <a:pt x="23" y="60"/>
                    <a:pt x="25" y="61"/>
                    <a:pt x="18" y="57"/>
                  </a:cubicBezTo>
                  <a:cubicBezTo>
                    <a:pt x="15" y="52"/>
                    <a:pt x="11" y="40"/>
                    <a:pt x="6" y="37"/>
                  </a:cubicBezTo>
                  <a:cubicBezTo>
                    <a:pt x="3" y="32"/>
                    <a:pt x="1" y="28"/>
                    <a:pt x="0" y="22"/>
                  </a:cubicBezTo>
                  <a:cubicBezTo>
                    <a:pt x="2" y="13"/>
                    <a:pt x="6" y="8"/>
                    <a:pt x="15" y="6"/>
                  </a:cubicBezTo>
                  <a:cubicBezTo>
                    <a:pt x="16" y="16"/>
                    <a:pt x="14" y="13"/>
                    <a:pt x="24" y="13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0" name="Freeform 405"/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3066359" y="4120631"/>
              <a:ext cx="106909" cy="98805"/>
            </a:xfrm>
            <a:custGeom>
              <a:avLst/>
              <a:gdLst>
                <a:gd name="T0" fmla="*/ 15 w 65"/>
                <a:gd name="T1" fmla="*/ 56 h 61"/>
                <a:gd name="T2" fmla="*/ 57 w 65"/>
                <a:gd name="T3" fmla="*/ 45 h 61"/>
                <a:gd name="T4" fmla="*/ 36 w 65"/>
                <a:gd name="T5" fmla="*/ 12 h 61"/>
                <a:gd name="T6" fmla="*/ 15 w 65"/>
                <a:gd name="T7" fmla="*/ 5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1">
                  <a:moveTo>
                    <a:pt x="15" y="56"/>
                  </a:moveTo>
                  <a:cubicBezTo>
                    <a:pt x="56" y="54"/>
                    <a:pt x="36" y="61"/>
                    <a:pt x="57" y="45"/>
                  </a:cubicBezTo>
                  <a:cubicBezTo>
                    <a:pt x="65" y="29"/>
                    <a:pt x="46" y="20"/>
                    <a:pt x="36" y="12"/>
                  </a:cubicBezTo>
                  <a:cubicBezTo>
                    <a:pt x="0" y="16"/>
                    <a:pt x="15" y="0"/>
                    <a:pt x="15" y="5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1" name="Freeform 406"/>
            <p:cNvSpPr>
              <a:spLocks/>
            </p:cNvSpPr>
            <p:nvPr>
              <p:custDataLst>
                <p:tags r:id="rId136"/>
              </p:custDataLst>
            </p:nvPr>
          </p:nvSpPr>
          <p:spPr bwMode="gray">
            <a:xfrm>
              <a:off x="2998326" y="4130350"/>
              <a:ext cx="95571" cy="102044"/>
            </a:xfrm>
            <a:custGeom>
              <a:avLst/>
              <a:gdLst>
                <a:gd name="T0" fmla="*/ 9 w 57"/>
                <a:gd name="T1" fmla="*/ 0 h 63"/>
                <a:gd name="T2" fmla="*/ 36 w 57"/>
                <a:gd name="T3" fmla="*/ 5 h 63"/>
                <a:gd name="T4" fmla="*/ 51 w 57"/>
                <a:gd name="T5" fmla="*/ 8 h 63"/>
                <a:gd name="T6" fmla="*/ 57 w 57"/>
                <a:gd name="T7" fmla="*/ 35 h 63"/>
                <a:gd name="T8" fmla="*/ 29 w 57"/>
                <a:gd name="T9" fmla="*/ 54 h 63"/>
                <a:gd name="T10" fmla="*/ 17 w 57"/>
                <a:gd name="T11" fmla="*/ 54 h 63"/>
                <a:gd name="T12" fmla="*/ 8 w 57"/>
                <a:gd name="T13" fmla="*/ 39 h 63"/>
                <a:gd name="T14" fmla="*/ 3 w 57"/>
                <a:gd name="T15" fmla="*/ 38 h 63"/>
                <a:gd name="T16" fmla="*/ 14 w 57"/>
                <a:gd name="T17" fmla="*/ 17 h 63"/>
                <a:gd name="T18" fmla="*/ 9 w 57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63">
                  <a:moveTo>
                    <a:pt x="9" y="0"/>
                  </a:moveTo>
                  <a:cubicBezTo>
                    <a:pt x="22" y="1"/>
                    <a:pt x="26" y="2"/>
                    <a:pt x="36" y="5"/>
                  </a:cubicBezTo>
                  <a:cubicBezTo>
                    <a:pt x="41" y="6"/>
                    <a:pt x="51" y="8"/>
                    <a:pt x="51" y="8"/>
                  </a:cubicBezTo>
                  <a:cubicBezTo>
                    <a:pt x="57" y="16"/>
                    <a:pt x="55" y="26"/>
                    <a:pt x="57" y="35"/>
                  </a:cubicBezTo>
                  <a:cubicBezTo>
                    <a:pt x="55" y="55"/>
                    <a:pt x="49" y="53"/>
                    <a:pt x="29" y="54"/>
                  </a:cubicBezTo>
                  <a:cubicBezTo>
                    <a:pt x="24" y="63"/>
                    <a:pt x="27" y="55"/>
                    <a:pt x="17" y="54"/>
                  </a:cubicBezTo>
                  <a:cubicBezTo>
                    <a:pt x="17" y="47"/>
                    <a:pt x="10" y="45"/>
                    <a:pt x="8" y="39"/>
                  </a:cubicBezTo>
                  <a:cubicBezTo>
                    <a:pt x="8" y="37"/>
                    <a:pt x="4" y="40"/>
                    <a:pt x="3" y="38"/>
                  </a:cubicBezTo>
                  <a:cubicBezTo>
                    <a:pt x="0" y="29"/>
                    <a:pt x="15" y="24"/>
                    <a:pt x="14" y="17"/>
                  </a:cubicBezTo>
                  <a:cubicBezTo>
                    <a:pt x="13" y="11"/>
                    <a:pt x="11" y="6"/>
                    <a:pt x="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2" name="Freeform 407"/>
            <p:cNvSpPr>
              <a:spLocks/>
            </p:cNvSpPr>
            <p:nvPr>
              <p:custDataLst>
                <p:tags r:id="rId137"/>
              </p:custDataLst>
            </p:nvPr>
          </p:nvSpPr>
          <p:spPr bwMode="gray">
            <a:xfrm>
              <a:off x="2907614" y="4059081"/>
              <a:ext cx="124728" cy="187890"/>
            </a:xfrm>
            <a:custGeom>
              <a:avLst/>
              <a:gdLst>
                <a:gd name="T0" fmla="*/ 24 w 76"/>
                <a:gd name="T1" fmla="*/ 13 h 116"/>
                <a:gd name="T2" fmla="*/ 13 w 76"/>
                <a:gd name="T3" fmla="*/ 35 h 116"/>
                <a:gd name="T4" fmla="*/ 13 w 76"/>
                <a:gd name="T5" fmla="*/ 67 h 116"/>
                <a:gd name="T6" fmla="*/ 22 w 76"/>
                <a:gd name="T7" fmla="*/ 70 h 116"/>
                <a:gd name="T8" fmla="*/ 24 w 76"/>
                <a:gd name="T9" fmla="*/ 83 h 116"/>
                <a:gd name="T10" fmla="*/ 30 w 76"/>
                <a:gd name="T11" fmla="*/ 97 h 116"/>
                <a:gd name="T12" fmla="*/ 36 w 76"/>
                <a:gd name="T13" fmla="*/ 110 h 116"/>
                <a:gd name="T14" fmla="*/ 45 w 76"/>
                <a:gd name="T15" fmla="*/ 115 h 116"/>
                <a:gd name="T16" fmla="*/ 63 w 76"/>
                <a:gd name="T17" fmla="*/ 110 h 116"/>
                <a:gd name="T18" fmla="*/ 70 w 76"/>
                <a:gd name="T19" fmla="*/ 101 h 116"/>
                <a:gd name="T20" fmla="*/ 61 w 76"/>
                <a:gd name="T21" fmla="*/ 82 h 116"/>
                <a:gd name="T22" fmla="*/ 66 w 76"/>
                <a:gd name="T23" fmla="*/ 65 h 116"/>
                <a:gd name="T24" fmla="*/ 49 w 76"/>
                <a:gd name="T25" fmla="*/ 28 h 116"/>
                <a:gd name="T26" fmla="*/ 33 w 76"/>
                <a:gd name="T27" fmla="*/ 13 h 116"/>
                <a:gd name="T28" fmla="*/ 21 w 76"/>
                <a:gd name="T29" fmla="*/ 2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6">
                  <a:moveTo>
                    <a:pt x="24" y="13"/>
                  </a:moveTo>
                  <a:cubicBezTo>
                    <a:pt x="20" y="21"/>
                    <a:pt x="20" y="31"/>
                    <a:pt x="13" y="35"/>
                  </a:cubicBezTo>
                  <a:cubicBezTo>
                    <a:pt x="7" y="45"/>
                    <a:pt x="0" y="63"/>
                    <a:pt x="13" y="67"/>
                  </a:cubicBezTo>
                  <a:cubicBezTo>
                    <a:pt x="18" y="70"/>
                    <a:pt x="19" y="65"/>
                    <a:pt x="22" y="70"/>
                  </a:cubicBezTo>
                  <a:cubicBezTo>
                    <a:pt x="20" y="75"/>
                    <a:pt x="27" y="78"/>
                    <a:pt x="24" y="83"/>
                  </a:cubicBezTo>
                  <a:cubicBezTo>
                    <a:pt x="25" y="88"/>
                    <a:pt x="28" y="93"/>
                    <a:pt x="30" y="97"/>
                  </a:cubicBezTo>
                  <a:cubicBezTo>
                    <a:pt x="32" y="101"/>
                    <a:pt x="33" y="107"/>
                    <a:pt x="36" y="110"/>
                  </a:cubicBezTo>
                  <a:cubicBezTo>
                    <a:pt x="37" y="116"/>
                    <a:pt x="39" y="112"/>
                    <a:pt x="45" y="115"/>
                  </a:cubicBezTo>
                  <a:cubicBezTo>
                    <a:pt x="54" y="113"/>
                    <a:pt x="56" y="113"/>
                    <a:pt x="63" y="110"/>
                  </a:cubicBezTo>
                  <a:cubicBezTo>
                    <a:pt x="66" y="106"/>
                    <a:pt x="67" y="105"/>
                    <a:pt x="70" y="101"/>
                  </a:cubicBezTo>
                  <a:cubicBezTo>
                    <a:pt x="72" y="93"/>
                    <a:pt x="68" y="87"/>
                    <a:pt x="61" y="82"/>
                  </a:cubicBezTo>
                  <a:cubicBezTo>
                    <a:pt x="57" y="75"/>
                    <a:pt x="59" y="70"/>
                    <a:pt x="66" y="65"/>
                  </a:cubicBezTo>
                  <a:cubicBezTo>
                    <a:pt x="76" y="49"/>
                    <a:pt x="63" y="36"/>
                    <a:pt x="49" y="28"/>
                  </a:cubicBezTo>
                  <a:cubicBezTo>
                    <a:pt x="45" y="21"/>
                    <a:pt x="40" y="18"/>
                    <a:pt x="33" y="13"/>
                  </a:cubicBezTo>
                  <a:cubicBezTo>
                    <a:pt x="25" y="0"/>
                    <a:pt x="26" y="18"/>
                    <a:pt x="21" y="23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3" name="Freeform 408"/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2420043" y="4039644"/>
              <a:ext cx="113389" cy="63171"/>
            </a:xfrm>
            <a:custGeom>
              <a:avLst/>
              <a:gdLst>
                <a:gd name="T0" fmla="*/ 10 w 67"/>
                <a:gd name="T1" fmla="*/ 16 h 39"/>
                <a:gd name="T2" fmla="*/ 30 w 67"/>
                <a:gd name="T3" fmla="*/ 2 h 39"/>
                <a:gd name="T4" fmla="*/ 45 w 67"/>
                <a:gd name="T5" fmla="*/ 4 h 39"/>
                <a:gd name="T6" fmla="*/ 58 w 67"/>
                <a:gd name="T7" fmla="*/ 13 h 39"/>
                <a:gd name="T8" fmla="*/ 67 w 67"/>
                <a:gd name="T9" fmla="*/ 20 h 39"/>
                <a:gd name="T10" fmla="*/ 58 w 67"/>
                <a:gd name="T11" fmla="*/ 34 h 39"/>
                <a:gd name="T12" fmla="*/ 39 w 67"/>
                <a:gd name="T13" fmla="*/ 17 h 39"/>
                <a:gd name="T14" fmla="*/ 22 w 67"/>
                <a:gd name="T15" fmla="*/ 25 h 39"/>
                <a:gd name="T16" fmla="*/ 22 w 67"/>
                <a:gd name="T17" fmla="*/ 37 h 39"/>
                <a:gd name="T18" fmla="*/ 3 w 67"/>
                <a:gd name="T19" fmla="*/ 35 h 39"/>
                <a:gd name="T20" fmla="*/ 6 w 67"/>
                <a:gd name="T21" fmla="*/ 19 h 39"/>
                <a:gd name="T22" fmla="*/ 10 w 67"/>
                <a:gd name="T23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9">
                  <a:moveTo>
                    <a:pt x="10" y="16"/>
                  </a:moveTo>
                  <a:cubicBezTo>
                    <a:pt x="13" y="10"/>
                    <a:pt x="24" y="4"/>
                    <a:pt x="30" y="2"/>
                  </a:cubicBezTo>
                  <a:cubicBezTo>
                    <a:pt x="36" y="0"/>
                    <a:pt x="40" y="2"/>
                    <a:pt x="45" y="4"/>
                  </a:cubicBezTo>
                  <a:cubicBezTo>
                    <a:pt x="50" y="6"/>
                    <a:pt x="54" y="10"/>
                    <a:pt x="58" y="13"/>
                  </a:cubicBezTo>
                  <a:cubicBezTo>
                    <a:pt x="62" y="16"/>
                    <a:pt x="67" y="17"/>
                    <a:pt x="67" y="20"/>
                  </a:cubicBezTo>
                  <a:cubicBezTo>
                    <a:pt x="67" y="23"/>
                    <a:pt x="63" y="34"/>
                    <a:pt x="58" y="34"/>
                  </a:cubicBezTo>
                  <a:cubicBezTo>
                    <a:pt x="53" y="34"/>
                    <a:pt x="45" y="18"/>
                    <a:pt x="39" y="17"/>
                  </a:cubicBezTo>
                  <a:cubicBezTo>
                    <a:pt x="33" y="16"/>
                    <a:pt x="25" y="22"/>
                    <a:pt x="22" y="25"/>
                  </a:cubicBezTo>
                  <a:cubicBezTo>
                    <a:pt x="19" y="28"/>
                    <a:pt x="25" y="35"/>
                    <a:pt x="22" y="37"/>
                  </a:cubicBezTo>
                  <a:cubicBezTo>
                    <a:pt x="19" y="39"/>
                    <a:pt x="6" y="38"/>
                    <a:pt x="3" y="35"/>
                  </a:cubicBezTo>
                  <a:cubicBezTo>
                    <a:pt x="0" y="32"/>
                    <a:pt x="5" y="22"/>
                    <a:pt x="6" y="19"/>
                  </a:cubicBezTo>
                  <a:cubicBezTo>
                    <a:pt x="7" y="16"/>
                    <a:pt x="9" y="17"/>
                    <a:pt x="10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4" name="Freeform 409"/>
            <p:cNvSpPr>
              <a:spLocks/>
            </p:cNvSpPr>
            <p:nvPr>
              <p:custDataLst>
                <p:tags r:id="rId139"/>
              </p:custDataLst>
            </p:nvPr>
          </p:nvSpPr>
          <p:spPr bwMode="gray">
            <a:xfrm>
              <a:off x="2479976" y="3991051"/>
              <a:ext cx="291571" cy="356344"/>
            </a:xfrm>
            <a:custGeom>
              <a:avLst/>
              <a:gdLst>
                <a:gd name="T0" fmla="*/ 34 w 177"/>
                <a:gd name="T1" fmla="*/ 55 h 220"/>
                <a:gd name="T2" fmla="*/ 52 w 177"/>
                <a:gd name="T3" fmla="*/ 41 h 220"/>
                <a:gd name="T4" fmla="*/ 85 w 177"/>
                <a:gd name="T5" fmla="*/ 10 h 220"/>
                <a:gd name="T6" fmla="*/ 101 w 177"/>
                <a:gd name="T7" fmla="*/ 4 h 220"/>
                <a:gd name="T8" fmla="*/ 97 w 177"/>
                <a:gd name="T9" fmla="*/ 32 h 220"/>
                <a:gd name="T10" fmla="*/ 110 w 177"/>
                <a:gd name="T11" fmla="*/ 58 h 220"/>
                <a:gd name="T12" fmla="*/ 111 w 177"/>
                <a:gd name="T13" fmla="*/ 67 h 220"/>
                <a:gd name="T14" fmla="*/ 124 w 177"/>
                <a:gd name="T15" fmla="*/ 68 h 220"/>
                <a:gd name="T16" fmla="*/ 152 w 177"/>
                <a:gd name="T17" fmla="*/ 88 h 220"/>
                <a:gd name="T18" fmla="*/ 172 w 177"/>
                <a:gd name="T19" fmla="*/ 85 h 220"/>
                <a:gd name="T20" fmla="*/ 172 w 177"/>
                <a:gd name="T21" fmla="*/ 152 h 220"/>
                <a:gd name="T22" fmla="*/ 143 w 177"/>
                <a:gd name="T23" fmla="*/ 158 h 220"/>
                <a:gd name="T24" fmla="*/ 142 w 177"/>
                <a:gd name="T25" fmla="*/ 184 h 220"/>
                <a:gd name="T26" fmla="*/ 124 w 177"/>
                <a:gd name="T27" fmla="*/ 215 h 220"/>
                <a:gd name="T28" fmla="*/ 100 w 177"/>
                <a:gd name="T29" fmla="*/ 215 h 220"/>
                <a:gd name="T30" fmla="*/ 88 w 177"/>
                <a:gd name="T31" fmla="*/ 205 h 220"/>
                <a:gd name="T32" fmla="*/ 65 w 177"/>
                <a:gd name="T33" fmla="*/ 184 h 220"/>
                <a:gd name="T34" fmla="*/ 44 w 177"/>
                <a:gd name="T35" fmla="*/ 175 h 220"/>
                <a:gd name="T36" fmla="*/ 32 w 177"/>
                <a:gd name="T37" fmla="*/ 166 h 220"/>
                <a:gd name="T38" fmla="*/ 5 w 177"/>
                <a:gd name="T39" fmla="*/ 160 h 220"/>
                <a:gd name="T40" fmla="*/ 10 w 177"/>
                <a:gd name="T41" fmla="*/ 143 h 220"/>
                <a:gd name="T42" fmla="*/ 22 w 177"/>
                <a:gd name="T43" fmla="*/ 127 h 220"/>
                <a:gd name="T44" fmla="*/ 31 w 177"/>
                <a:gd name="T45" fmla="*/ 107 h 220"/>
                <a:gd name="T46" fmla="*/ 29 w 177"/>
                <a:gd name="T47" fmla="*/ 91 h 220"/>
                <a:gd name="T48" fmla="*/ 28 w 177"/>
                <a:gd name="T49" fmla="*/ 61 h 220"/>
                <a:gd name="T50" fmla="*/ 34 w 177"/>
                <a:gd name="T51" fmla="*/ 5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7" h="220">
                  <a:moveTo>
                    <a:pt x="34" y="55"/>
                  </a:moveTo>
                  <a:cubicBezTo>
                    <a:pt x="41" y="52"/>
                    <a:pt x="45" y="45"/>
                    <a:pt x="52" y="41"/>
                  </a:cubicBezTo>
                  <a:cubicBezTo>
                    <a:pt x="57" y="10"/>
                    <a:pt x="56" y="16"/>
                    <a:pt x="85" y="10"/>
                  </a:cubicBezTo>
                  <a:cubicBezTo>
                    <a:pt x="93" y="4"/>
                    <a:pt x="99" y="0"/>
                    <a:pt x="101" y="4"/>
                  </a:cubicBezTo>
                  <a:cubicBezTo>
                    <a:pt x="96" y="14"/>
                    <a:pt x="107" y="27"/>
                    <a:pt x="97" y="32"/>
                  </a:cubicBezTo>
                  <a:cubicBezTo>
                    <a:pt x="92" y="41"/>
                    <a:pt x="107" y="49"/>
                    <a:pt x="110" y="58"/>
                  </a:cubicBezTo>
                  <a:cubicBezTo>
                    <a:pt x="118" y="68"/>
                    <a:pt x="109" y="65"/>
                    <a:pt x="111" y="67"/>
                  </a:cubicBezTo>
                  <a:cubicBezTo>
                    <a:pt x="113" y="69"/>
                    <a:pt x="117" y="65"/>
                    <a:pt x="124" y="68"/>
                  </a:cubicBezTo>
                  <a:cubicBezTo>
                    <a:pt x="132" y="72"/>
                    <a:pt x="144" y="86"/>
                    <a:pt x="152" y="88"/>
                  </a:cubicBezTo>
                  <a:cubicBezTo>
                    <a:pt x="159" y="89"/>
                    <a:pt x="172" y="85"/>
                    <a:pt x="172" y="85"/>
                  </a:cubicBezTo>
                  <a:cubicBezTo>
                    <a:pt x="176" y="96"/>
                    <a:pt x="177" y="140"/>
                    <a:pt x="172" y="152"/>
                  </a:cubicBezTo>
                  <a:cubicBezTo>
                    <a:pt x="167" y="164"/>
                    <a:pt x="148" y="153"/>
                    <a:pt x="143" y="158"/>
                  </a:cubicBezTo>
                  <a:cubicBezTo>
                    <a:pt x="142" y="170"/>
                    <a:pt x="135" y="173"/>
                    <a:pt x="142" y="184"/>
                  </a:cubicBezTo>
                  <a:cubicBezTo>
                    <a:pt x="140" y="213"/>
                    <a:pt x="148" y="219"/>
                    <a:pt x="124" y="215"/>
                  </a:cubicBezTo>
                  <a:cubicBezTo>
                    <a:pt x="117" y="211"/>
                    <a:pt x="100" y="215"/>
                    <a:pt x="100" y="215"/>
                  </a:cubicBezTo>
                  <a:cubicBezTo>
                    <a:pt x="91" y="220"/>
                    <a:pt x="95" y="210"/>
                    <a:pt x="88" y="205"/>
                  </a:cubicBezTo>
                  <a:cubicBezTo>
                    <a:pt x="85" y="197"/>
                    <a:pt x="72" y="188"/>
                    <a:pt x="65" y="184"/>
                  </a:cubicBezTo>
                  <a:cubicBezTo>
                    <a:pt x="61" y="177"/>
                    <a:pt x="52" y="177"/>
                    <a:pt x="44" y="175"/>
                  </a:cubicBezTo>
                  <a:cubicBezTo>
                    <a:pt x="39" y="171"/>
                    <a:pt x="39" y="167"/>
                    <a:pt x="32" y="166"/>
                  </a:cubicBezTo>
                  <a:cubicBezTo>
                    <a:pt x="24" y="162"/>
                    <a:pt x="14" y="162"/>
                    <a:pt x="5" y="160"/>
                  </a:cubicBezTo>
                  <a:cubicBezTo>
                    <a:pt x="3" y="151"/>
                    <a:pt x="0" y="148"/>
                    <a:pt x="10" y="143"/>
                  </a:cubicBezTo>
                  <a:cubicBezTo>
                    <a:pt x="14" y="137"/>
                    <a:pt x="19" y="134"/>
                    <a:pt x="22" y="127"/>
                  </a:cubicBezTo>
                  <a:cubicBezTo>
                    <a:pt x="23" y="120"/>
                    <a:pt x="28" y="114"/>
                    <a:pt x="31" y="107"/>
                  </a:cubicBezTo>
                  <a:cubicBezTo>
                    <a:pt x="32" y="101"/>
                    <a:pt x="32" y="97"/>
                    <a:pt x="29" y="91"/>
                  </a:cubicBezTo>
                  <a:cubicBezTo>
                    <a:pt x="28" y="82"/>
                    <a:pt x="25" y="70"/>
                    <a:pt x="28" y="61"/>
                  </a:cubicBezTo>
                  <a:cubicBezTo>
                    <a:pt x="29" y="58"/>
                    <a:pt x="35" y="52"/>
                    <a:pt x="34" y="5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5" name="Freeform 410"/>
            <p:cNvSpPr>
              <a:spLocks/>
            </p:cNvSpPr>
            <p:nvPr>
              <p:custDataLst>
                <p:tags r:id="rId140"/>
              </p:custDataLst>
            </p:nvPr>
          </p:nvSpPr>
          <p:spPr bwMode="gray">
            <a:xfrm>
              <a:off x="2705135" y="4502892"/>
              <a:ext cx="306150" cy="327188"/>
            </a:xfrm>
            <a:custGeom>
              <a:avLst/>
              <a:gdLst>
                <a:gd name="T0" fmla="*/ 0 w 185"/>
                <a:gd name="T1" fmla="*/ 25 h 203"/>
                <a:gd name="T2" fmla="*/ 26 w 185"/>
                <a:gd name="T3" fmla="*/ 21 h 203"/>
                <a:gd name="T4" fmla="*/ 41 w 185"/>
                <a:gd name="T5" fmla="*/ 18 h 203"/>
                <a:gd name="T6" fmla="*/ 46 w 185"/>
                <a:gd name="T7" fmla="*/ 13 h 203"/>
                <a:gd name="T8" fmla="*/ 60 w 185"/>
                <a:gd name="T9" fmla="*/ 3 h 203"/>
                <a:gd name="T10" fmla="*/ 71 w 185"/>
                <a:gd name="T11" fmla="*/ 33 h 203"/>
                <a:gd name="T12" fmla="*/ 86 w 185"/>
                <a:gd name="T13" fmla="*/ 52 h 203"/>
                <a:gd name="T14" fmla="*/ 105 w 185"/>
                <a:gd name="T15" fmla="*/ 61 h 203"/>
                <a:gd name="T16" fmla="*/ 123 w 185"/>
                <a:gd name="T17" fmla="*/ 61 h 203"/>
                <a:gd name="T18" fmla="*/ 138 w 185"/>
                <a:gd name="T19" fmla="*/ 69 h 203"/>
                <a:gd name="T20" fmla="*/ 143 w 185"/>
                <a:gd name="T21" fmla="*/ 99 h 203"/>
                <a:gd name="T22" fmla="*/ 161 w 185"/>
                <a:gd name="T23" fmla="*/ 102 h 203"/>
                <a:gd name="T24" fmla="*/ 170 w 185"/>
                <a:gd name="T25" fmla="*/ 106 h 203"/>
                <a:gd name="T26" fmla="*/ 183 w 185"/>
                <a:gd name="T27" fmla="*/ 133 h 203"/>
                <a:gd name="T28" fmla="*/ 174 w 185"/>
                <a:gd name="T29" fmla="*/ 160 h 203"/>
                <a:gd name="T30" fmla="*/ 119 w 185"/>
                <a:gd name="T31" fmla="*/ 163 h 203"/>
                <a:gd name="T32" fmla="*/ 101 w 185"/>
                <a:gd name="T33" fmla="*/ 198 h 203"/>
                <a:gd name="T34" fmla="*/ 79 w 185"/>
                <a:gd name="T35" fmla="*/ 196 h 203"/>
                <a:gd name="T36" fmla="*/ 58 w 185"/>
                <a:gd name="T37" fmla="*/ 195 h 203"/>
                <a:gd name="T38" fmla="*/ 44 w 185"/>
                <a:gd name="T39" fmla="*/ 196 h 203"/>
                <a:gd name="T40" fmla="*/ 21 w 185"/>
                <a:gd name="T41" fmla="*/ 186 h 203"/>
                <a:gd name="T42" fmla="*/ 17 w 185"/>
                <a:gd name="T43" fmla="*/ 172 h 203"/>
                <a:gd name="T44" fmla="*/ 15 w 185"/>
                <a:gd name="T45" fmla="*/ 137 h 203"/>
                <a:gd name="T46" fmla="*/ 9 w 185"/>
                <a:gd name="T47" fmla="*/ 117 h 203"/>
                <a:gd name="T48" fmla="*/ 12 w 185"/>
                <a:gd name="T49" fmla="*/ 91 h 203"/>
                <a:gd name="T50" fmla="*/ 15 w 185"/>
                <a:gd name="T51" fmla="*/ 66 h 203"/>
                <a:gd name="T52" fmla="*/ 15 w 185"/>
                <a:gd name="T53" fmla="*/ 45 h 203"/>
                <a:gd name="T54" fmla="*/ 8 w 185"/>
                <a:gd name="T55" fmla="*/ 3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5" h="203">
                  <a:moveTo>
                    <a:pt x="0" y="25"/>
                  </a:moveTo>
                  <a:cubicBezTo>
                    <a:pt x="11" y="24"/>
                    <a:pt x="16" y="23"/>
                    <a:pt x="26" y="21"/>
                  </a:cubicBezTo>
                  <a:cubicBezTo>
                    <a:pt x="31" y="20"/>
                    <a:pt x="41" y="18"/>
                    <a:pt x="41" y="18"/>
                  </a:cubicBezTo>
                  <a:cubicBezTo>
                    <a:pt x="44" y="17"/>
                    <a:pt x="43" y="15"/>
                    <a:pt x="46" y="13"/>
                  </a:cubicBezTo>
                  <a:cubicBezTo>
                    <a:pt x="49" y="11"/>
                    <a:pt x="56" y="0"/>
                    <a:pt x="60" y="3"/>
                  </a:cubicBezTo>
                  <a:cubicBezTo>
                    <a:pt x="64" y="6"/>
                    <a:pt x="67" y="25"/>
                    <a:pt x="71" y="33"/>
                  </a:cubicBezTo>
                  <a:cubicBezTo>
                    <a:pt x="75" y="41"/>
                    <a:pt x="80" y="47"/>
                    <a:pt x="86" y="52"/>
                  </a:cubicBezTo>
                  <a:cubicBezTo>
                    <a:pt x="95" y="57"/>
                    <a:pt x="95" y="60"/>
                    <a:pt x="105" y="61"/>
                  </a:cubicBezTo>
                  <a:cubicBezTo>
                    <a:pt x="111" y="63"/>
                    <a:pt x="118" y="60"/>
                    <a:pt x="123" y="61"/>
                  </a:cubicBezTo>
                  <a:cubicBezTo>
                    <a:pt x="128" y="62"/>
                    <a:pt x="135" y="63"/>
                    <a:pt x="138" y="69"/>
                  </a:cubicBezTo>
                  <a:cubicBezTo>
                    <a:pt x="142" y="76"/>
                    <a:pt x="136" y="96"/>
                    <a:pt x="143" y="99"/>
                  </a:cubicBezTo>
                  <a:cubicBezTo>
                    <a:pt x="149" y="101"/>
                    <a:pt x="161" y="102"/>
                    <a:pt x="161" y="102"/>
                  </a:cubicBezTo>
                  <a:cubicBezTo>
                    <a:pt x="164" y="104"/>
                    <a:pt x="168" y="104"/>
                    <a:pt x="170" y="106"/>
                  </a:cubicBezTo>
                  <a:cubicBezTo>
                    <a:pt x="174" y="111"/>
                    <a:pt x="182" y="124"/>
                    <a:pt x="183" y="133"/>
                  </a:cubicBezTo>
                  <a:cubicBezTo>
                    <a:pt x="184" y="142"/>
                    <a:pt x="185" y="155"/>
                    <a:pt x="174" y="160"/>
                  </a:cubicBezTo>
                  <a:cubicBezTo>
                    <a:pt x="158" y="159"/>
                    <a:pt x="132" y="153"/>
                    <a:pt x="119" y="163"/>
                  </a:cubicBezTo>
                  <a:cubicBezTo>
                    <a:pt x="114" y="176"/>
                    <a:pt x="114" y="192"/>
                    <a:pt x="101" y="198"/>
                  </a:cubicBezTo>
                  <a:cubicBezTo>
                    <a:pt x="94" y="203"/>
                    <a:pt x="88" y="196"/>
                    <a:pt x="79" y="196"/>
                  </a:cubicBezTo>
                  <a:cubicBezTo>
                    <a:pt x="72" y="196"/>
                    <a:pt x="64" y="195"/>
                    <a:pt x="58" y="195"/>
                  </a:cubicBezTo>
                  <a:cubicBezTo>
                    <a:pt x="52" y="195"/>
                    <a:pt x="50" y="197"/>
                    <a:pt x="44" y="196"/>
                  </a:cubicBezTo>
                  <a:cubicBezTo>
                    <a:pt x="34" y="194"/>
                    <a:pt x="26" y="190"/>
                    <a:pt x="21" y="186"/>
                  </a:cubicBezTo>
                  <a:cubicBezTo>
                    <a:pt x="20" y="181"/>
                    <a:pt x="18" y="177"/>
                    <a:pt x="17" y="172"/>
                  </a:cubicBezTo>
                  <a:cubicBezTo>
                    <a:pt x="16" y="164"/>
                    <a:pt x="16" y="146"/>
                    <a:pt x="15" y="137"/>
                  </a:cubicBezTo>
                  <a:cubicBezTo>
                    <a:pt x="14" y="128"/>
                    <a:pt x="9" y="125"/>
                    <a:pt x="9" y="117"/>
                  </a:cubicBezTo>
                  <a:cubicBezTo>
                    <a:pt x="8" y="105"/>
                    <a:pt x="11" y="99"/>
                    <a:pt x="12" y="91"/>
                  </a:cubicBezTo>
                  <a:cubicBezTo>
                    <a:pt x="13" y="83"/>
                    <a:pt x="15" y="74"/>
                    <a:pt x="15" y="66"/>
                  </a:cubicBezTo>
                  <a:cubicBezTo>
                    <a:pt x="15" y="54"/>
                    <a:pt x="16" y="51"/>
                    <a:pt x="15" y="45"/>
                  </a:cubicBezTo>
                  <a:cubicBezTo>
                    <a:pt x="14" y="39"/>
                    <a:pt x="9" y="34"/>
                    <a:pt x="8" y="3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6" name="Freeform 411"/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2612803" y="4167605"/>
              <a:ext cx="965425" cy="976707"/>
            </a:xfrm>
            <a:custGeom>
              <a:avLst/>
              <a:gdLst>
                <a:gd name="T0" fmla="*/ 313 w 584"/>
                <a:gd name="T1" fmla="*/ 582 h 604"/>
                <a:gd name="T2" fmla="*/ 346 w 584"/>
                <a:gd name="T3" fmla="*/ 550 h 604"/>
                <a:gd name="T4" fmla="*/ 376 w 584"/>
                <a:gd name="T5" fmla="*/ 502 h 604"/>
                <a:gd name="T6" fmla="*/ 400 w 584"/>
                <a:gd name="T7" fmla="*/ 442 h 604"/>
                <a:gd name="T8" fmla="*/ 445 w 584"/>
                <a:gd name="T9" fmla="*/ 418 h 604"/>
                <a:gd name="T10" fmla="*/ 487 w 584"/>
                <a:gd name="T11" fmla="*/ 399 h 604"/>
                <a:gd name="T12" fmla="*/ 508 w 584"/>
                <a:gd name="T13" fmla="*/ 345 h 604"/>
                <a:gd name="T14" fmla="*/ 518 w 584"/>
                <a:gd name="T15" fmla="*/ 315 h 604"/>
                <a:gd name="T16" fmla="*/ 550 w 584"/>
                <a:gd name="T17" fmla="*/ 235 h 604"/>
                <a:gd name="T18" fmla="*/ 575 w 584"/>
                <a:gd name="T19" fmla="*/ 189 h 604"/>
                <a:gd name="T20" fmla="*/ 515 w 584"/>
                <a:gd name="T21" fmla="*/ 123 h 604"/>
                <a:gd name="T22" fmla="*/ 446 w 584"/>
                <a:gd name="T23" fmla="*/ 105 h 604"/>
                <a:gd name="T24" fmla="*/ 371 w 584"/>
                <a:gd name="T25" fmla="*/ 75 h 604"/>
                <a:gd name="T26" fmla="*/ 346 w 584"/>
                <a:gd name="T27" fmla="*/ 45 h 604"/>
                <a:gd name="T28" fmla="*/ 331 w 584"/>
                <a:gd name="T29" fmla="*/ 10 h 604"/>
                <a:gd name="T30" fmla="*/ 305 w 584"/>
                <a:gd name="T31" fmla="*/ 27 h 604"/>
                <a:gd name="T32" fmla="*/ 274 w 584"/>
                <a:gd name="T33" fmla="*/ 28 h 604"/>
                <a:gd name="T34" fmla="*/ 238 w 584"/>
                <a:gd name="T35" fmla="*/ 43 h 604"/>
                <a:gd name="T36" fmla="*/ 208 w 584"/>
                <a:gd name="T37" fmla="*/ 33 h 604"/>
                <a:gd name="T38" fmla="*/ 191 w 584"/>
                <a:gd name="T39" fmla="*/ 0 h 604"/>
                <a:gd name="T40" fmla="*/ 143 w 584"/>
                <a:gd name="T41" fmla="*/ 12 h 604"/>
                <a:gd name="T42" fmla="*/ 140 w 584"/>
                <a:gd name="T43" fmla="*/ 45 h 604"/>
                <a:gd name="T44" fmla="*/ 113 w 584"/>
                <a:gd name="T45" fmla="*/ 55 h 604"/>
                <a:gd name="T46" fmla="*/ 59 w 584"/>
                <a:gd name="T47" fmla="*/ 54 h 604"/>
                <a:gd name="T48" fmla="*/ 56 w 584"/>
                <a:gd name="T49" fmla="*/ 121 h 604"/>
                <a:gd name="T50" fmla="*/ 17 w 584"/>
                <a:gd name="T51" fmla="*/ 141 h 604"/>
                <a:gd name="T52" fmla="*/ 4 w 584"/>
                <a:gd name="T53" fmla="*/ 177 h 604"/>
                <a:gd name="T54" fmla="*/ 31 w 584"/>
                <a:gd name="T55" fmla="*/ 216 h 604"/>
                <a:gd name="T56" fmla="*/ 91 w 584"/>
                <a:gd name="T57" fmla="*/ 229 h 604"/>
                <a:gd name="T58" fmla="*/ 121 w 584"/>
                <a:gd name="T59" fmla="*/ 216 h 604"/>
                <a:gd name="T60" fmla="*/ 157 w 584"/>
                <a:gd name="T61" fmla="*/ 267 h 604"/>
                <a:gd name="T62" fmla="*/ 184 w 584"/>
                <a:gd name="T63" fmla="*/ 268 h 604"/>
                <a:gd name="T64" fmla="*/ 221 w 584"/>
                <a:gd name="T65" fmla="*/ 312 h 604"/>
                <a:gd name="T66" fmla="*/ 235 w 584"/>
                <a:gd name="T67" fmla="*/ 330 h 604"/>
                <a:gd name="T68" fmla="*/ 232 w 584"/>
                <a:gd name="T69" fmla="*/ 369 h 604"/>
                <a:gd name="T70" fmla="*/ 275 w 584"/>
                <a:gd name="T71" fmla="*/ 412 h 604"/>
                <a:gd name="T72" fmla="*/ 281 w 584"/>
                <a:gd name="T73" fmla="*/ 430 h 604"/>
                <a:gd name="T74" fmla="*/ 298 w 584"/>
                <a:gd name="T75" fmla="*/ 450 h 604"/>
                <a:gd name="T76" fmla="*/ 256 w 584"/>
                <a:gd name="T77" fmla="*/ 517 h 604"/>
                <a:gd name="T78" fmla="*/ 289 w 584"/>
                <a:gd name="T79" fmla="*/ 56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84" h="604">
                  <a:moveTo>
                    <a:pt x="305" y="604"/>
                  </a:moveTo>
                  <a:cubicBezTo>
                    <a:pt x="310" y="598"/>
                    <a:pt x="310" y="589"/>
                    <a:pt x="313" y="582"/>
                  </a:cubicBezTo>
                  <a:cubicBezTo>
                    <a:pt x="315" y="571"/>
                    <a:pt x="324" y="571"/>
                    <a:pt x="334" y="570"/>
                  </a:cubicBezTo>
                  <a:cubicBezTo>
                    <a:pt x="341" y="565"/>
                    <a:pt x="341" y="557"/>
                    <a:pt x="346" y="550"/>
                  </a:cubicBezTo>
                  <a:cubicBezTo>
                    <a:pt x="346" y="543"/>
                    <a:pt x="349" y="541"/>
                    <a:pt x="350" y="534"/>
                  </a:cubicBezTo>
                  <a:cubicBezTo>
                    <a:pt x="352" y="519"/>
                    <a:pt x="371" y="515"/>
                    <a:pt x="376" y="502"/>
                  </a:cubicBezTo>
                  <a:cubicBezTo>
                    <a:pt x="374" y="482"/>
                    <a:pt x="372" y="466"/>
                    <a:pt x="388" y="453"/>
                  </a:cubicBezTo>
                  <a:cubicBezTo>
                    <a:pt x="391" y="447"/>
                    <a:pt x="394" y="445"/>
                    <a:pt x="400" y="442"/>
                  </a:cubicBezTo>
                  <a:cubicBezTo>
                    <a:pt x="405" y="437"/>
                    <a:pt x="415" y="433"/>
                    <a:pt x="422" y="429"/>
                  </a:cubicBezTo>
                  <a:cubicBezTo>
                    <a:pt x="429" y="425"/>
                    <a:pt x="437" y="419"/>
                    <a:pt x="445" y="418"/>
                  </a:cubicBezTo>
                  <a:cubicBezTo>
                    <a:pt x="453" y="417"/>
                    <a:pt x="462" y="428"/>
                    <a:pt x="469" y="424"/>
                  </a:cubicBezTo>
                  <a:cubicBezTo>
                    <a:pt x="471" y="413"/>
                    <a:pt x="478" y="405"/>
                    <a:pt x="487" y="399"/>
                  </a:cubicBezTo>
                  <a:cubicBezTo>
                    <a:pt x="490" y="394"/>
                    <a:pt x="493" y="391"/>
                    <a:pt x="494" y="385"/>
                  </a:cubicBezTo>
                  <a:cubicBezTo>
                    <a:pt x="496" y="368"/>
                    <a:pt x="494" y="355"/>
                    <a:pt x="508" y="345"/>
                  </a:cubicBezTo>
                  <a:cubicBezTo>
                    <a:pt x="510" y="336"/>
                    <a:pt x="516" y="332"/>
                    <a:pt x="523" y="328"/>
                  </a:cubicBezTo>
                  <a:cubicBezTo>
                    <a:pt x="528" y="321"/>
                    <a:pt x="522" y="321"/>
                    <a:pt x="518" y="315"/>
                  </a:cubicBezTo>
                  <a:cubicBezTo>
                    <a:pt x="515" y="298"/>
                    <a:pt x="507" y="272"/>
                    <a:pt x="523" y="262"/>
                  </a:cubicBezTo>
                  <a:cubicBezTo>
                    <a:pt x="532" y="249"/>
                    <a:pt x="535" y="244"/>
                    <a:pt x="550" y="235"/>
                  </a:cubicBezTo>
                  <a:cubicBezTo>
                    <a:pt x="553" y="231"/>
                    <a:pt x="556" y="226"/>
                    <a:pt x="559" y="222"/>
                  </a:cubicBezTo>
                  <a:cubicBezTo>
                    <a:pt x="560" y="214"/>
                    <a:pt x="565" y="191"/>
                    <a:pt x="575" y="189"/>
                  </a:cubicBezTo>
                  <a:cubicBezTo>
                    <a:pt x="584" y="174"/>
                    <a:pt x="576" y="151"/>
                    <a:pt x="556" y="145"/>
                  </a:cubicBezTo>
                  <a:cubicBezTo>
                    <a:pt x="542" y="137"/>
                    <a:pt x="531" y="126"/>
                    <a:pt x="515" y="123"/>
                  </a:cubicBezTo>
                  <a:cubicBezTo>
                    <a:pt x="492" y="111"/>
                    <a:pt x="498" y="112"/>
                    <a:pt x="460" y="111"/>
                  </a:cubicBezTo>
                  <a:cubicBezTo>
                    <a:pt x="455" y="109"/>
                    <a:pt x="452" y="106"/>
                    <a:pt x="446" y="105"/>
                  </a:cubicBezTo>
                  <a:cubicBezTo>
                    <a:pt x="440" y="102"/>
                    <a:pt x="435" y="97"/>
                    <a:pt x="428" y="96"/>
                  </a:cubicBezTo>
                  <a:cubicBezTo>
                    <a:pt x="413" y="77"/>
                    <a:pt x="397" y="76"/>
                    <a:pt x="371" y="75"/>
                  </a:cubicBezTo>
                  <a:cubicBezTo>
                    <a:pt x="363" y="69"/>
                    <a:pt x="358" y="67"/>
                    <a:pt x="353" y="57"/>
                  </a:cubicBezTo>
                  <a:cubicBezTo>
                    <a:pt x="352" y="51"/>
                    <a:pt x="351" y="49"/>
                    <a:pt x="346" y="45"/>
                  </a:cubicBezTo>
                  <a:cubicBezTo>
                    <a:pt x="343" y="37"/>
                    <a:pt x="336" y="32"/>
                    <a:pt x="332" y="24"/>
                  </a:cubicBezTo>
                  <a:cubicBezTo>
                    <a:pt x="332" y="19"/>
                    <a:pt x="333" y="14"/>
                    <a:pt x="331" y="10"/>
                  </a:cubicBezTo>
                  <a:cubicBezTo>
                    <a:pt x="331" y="9"/>
                    <a:pt x="326" y="19"/>
                    <a:pt x="326" y="19"/>
                  </a:cubicBezTo>
                  <a:cubicBezTo>
                    <a:pt x="323" y="25"/>
                    <a:pt x="311" y="24"/>
                    <a:pt x="305" y="27"/>
                  </a:cubicBezTo>
                  <a:cubicBezTo>
                    <a:pt x="299" y="29"/>
                    <a:pt x="294" y="27"/>
                    <a:pt x="289" y="27"/>
                  </a:cubicBezTo>
                  <a:cubicBezTo>
                    <a:pt x="284" y="27"/>
                    <a:pt x="281" y="27"/>
                    <a:pt x="274" y="28"/>
                  </a:cubicBezTo>
                  <a:cubicBezTo>
                    <a:pt x="267" y="29"/>
                    <a:pt x="254" y="34"/>
                    <a:pt x="248" y="36"/>
                  </a:cubicBezTo>
                  <a:cubicBezTo>
                    <a:pt x="243" y="40"/>
                    <a:pt x="244" y="42"/>
                    <a:pt x="238" y="43"/>
                  </a:cubicBezTo>
                  <a:cubicBezTo>
                    <a:pt x="233" y="45"/>
                    <a:pt x="225" y="49"/>
                    <a:pt x="220" y="51"/>
                  </a:cubicBezTo>
                  <a:cubicBezTo>
                    <a:pt x="214" y="45"/>
                    <a:pt x="215" y="38"/>
                    <a:pt x="208" y="33"/>
                  </a:cubicBezTo>
                  <a:cubicBezTo>
                    <a:pt x="205" y="26"/>
                    <a:pt x="208" y="17"/>
                    <a:pt x="205" y="12"/>
                  </a:cubicBezTo>
                  <a:cubicBezTo>
                    <a:pt x="202" y="7"/>
                    <a:pt x="196" y="1"/>
                    <a:pt x="191" y="0"/>
                  </a:cubicBezTo>
                  <a:cubicBezTo>
                    <a:pt x="184" y="1"/>
                    <a:pt x="182" y="4"/>
                    <a:pt x="176" y="7"/>
                  </a:cubicBezTo>
                  <a:cubicBezTo>
                    <a:pt x="166" y="11"/>
                    <a:pt x="152" y="11"/>
                    <a:pt x="143" y="12"/>
                  </a:cubicBezTo>
                  <a:cubicBezTo>
                    <a:pt x="137" y="15"/>
                    <a:pt x="143" y="25"/>
                    <a:pt x="143" y="30"/>
                  </a:cubicBezTo>
                  <a:cubicBezTo>
                    <a:pt x="143" y="35"/>
                    <a:pt x="142" y="41"/>
                    <a:pt x="140" y="45"/>
                  </a:cubicBezTo>
                  <a:cubicBezTo>
                    <a:pt x="138" y="49"/>
                    <a:pt x="132" y="50"/>
                    <a:pt x="128" y="52"/>
                  </a:cubicBezTo>
                  <a:cubicBezTo>
                    <a:pt x="122" y="57"/>
                    <a:pt x="120" y="57"/>
                    <a:pt x="113" y="55"/>
                  </a:cubicBezTo>
                  <a:cubicBezTo>
                    <a:pt x="108" y="51"/>
                    <a:pt x="103" y="49"/>
                    <a:pt x="98" y="46"/>
                  </a:cubicBezTo>
                  <a:cubicBezTo>
                    <a:pt x="66" y="48"/>
                    <a:pt x="75" y="44"/>
                    <a:pt x="59" y="54"/>
                  </a:cubicBezTo>
                  <a:cubicBezTo>
                    <a:pt x="53" y="61"/>
                    <a:pt x="59" y="77"/>
                    <a:pt x="59" y="88"/>
                  </a:cubicBezTo>
                  <a:cubicBezTo>
                    <a:pt x="59" y="99"/>
                    <a:pt x="60" y="114"/>
                    <a:pt x="56" y="121"/>
                  </a:cubicBezTo>
                  <a:cubicBezTo>
                    <a:pt x="53" y="136"/>
                    <a:pt x="40" y="129"/>
                    <a:pt x="35" y="133"/>
                  </a:cubicBezTo>
                  <a:cubicBezTo>
                    <a:pt x="29" y="136"/>
                    <a:pt x="21" y="137"/>
                    <a:pt x="17" y="141"/>
                  </a:cubicBezTo>
                  <a:cubicBezTo>
                    <a:pt x="13" y="146"/>
                    <a:pt x="11" y="150"/>
                    <a:pt x="10" y="156"/>
                  </a:cubicBezTo>
                  <a:cubicBezTo>
                    <a:pt x="8" y="162"/>
                    <a:pt x="5" y="170"/>
                    <a:pt x="4" y="177"/>
                  </a:cubicBezTo>
                  <a:cubicBezTo>
                    <a:pt x="3" y="183"/>
                    <a:pt x="0" y="193"/>
                    <a:pt x="5" y="199"/>
                  </a:cubicBezTo>
                  <a:cubicBezTo>
                    <a:pt x="9" y="205"/>
                    <a:pt x="23" y="211"/>
                    <a:pt x="31" y="216"/>
                  </a:cubicBezTo>
                  <a:cubicBezTo>
                    <a:pt x="38" y="221"/>
                    <a:pt x="44" y="229"/>
                    <a:pt x="53" y="231"/>
                  </a:cubicBezTo>
                  <a:cubicBezTo>
                    <a:pt x="64" y="230"/>
                    <a:pt x="81" y="231"/>
                    <a:pt x="91" y="229"/>
                  </a:cubicBezTo>
                  <a:cubicBezTo>
                    <a:pt x="100" y="224"/>
                    <a:pt x="99" y="214"/>
                    <a:pt x="109" y="213"/>
                  </a:cubicBezTo>
                  <a:cubicBezTo>
                    <a:pt x="111" y="213"/>
                    <a:pt x="119" y="212"/>
                    <a:pt x="121" y="216"/>
                  </a:cubicBezTo>
                  <a:cubicBezTo>
                    <a:pt x="127" y="226"/>
                    <a:pt x="125" y="245"/>
                    <a:pt x="136" y="252"/>
                  </a:cubicBezTo>
                  <a:cubicBezTo>
                    <a:pt x="141" y="260"/>
                    <a:pt x="151" y="264"/>
                    <a:pt x="157" y="267"/>
                  </a:cubicBezTo>
                  <a:cubicBezTo>
                    <a:pt x="163" y="270"/>
                    <a:pt x="168" y="268"/>
                    <a:pt x="172" y="268"/>
                  </a:cubicBezTo>
                  <a:cubicBezTo>
                    <a:pt x="176" y="270"/>
                    <a:pt x="180" y="266"/>
                    <a:pt x="184" y="268"/>
                  </a:cubicBezTo>
                  <a:cubicBezTo>
                    <a:pt x="188" y="270"/>
                    <a:pt x="193" y="277"/>
                    <a:pt x="193" y="277"/>
                  </a:cubicBezTo>
                  <a:cubicBezTo>
                    <a:pt x="195" y="313"/>
                    <a:pt x="189" y="309"/>
                    <a:pt x="221" y="312"/>
                  </a:cubicBezTo>
                  <a:cubicBezTo>
                    <a:pt x="228" y="320"/>
                    <a:pt x="230" y="321"/>
                    <a:pt x="232" y="324"/>
                  </a:cubicBezTo>
                  <a:cubicBezTo>
                    <a:pt x="234" y="327"/>
                    <a:pt x="234" y="324"/>
                    <a:pt x="235" y="330"/>
                  </a:cubicBezTo>
                  <a:cubicBezTo>
                    <a:pt x="238" y="337"/>
                    <a:pt x="236" y="352"/>
                    <a:pt x="236" y="358"/>
                  </a:cubicBezTo>
                  <a:cubicBezTo>
                    <a:pt x="236" y="364"/>
                    <a:pt x="231" y="361"/>
                    <a:pt x="232" y="369"/>
                  </a:cubicBezTo>
                  <a:cubicBezTo>
                    <a:pt x="234" y="400"/>
                    <a:pt x="224" y="406"/>
                    <a:pt x="245" y="409"/>
                  </a:cubicBezTo>
                  <a:cubicBezTo>
                    <a:pt x="254" y="413"/>
                    <a:pt x="266" y="407"/>
                    <a:pt x="275" y="412"/>
                  </a:cubicBezTo>
                  <a:cubicBezTo>
                    <a:pt x="279" y="415"/>
                    <a:pt x="275" y="422"/>
                    <a:pt x="277" y="427"/>
                  </a:cubicBezTo>
                  <a:cubicBezTo>
                    <a:pt x="278" y="429"/>
                    <a:pt x="279" y="429"/>
                    <a:pt x="281" y="430"/>
                  </a:cubicBezTo>
                  <a:cubicBezTo>
                    <a:pt x="284" y="431"/>
                    <a:pt x="286" y="431"/>
                    <a:pt x="289" y="432"/>
                  </a:cubicBezTo>
                  <a:cubicBezTo>
                    <a:pt x="290" y="435"/>
                    <a:pt x="298" y="442"/>
                    <a:pt x="298" y="450"/>
                  </a:cubicBezTo>
                  <a:cubicBezTo>
                    <a:pt x="298" y="458"/>
                    <a:pt x="294" y="467"/>
                    <a:pt x="287" y="478"/>
                  </a:cubicBezTo>
                  <a:cubicBezTo>
                    <a:pt x="281" y="486"/>
                    <a:pt x="264" y="506"/>
                    <a:pt x="256" y="517"/>
                  </a:cubicBezTo>
                  <a:cubicBezTo>
                    <a:pt x="255" y="523"/>
                    <a:pt x="250" y="526"/>
                    <a:pt x="253" y="532"/>
                  </a:cubicBezTo>
                  <a:cubicBezTo>
                    <a:pt x="254" y="535"/>
                    <a:pt x="284" y="561"/>
                    <a:pt x="289" y="564"/>
                  </a:cubicBezTo>
                  <a:cubicBezTo>
                    <a:pt x="293" y="569"/>
                    <a:pt x="298" y="572"/>
                    <a:pt x="302" y="577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7" name="Freeform 412"/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2418423" y="4271268"/>
              <a:ext cx="314249" cy="453529"/>
            </a:xfrm>
            <a:custGeom>
              <a:avLst/>
              <a:gdLst>
                <a:gd name="T0" fmla="*/ 20 w 189"/>
                <a:gd name="T1" fmla="*/ 66 h 280"/>
                <a:gd name="T2" fmla="*/ 17 w 189"/>
                <a:gd name="T3" fmla="*/ 98 h 280"/>
                <a:gd name="T4" fmla="*/ 31 w 189"/>
                <a:gd name="T5" fmla="*/ 113 h 280"/>
                <a:gd name="T6" fmla="*/ 40 w 189"/>
                <a:gd name="T7" fmla="*/ 126 h 280"/>
                <a:gd name="T8" fmla="*/ 52 w 189"/>
                <a:gd name="T9" fmla="*/ 156 h 280"/>
                <a:gd name="T10" fmla="*/ 58 w 189"/>
                <a:gd name="T11" fmla="*/ 177 h 280"/>
                <a:gd name="T12" fmla="*/ 79 w 189"/>
                <a:gd name="T13" fmla="*/ 195 h 280"/>
                <a:gd name="T14" fmla="*/ 85 w 189"/>
                <a:gd name="T15" fmla="*/ 213 h 280"/>
                <a:gd name="T16" fmla="*/ 109 w 189"/>
                <a:gd name="T17" fmla="*/ 240 h 280"/>
                <a:gd name="T18" fmla="*/ 124 w 189"/>
                <a:gd name="T19" fmla="*/ 246 h 280"/>
                <a:gd name="T20" fmla="*/ 148 w 189"/>
                <a:gd name="T21" fmla="*/ 258 h 280"/>
                <a:gd name="T22" fmla="*/ 163 w 189"/>
                <a:gd name="T23" fmla="*/ 270 h 280"/>
                <a:gd name="T24" fmla="*/ 182 w 189"/>
                <a:gd name="T25" fmla="*/ 255 h 280"/>
                <a:gd name="T26" fmla="*/ 187 w 189"/>
                <a:gd name="T27" fmla="*/ 185 h 280"/>
                <a:gd name="T28" fmla="*/ 167 w 189"/>
                <a:gd name="T29" fmla="*/ 168 h 280"/>
                <a:gd name="T30" fmla="*/ 142 w 189"/>
                <a:gd name="T31" fmla="*/ 150 h 280"/>
                <a:gd name="T32" fmla="*/ 130 w 189"/>
                <a:gd name="T33" fmla="*/ 143 h 280"/>
                <a:gd name="T34" fmla="*/ 119 w 189"/>
                <a:gd name="T35" fmla="*/ 129 h 280"/>
                <a:gd name="T36" fmla="*/ 127 w 189"/>
                <a:gd name="T37" fmla="*/ 96 h 280"/>
                <a:gd name="T38" fmla="*/ 142 w 189"/>
                <a:gd name="T39" fmla="*/ 74 h 280"/>
                <a:gd name="T40" fmla="*/ 163 w 189"/>
                <a:gd name="T41" fmla="*/ 68 h 280"/>
                <a:gd name="T42" fmla="*/ 175 w 189"/>
                <a:gd name="T43" fmla="*/ 53 h 280"/>
                <a:gd name="T44" fmla="*/ 136 w 189"/>
                <a:gd name="T45" fmla="*/ 42 h 280"/>
                <a:gd name="T46" fmla="*/ 104 w 189"/>
                <a:gd name="T47" fmla="*/ 12 h 280"/>
                <a:gd name="T48" fmla="*/ 82 w 189"/>
                <a:gd name="T49" fmla="*/ 0 h 280"/>
                <a:gd name="T50" fmla="*/ 94 w 189"/>
                <a:gd name="T51" fmla="*/ 21 h 280"/>
                <a:gd name="T52" fmla="*/ 80 w 189"/>
                <a:gd name="T53" fmla="*/ 39 h 280"/>
                <a:gd name="T54" fmla="*/ 62 w 189"/>
                <a:gd name="T55" fmla="*/ 44 h 280"/>
                <a:gd name="T56" fmla="*/ 50 w 189"/>
                <a:gd name="T57" fmla="*/ 54 h 280"/>
                <a:gd name="T58" fmla="*/ 38 w 189"/>
                <a:gd name="T59" fmla="*/ 78 h 280"/>
                <a:gd name="T60" fmla="*/ 14 w 189"/>
                <a:gd name="T61" fmla="*/ 66 h 280"/>
                <a:gd name="T62" fmla="*/ 20 w 189"/>
                <a:gd name="T63" fmla="*/ 6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9" h="280">
                  <a:moveTo>
                    <a:pt x="20" y="66"/>
                  </a:moveTo>
                  <a:cubicBezTo>
                    <a:pt x="0" y="56"/>
                    <a:pt x="6" y="92"/>
                    <a:pt x="17" y="98"/>
                  </a:cubicBezTo>
                  <a:cubicBezTo>
                    <a:pt x="21" y="103"/>
                    <a:pt x="26" y="110"/>
                    <a:pt x="31" y="113"/>
                  </a:cubicBezTo>
                  <a:cubicBezTo>
                    <a:pt x="39" y="123"/>
                    <a:pt x="36" y="119"/>
                    <a:pt x="40" y="126"/>
                  </a:cubicBezTo>
                  <a:cubicBezTo>
                    <a:pt x="42" y="138"/>
                    <a:pt x="43" y="147"/>
                    <a:pt x="52" y="156"/>
                  </a:cubicBezTo>
                  <a:cubicBezTo>
                    <a:pt x="53" y="166"/>
                    <a:pt x="52" y="170"/>
                    <a:pt x="58" y="177"/>
                  </a:cubicBezTo>
                  <a:cubicBezTo>
                    <a:pt x="60" y="190"/>
                    <a:pt x="66" y="193"/>
                    <a:pt x="79" y="195"/>
                  </a:cubicBezTo>
                  <a:cubicBezTo>
                    <a:pt x="80" y="201"/>
                    <a:pt x="82" y="207"/>
                    <a:pt x="85" y="213"/>
                  </a:cubicBezTo>
                  <a:cubicBezTo>
                    <a:pt x="87" y="227"/>
                    <a:pt x="95" y="237"/>
                    <a:pt x="109" y="240"/>
                  </a:cubicBezTo>
                  <a:cubicBezTo>
                    <a:pt x="114" y="244"/>
                    <a:pt x="118" y="245"/>
                    <a:pt x="124" y="246"/>
                  </a:cubicBezTo>
                  <a:cubicBezTo>
                    <a:pt x="130" y="251"/>
                    <a:pt x="140" y="256"/>
                    <a:pt x="148" y="258"/>
                  </a:cubicBezTo>
                  <a:cubicBezTo>
                    <a:pt x="155" y="263"/>
                    <a:pt x="154" y="268"/>
                    <a:pt x="163" y="270"/>
                  </a:cubicBezTo>
                  <a:cubicBezTo>
                    <a:pt x="176" y="280"/>
                    <a:pt x="180" y="265"/>
                    <a:pt x="182" y="255"/>
                  </a:cubicBezTo>
                  <a:cubicBezTo>
                    <a:pt x="186" y="241"/>
                    <a:pt x="189" y="199"/>
                    <a:pt x="187" y="185"/>
                  </a:cubicBezTo>
                  <a:cubicBezTo>
                    <a:pt x="185" y="171"/>
                    <a:pt x="174" y="174"/>
                    <a:pt x="167" y="168"/>
                  </a:cubicBezTo>
                  <a:cubicBezTo>
                    <a:pt x="160" y="151"/>
                    <a:pt x="150" y="157"/>
                    <a:pt x="142" y="150"/>
                  </a:cubicBezTo>
                  <a:cubicBezTo>
                    <a:pt x="136" y="145"/>
                    <a:pt x="134" y="146"/>
                    <a:pt x="130" y="143"/>
                  </a:cubicBezTo>
                  <a:cubicBezTo>
                    <a:pt x="126" y="140"/>
                    <a:pt x="119" y="137"/>
                    <a:pt x="119" y="129"/>
                  </a:cubicBezTo>
                  <a:cubicBezTo>
                    <a:pt x="117" y="115"/>
                    <a:pt x="120" y="108"/>
                    <a:pt x="127" y="96"/>
                  </a:cubicBezTo>
                  <a:cubicBezTo>
                    <a:pt x="128" y="83"/>
                    <a:pt x="128" y="76"/>
                    <a:pt x="142" y="74"/>
                  </a:cubicBezTo>
                  <a:cubicBezTo>
                    <a:pt x="149" y="72"/>
                    <a:pt x="156" y="69"/>
                    <a:pt x="163" y="68"/>
                  </a:cubicBezTo>
                  <a:cubicBezTo>
                    <a:pt x="169" y="65"/>
                    <a:pt x="172" y="59"/>
                    <a:pt x="175" y="53"/>
                  </a:cubicBezTo>
                  <a:cubicBezTo>
                    <a:pt x="169" y="38"/>
                    <a:pt x="149" y="43"/>
                    <a:pt x="136" y="42"/>
                  </a:cubicBezTo>
                  <a:cubicBezTo>
                    <a:pt x="124" y="35"/>
                    <a:pt x="117" y="20"/>
                    <a:pt x="104" y="12"/>
                  </a:cubicBezTo>
                  <a:cubicBezTo>
                    <a:pt x="100" y="7"/>
                    <a:pt x="87" y="4"/>
                    <a:pt x="82" y="0"/>
                  </a:cubicBezTo>
                  <a:cubicBezTo>
                    <a:pt x="79" y="2"/>
                    <a:pt x="94" y="15"/>
                    <a:pt x="94" y="21"/>
                  </a:cubicBezTo>
                  <a:cubicBezTo>
                    <a:pt x="94" y="27"/>
                    <a:pt x="85" y="35"/>
                    <a:pt x="80" y="39"/>
                  </a:cubicBezTo>
                  <a:cubicBezTo>
                    <a:pt x="74" y="42"/>
                    <a:pt x="68" y="42"/>
                    <a:pt x="62" y="44"/>
                  </a:cubicBezTo>
                  <a:cubicBezTo>
                    <a:pt x="57" y="47"/>
                    <a:pt x="55" y="51"/>
                    <a:pt x="50" y="54"/>
                  </a:cubicBezTo>
                  <a:cubicBezTo>
                    <a:pt x="48" y="62"/>
                    <a:pt x="45" y="77"/>
                    <a:pt x="38" y="78"/>
                  </a:cubicBezTo>
                  <a:cubicBezTo>
                    <a:pt x="35" y="77"/>
                    <a:pt x="14" y="67"/>
                    <a:pt x="14" y="66"/>
                  </a:cubicBezTo>
                  <a:cubicBezTo>
                    <a:pt x="15" y="64"/>
                    <a:pt x="18" y="66"/>
                    <a:pt x="20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8" name="Freeform 413"/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2431381" y="4251831"/>
              <a:ext cx="137687" cy="150637"/>
            </a:xfrm>
            <a:custGeom>
              <a:avLst/>
              <a:gdLst>
                <a:gd name="T0" fmla="*/ 30 w 84"/>
                <a:gd name="T1" fmla="*/ 0 h 94"/>
                <a:gd name="T2" fmla="*/ 12 w 84"/>
                <a:gd name="T3" fmla="*/ 18 h 94"/>
                <a:gd name="T4" fmla="*/ 4 w 84"/>
                <a:gd name="T5" fmla="*/ 38 h 94"/>
                <a:gd name="T6" fmla="*/ 19 w 84"/>
                <a:gd name="T7" fmla="*/ 51 h 94"/>
                <a:gd name="T8" fmla="*/ 16 w 84"/>
                <a:gd name="T9" fmla="*/ 74 h 94"/>
                <a:gd name="T10" fmla="*/ 19 w 84"/>
                <a:gd name="T11" fmla="*/ 84 h 94"/>
                <a:gd name="T12" fmla="*/ 36 w 84"/>
                <a:gd name="T13" fmla="*/ 87 h 94"/>
                <a:gd name="T14" fmla="*/ 42 w 84"/>
                <a:gd name="T15" fmla="*/ 72 h 94"/>
                <a:gd name="T16" fmla="*/ 72 w 84"/>
                <a:gd name="T17" fmla="*/ 50 h 94"/>
                <a:gd name="T18" fmla="*/ 84 w 84"/>
                <a:gd name="T19" fmla="*/ 35 h 94"/>
                <a:gd name="T20" fmla="*/ 51 w 84"/>
                <a:gd name="T21" fmla="*/ 0 h 94"/>
                <a:gd name="T22" fmla="*/ 30 w 84"/>
                <a:gd name="T2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94">
                  <a:moveTo>
                    <a:pt x="30" y="0"/>
                  </a:moveTo>
                  <a:cubicBezTo>
                    <a:pt x="20" y="4"/>
                    <a:pt x="20" y="12"/>
                    <a:pt x="12" y="18"/>
                  </a:cubicBezTo>
                  <a:cubicBezTo>
                    <a:pt x="9" y="25"/>
                    <a:pt x="7" y="31"/>
                    <a:pt x="4" y="38"/>
                  </a:cubicBezTo>
                  <a:cubicBezTo>
                    <a:pt x="0" y="61"/>
                    <a:pt x="4" y="62"/>
                    <a:pt x="19" y="51"/>
                  </a:cubicBezTo>
                  <a:cubicBezTo>
                    <a:pt x="22" y="59"/>
                    <a:pt x="20" y="67"/>
                    <a:pt x="16" y="74"/>
                  </a:cubicBezTo>
                  <a:cubicBezTo>
                    <a:pt x="14" y="84"/>
                    <a:pt x="12" y="79"/>
                    <a:pt x="19" y="84"/>
                  </a:cubicBezTo>
                  <a:cubicBezTo>
                    <a:pt x="21" y="89"/>
                    <a:pt x="27" y="94"/>
                    <a:pt x="36" y="87"/>
                  </a:cubicBezTo>
                  <a:cubicBezTo>
                    <a:pt x="37" y="87"/>
                    <a:pt x="41" y="74"/>
                    <a:pt x="42" y="72"/>
                  </a:cubicBezTo>
                  <a:cubicBezTo>
                    <a:pt x="49" y="62"/>
                    <a:pt x="60" y="52"/>
                    <a:pt x="72" y="50"/>
                  </a:cubicBezTo>
                  <a:cubicBezTo>
                    <a:pt x="79" y="47"/>
                    <a:pt x="80" y="41"/>
                    <a:pt x="84" y="35"/>
                  </a:cubicBezTo>
                  <a:cubicBezTo>
                    <a:pt x="81" y="17"/>
                    <a:pt x="66" y="8"/>
                    <a:pt x="51" y="0"/>
                  </a:cubicBezTo>
                  <a:cubicBezTo>
                    <a:pt x="47" y="1"/>
                    <a:pt x="32" y="6"/>
                    <a:pt x="30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9" name="Freeform 414"/>
            <p:cNvSpPr>
              <a:spLocks/>
            </p:cNvSpPr>
            <p:nvPr>
              <p:custDataLst>
                <p:tags r:id="rId144"/>
              </p:custDataLst>
            </p:nvPr>
          </p:nvSpPr>
          <p:spPr bwMode="gray">
            <a:xfrm>
              <a:off x="2990227" y="5022829"/>
              <a:ext cx="134447" cy="137679"/>
            </a:xfrm>
            <a:custGeom>
              <a:avLst/>
              <a:gdLst>
                <a:gd name="T0" fmla="*/ 23 w 82"/>
                <a:gd name="T1" fmla="*/ 0 h 84"/>
                <a:gd name="T2" fmla="*/ 59 w 82"/>
                <a:gd name="T3" fmla="*/ 30 h 84"/>
                <a:gd name="T4" fmla="*/ 67 w 82"/>
                <a:gd name="T5" fmla="*/ 38 h 84"/>
                <a:gd name="T6" fmla="*/ 76 w 82"/>
                <a:gd name="T7" fmla="*/ 51 h 84"/>
                <a:gd name="T8" fmla="*/ 58 w 82"/>
                <a:gd name="T9" fmla="*/ 84 h 84"/>
                <a:gd name="T10" fmla="*/ 26 w 82"/>
                <a:gd name="T11" fmla="*/ 83 h 84"/>
                <a:gd name="T12" fmla="*/ 5 w 82"/>
                <a:gd name="T13" fmla="*/ 74 h 84"/>
                <a:gd name="T14" fmla="*/ 2 w 82"/>
                <a:gd name="T15" fmla="*/ 48 h 84"/>
                <a:gd name="T16" fmla="*/ 4 w 82"/>
                <a:gd name="T17" fmla="*/ 20 h 84"/>
                <a:gd name="T18" fmla="*/ 23 w 82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4">
                  <a:moveTo>
                    <a:pt x="23" y="0"/>
                  </a:moveTo>
                  <a:cubicBezTo>
                    <a:pt x="31" y="10"/>
                    <a:pt x="48" y="23"/>
                    <a:pt x="59" y="30"/>
                  </a:cubicBezTo>
                  <a:cubicBezTo>
                    <a:pt x="64" y="36"/>
                    <a:pt x="61" y="34"/>
                    <a:pt x="67" y="38"/>
                  </a:cubicBezTo>
                  <a:cubicBezTo>
                    <a:pt x="71" y="45"/>
                    <a:pt x="72" y="44"/>
                    <a:pt x="76" y="51"/>
                  </a:cubicBezTo>
                  <a:cubicBezTo>
                    <a:pt x="80" y="77"/>
                    <a:pt x="82" y="82"/>
                    <a:pt x="58" y="84"/>
                  </a:cubicBezTo>
                  <a:cubicBezTo>
                    <a:pt x="47" y="84"/>
                    <a:pt x="37" y="84"/>
                    <a:pt x="26" y="83"/>
                  </a:cubicBezTo>
                  <a:cubicBezTo>
                    <a:pt x="19" y="82"/>
                    <a:pt x="13" y="75"/>
                    <a:pt x="5" y="74"/>
                  </a:cubicBezTo>
                  <a:cubicBezTo>
                    <a:pt x="0" y="67"/>
                    <a:pt x="2" y="57"/>
                    <a:pt x="2" y="48"/>
                  </a:cubicBezTo>
                  <a:cubicBezTo>
                    <a:pt x="2" y="39"/>
                    <a:pt x="1" y="28"/>
                    <a:pt x="4" y="20"/>
                  </a:cubicBezTo>
                  <a:cubicBezTo>
                    <a:pt x="7" y="12"/>
                    <a:pt x="20" y="4"/>
                    <a:pt x="23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0" name="Freeform 416"/>
            <p:cNvSpPr>
              <a:spLocks/>
            </p:cNvSpPr>
            <p:nvPr>
              <p:custDataLst>
                <p:tags r:id="rId145"/>
              </p:custDataLst>
            </p:nvPr>
          </p:nvSpPr>
          <p:spPr bwMode="gray">
            <a:xfrm>
              <a:off x="2159248" y="3830697"/>
              <a:ext cx="93951" cy="111763"/>
            </a:xfrm>
            <a:custGeom>
              <a:avLst/>
              <a:gdLst>
                <a:gd name="T0" fmla="*/ 1 w 57"/>
                <a:gd name="T1" fmla="*/ 58 h 69"/>
                <a:gd name="T2" fmla="*/ 15 w 57"/>
                <a:gd name="T3" fmla="*/ 68 h 69"/>
                <a:gd name="T4" fmla="*/ 34 w 57"/>
                <a:gd name="T5" fmla="*/ 65 h 69"/>
                <a:gd name="T6" fmla="*/ 52 w 57"/>
                <a:gd name="T7" fmla="*/ 49 h 69"/>
                <a:gd name="T8" fmla="*/ 46 w 57"/>
                <a:gd name="T9" fmla="*/ 40 h 69"/>
                <a:gd name="T10" fmla="*/ 52 w 57"/>
                <a:gd name="T11" fmla="*/ 20 h 69"/>
                <a:gd name="T12" fmla="*/ 57 w 57"/>
                <a:gd name="T13" fmla="*/ 2 h 69"/>
                <a:gd name="T14" fmla="*/ 49 w 57"/>
                <a:gd name="T15" fmla="*/ 7 h 69"/>
                <a:gd name="T16" fmla="*/ 25 w 57"/>
                <a:gd name="T17" fmla="*/ 7 h 69"/>
                <a:gd name="T18" fmla="*/ 27 w 57"/>
                <a:gd name="T19" fmla="*/ 22 h 69"/>
                <a:gd name="T20" fmla="*/ 37 w 57"/>
                <a:gd name="T21" fmla="*/ 34 h 69"/>
                <a:gd name="T22" fmla="*/ 15 w 57"/>
                <a:gd name="T23" fmla="*/ 35 h 69"/>
                <a:gd name="T24" fmla="*/ 6 w 57"/>
                <a:gd name="T25" fmla="*/ 46 h 69"/>
                <a:gd name="T26" fmla="*/ 1 w 57"/>
                <a:gd name="T27" fmla="*/ 5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9">
                  <a:moveTo>
                    <a:pt x="1" y="58"/>
                  </a:moveTo>
                  <a:cubicBezTo>
                    <a:pt x="2" y="62"/>
                    <a:pt x="10" y="67"/>
                    <a:pt x="15" y="68"/>
                  </a:cubicBezTo>
                  <a:cubicBezTo>
                    <a:pt x="20" y="69"/>
                    <a:pt x="28" y="68"/>
                    <a:pt x="34" y="65"/>
                  </a:cubicBezTo>
                  <a:cubicBezTo>
                    <a:pt x="40" y="62"/>
                    <a:pt x="50" y="53"/>
                    <a:pt x="52" y="49"/>
                  </a:cubicBezTo>
                  <a:cubicBezTo>
                    <a:pt x="54" y="45"/>
                    <a:pt x="46" y="45"/>
                    <a:pt x="46" y="40"/>
                  </a:cubicBezTo>
                  <a:cubicBezTo>
                    <a:pt x="46" y="35"/>
                    <a:pt x="50" y="26"/>
                    <a:pt x="52" y="20"/>
                  </a:cubicBezTo>
                  <a:cubicBezTo>
                    <a:pt x="54" y="14"/>
                    <a:pt x="57" y="4"/>
                    <a:pt x="57" y="2"/>
                  </a:cubicBezTo>
                  <a:cubicBezTo>
                    <a:pt x="57" y="0"/>
                    <a:pt x="54" y="6"/>
                    <a:pt x="49" y="7"/>
                  </a:cubicBezTo>
                  <a:cubicBezTo>
                    <a:pt x="44" y="8"/>
                    <a:pt x="29" y="5"/>
                    <a:pt x="25" y="7"/>
                  </a:cubicBezTo>
                  <a:cubicBezTo>
                    <a:pt x="21" y="9"/>
                    <a:pt x="25" y="18"/>
                    <a:pt x="27" y="22"/>
                  </a:cubicBezTo>
                  <a:cubicBezTo>
                    <a:pt x="29" y="26"/>
                    <a:pt x="39" y="32"/>
                    <a:pt x="37" y="34"/>
                  </a:cubicBezTo>
                  <a:cubicBezTo>
                    <a:pt x="35" y="36"/>
                    <a:pt x="20" y="33"/>
                    <a:pt x="15" y="35"/>
                  </a:cubicBezTo>
                  <a:cubicBezTo>
                    <a:pt x="10" y="37"/>
                    <a:pt x="8" y="42"/>
                    <a:pt x="6" y="46"/>
                  </a:cubicBezTo>
                  <a:cubicBezTo>
                    <a:pt x="4" y="50"/>
                    <a:pt x="0" y="54"/>
                    <a:pt x="1" y="5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1" name="Freeform 417"/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2238621" y="3876050"/>
              <a:ext cx="147406" cy="85847"/>
            </a:xfrm>
            <a:custGeom>
              <a:avLst/>
              <a:gdLst>
                <a:gd name="T0" fmla="*/ 3 w 89"/>
                <a:gd name="T1" fmla="*/ 34 h 53"/>
                <a:gd name="T2" fmla="*/ 18 w 89"/>
                <a:gd name="T3" fmla="*/ 42 h 53"/>
                <a:gd name="T4" fmla="*/ 25 w 89"/>
                <a:gd name="T5" fmla="*/ 52 h 53"/>
                <a:gd name="T6" fmla="*/ 46 w 89"/>
                <a:gd name="T7" fmla="*/ 39 h 53"/>
                <a:gd name="T8" fmla="*/ 66 w 89"/>
                <a:gd name="T9" fmla="*/ 30 h 53"/>
                <a:gd name="T10" fmla="*/ 87 w 89"/>
                <a:gd name="T11" fmla="*/ 28 h 53"/>
                <a:gd name="T12" fmla="*/ 78 w 89"/>
                <a:gd name="T13" fmla="*/ 7 h 53"/>
                <a:gd name="T14" fmla="*/ 63 w 89"/>
                <a:gd name="T15" fmla="*/ 7 h 53"/>
                <a:gd name="T16" fmla="*/ 40 w 89"/>
                <a:gd name="T17" fmla="*/ 1 h 53"/>
                <a:gd name="T18" fmla="*/ 24 w 89"/>
                <a:gd name="T19" fmla="*/ 12 h 53"/>
                <a:gd name="T20" fmla="*/ 9 w 89"/>
                <a:gd name="T21" fmla="*/ 12 h 53"/>
                <a:gd name="T22" fmla="*/ 1 w 89"/>
                <a:gd name="T23" fmla="*/ 22 h 53"/>
                <a:gd name="T24" fmla="*/ 3 w 8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53">
                  <a:moveTo>
                    <a:pt x="3" y="34"/>
                  </a:moveTo>
                  <a:cubicBezTo>
                    <a:pt x="6" y="37"/>
                    <a:pt x="14" y="39"/>
                    <a:pt x="18" y="42"/>
                  </a:cubicBezTo>
                  <a:cubicBezTo>
                    <a:pt x="22" y="45"/>
                    <a:pt x="20" y="53"/>
                    <a:pt x="25" y="52"/>
                  </a:cubicBezTo>
                  <a:cubicBezTo>
                    <a:pt x="30" y="51"/>
                    <a:pt x="39" y="43"/>
                    <a:pt x="46" y="39"/>
                  </a:cubicBezTo>
                  <a:cubicBezTo>
                    <a:pt x="53" y="35"/>
                    <a:pt x="59" y="32"/>
                    <a:pt x="66" y="30"/>
                  </a:cubicBezTo>
                  <a:cubicBezTo>
                    <a:pt x="73" y="28"/>
                    <a:pt x="85" y="32"/>
                    <a:pt x="87" y="28"/>
                  </a:cubicBezTo>
                  <a:cubicBezTo>
                    <a:pt x="89" y="24"/>
                    <a:pt x="82" y="10"/>
                    <a:pt x="78" y="7"/>
                  </a:cubicBezTo>
                  <a:cubicBezTo>
                    <a:pt x="74" y="4"/>
                    <a:pt x="69" y="8"/>
                    <a:pt x="63" y="7"/>
                  </a:cubicBezTo>
                  <a:cubicBezTo>
                    <a:pt x="57" y="6"/>
                    <a:pt x="46" y="0"/>
                    <a:pt x="40" y="1"/>
                  </a:cubicBezTo>
                  <a:cubicBezTo>
                    <a:pt x="34" y="2"/>
                    <a:pt x="29" y="10"/>
                    <a:pt x="24" y="12"/>
                  </a:cubicBezTo>
                  <a:cubicBezTo>
                    <a:pt x="19" y="14"/>
                    <a:pt x="13" y="10"/>
                    <a:pt x="9" y="12"/>
                  </a:cubicBezTo>
                  <a:cubicBezTo>
                    <a:pt x="5" y="14"/>
                    <a:pt x="2" y="18"/>
                    <a:pt x="1" y="22"/>
                  </a:cubicBezTo>
                  <a:cubicBezTo>
                    <a:pt x="0" y="26"/>
                    <a:pt x="1" y="30"/>
                    <a:pt x="3" y="3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2" name="Freeform 418"/>
            <p:cNvSpPr>
              <a:spLocks/>
            </p:cNvSpPr>
            <p:nvPr>
              <p:custDataLst>
                <p:tags r:id="rId147"/>
              </p:custDataLst>
            </p:nvPr>
          </p:nvSpPr>
          <p:spPr bwMode="gray">
            <a:xfrm>
              <a:off x="2201364" y="3929502"/>
              <a:ext cx="82612" cy="55071"/>
            </a:xfrm>
            <a:custGeom>
              <a:avLst/>
              <a:gdLst>
                <a:gd name="T0" fmla="*/ 13 w 50"/>
                <a:gd name="T1" fmla="*/ 0 h 34"/>
                <a:gd name="T2" fmla="*/ 1 w 50"/>
                <a:gd name="T3" fmla="*/ 16 h 34"/>
                <a:gd name="T4" fmla="*/ 10 w 50"/>
                <a:gd name="T5" fmla="*/ 24 h 34"/>
                <a:gd name="T6" fmla="*/ 32 w 50"/>
                <a:gd name="T7" fmla="*/ 27 h 34"/>
                <a:gd name="T8" fmla="*/ 44 w 50"/>
                <a:gd name="T9" fmla="*/ 33 h 34"/>
                <a:gd name="T10" fmla="*/ 49 w 50"/>
                <a:gd name="T11" fmla="*/ 22 h 34"/>
                <a:gd name="T12" fmla="*/ 38 w 50"/>
                <a:gd name="T13" fmla="*/ 12 h 34"/>
                <a:gd name="T14" fmla="*/ 31 w 50"/>
                <a:gd name="T15" fmla="*/ 3 h 34"/>
                <a:gd name="T16" fmla="*/ 15 w 50"/>
                <a:gd name="T1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34">
                  <a:moveTo>
                    <a:pt x="13" y="0"/>
                  </a:moveTo>
                  <a:cubicBezTo>
                    <a:pt x="11" y="3"/>
                    <a:pt x="2" y="12"/>
                    <a:pt x="1" y="16"/>
                  </a:cubicBezTo>
                  <a:cubicBezTo>
                    <a:pt x="0" y="20"/>
                    <a:pt x="5" y="22"/>
                    <a:pt x="10" y="24"/>
                  </a:cubicBezTo>
                  <a:cubicBezTo>
                    <a:pt x="15" y="26"/>
                    <a:pt x="26" y="26"/>
                    <a:pt x="32" y="27"/>
                  </a:cubicBezTo>
                  <a:cubicBezTo>
                    <a:pt x="38" y="28"/>
                    <a:pt x="41" y="34"/>
                    <a:pt x="44" y="33"/>
                  </a:cubicBezTo>
                  <a:cubicBezTo>
                    <a:pt x="47" y="32"/>
                    <a:pt x="50" y="26"/>
                    <a:pt x="49" y="22"/>
                  </a:cubicBezTo>
                  <a:cubicBezTo>
                    <a:pt x="48" y="18"/>
                    <a:pt x="41" y="15"/>
                    <a:pt x="38" y="12"/>
                  </a:cubicBezTo>
                  <a:cubicBezTo>
                    <a:pt x="35" y="9"/>
                    <a:pt x="35" y="5"/>
                    <a:pt x="31" y="3"/>
                  </a:cubicBezTo>
                  <a:cubicBezTo>
                    <a:pt x="27" y="1"/>
                    <a:pt x="18" y="2"/>
                    <a:pt x="15" y="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3" name="Freeform 419"/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2274257" y="3918164"/>
              <a:ext cx="111770" cy="108523"/>
            </a:xfrm>
            <a:custGeom>
              <a:avLst/>
              <a:gdLst>
                <a:gd name="T0" fmla="*/ 3 w 67"/>
                <a:gd name="T1" fmla="*/ 35 h 67"/>
                <a:gd name="T2" fmla="*/ 18 w 67"/>
                <a:gd name="T3" fmla="*/ 50 h 67"/>
                <a:gd name="T4" fmla="*/ 26 w 67"/>
                <a:gd name="T5" fmla="*/ 58 h 67"/>
                <a:gd name="T6" fmla="*/ 26 w 67"/>
                <a:gd name="T7" fmla="*/ 55 h 67"/>
                <a:gd name="T8" fmla="*/ 42 w 67"/>
                <a:gd name="T9" fmla="*/ 65 h 67"/>
                <a:gd name="T10" fmla="*/ 60 w 67"/>
                <a:gd name="T11" fmla="*/ 59 h 67"/>
                <a:gd name="T12" fmla="*/ 62 w 67"/>
                <a:gd name="T13" fmla="*/ 16 h 67"/>
                <a:gd name="T14" fmla="*/ 62 w 67"/>
                <a:gd name="T15" fmla="*/ 1 h 67"/>
                <a:gd name="T16" fmla="*/ 33 w 67"/>
                <a:gd name="T17" fmla="*/ 8 h 67"/>
                <a:gd name="T18" fmla="*/ 3 w 67"/>
                <a:gd name="T19" fmla="*/ 3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" y="35"/>
                  </a:moveTo>
                  <a:cubicBezTo>
                    <a:pt x="0" y="42"/>
                    <a:pt x="14" y="46"/>
                    <a:pt x="18" y="50"/>
                  </a:cubicBezTo>
                  <a:cubicBezTo>
                    <a:pt x="22" y="54"/>
                    <a:pt x="25" y="57"/>
                    <a:pt x="26" y="58"/>
                  </a:cubicBezTo>
                  <a:cubicBezTo>
                    <a:pt x="27" y="59"/>
                    <a:pt x="23" y="54"/>
                    <a:pt x="26" y="55"/>
                  </a:cubicBezTo>
                  <a:cubicBezTo>
                    <a:pt x="29" y="56"/>
                    <a:pt x="36" y="64"/>
                    <a:pt x="42" y="65"/>
                  </a:cubicBezTo>
                  <a:cubicBezTo>
                    <a:pt x="48" y="66"/>
                    <a:pt x="57" y="67"/>
                    <a:pt x="60" y="59"/>
                  </a:cubicBezTo>
                  <a:cubicBezTo>
                    <a:pt x="63" y="51"/>
                    <a:pt x="62" y="26"/>
                    <a:pt x="62" y="16"/>
                  </a:cubicBezTo>
                  <a:cubicBezTo>
                    <a:pt x="62" y="6"/>
                    <a:pt x="67" y="2"/>
                    <a:pt x="62" y="1"/>
                  </a:cubicBezTo>
                  <a:cubicBezTo>
                    <a:pt x="57" y="0"/>
                    <a:pt x="43" y="3"/>
                    <a:pt x="33" y="8"/>
                  </a:cubicBezTo>
                  <a:cubicBezTo>
                    <a:pt x="23" y="13"/>
                    <a:pt x="6" y="28"/>
                    <a:pt x="3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4" name="Freeform 420"/>
            <p:cNvSpPr>
              <a:spLocks/>
            </p:cNvSpPr>
            <p:nvPr>
              <p:custDataLst>
                <p:tags r:id="rId149"/>
              </p:custDataLst>
            </p:nvPr>
          </p:nvSpPr>
          <p:spPr bwMode="gray">
            <a:xfrm>
              <a:off x="2343910" y="3707597"/>
              <a:ext cx="252695" cy="89086"/>
            </a:xfrm>
            <a:custGeom>
              <a:avLst/>
              <a:gdLst>
                <a:gd name="T0" fmla="*/ 0 w 152"/>
                <a:gd name="T1" fmla="*/ 19 h 56"/>
                <a:gd name="T2" fmla="*/ 12 w 152"/>
                <a:gd name="T3" fmla="*/ 9 h 56"/>
                <a:gd name="T4" fmla="*/ 23 w 152"/>
                <a:gd name="T5" fmla="*/ 0 h 56"/>
                <a:gd name="T6" fmla="*/ 92 w 152"/>
                <a:gd name="T7" fmla="*/ 4 h 56"/>
                <a:gd name="T8" fmla="*/ 110 w 152"/>
                <a:gd name="T9" fmla="*/ 13 h 56"/>
                <a:gd name="T10" fmla="*/ 128 w 152"/>
                <a:gd name="T11" fmla="*/ 21 h 56"/>
                <a:gd name="T12" fmla="*/ 143 w 152"/>
                <a:gd name="T13" fmla="*/ 31 h 56"/>
                <a:gd name="T14" fmla="*/ 152 w 152"/>
                <a:gd name="T15" fmla="*/ 43 h 56"/>
                <a:gd name="T16" fmla="*/ 143 w 152"/>
                <a:gd name="T17" fmla="*/ 54 h 56"/>
                <a:gd name="T18" fmla="*/ 93 w 152"/>
                <a:gd name="T19" fmla="*/ 45 h 56"/>
                <a:gd name="T20" fmla="*/ 51 w 152"/>
                <a:gd name="T21" fmla="*/ 18 h 56"/>
                <a:gd name="T22" fmla="*/ 24 w 152"/>
                <a:gd name="T23" fmla="*/ 28 h 56"/>
                <a:gd name="T24" fmla="*/ 15 w 152"/>
                <a:gd name="T25" fmla="*/ 16 h 56"/>
                <a:gd name="T26" fmla="*/ 0 w 152"/>
                <a:gd name="T27" fmla="*/ 1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56">
                  <a:moveTo>
                    <a:pt x="0" y="19"/>
                  </a:moveTo>
                  <a:cubicBezTo>
                    <a:pt x="5" y="16"/>
                    <a:pt x="7" y="12"/>
                    <a:pt x="12" y="9"/>
                  </a:cubicBezTo>
                  <a:cubicBezTo>
                    <a:pt x="15" y="3"/>
                    <a:pt x="16" y="1"/>
                    <a:pt x="23" y="0"/>
                  </a:cubicBezTo>
                  <a:cubicBezTo>
                    <a:pt x="57" y="1"/>
                    <a:pt x="66" y="2"/>
                    <a:pt x="92" y="4"/>
                  </a:cubicBezTo>
                  <a:cubicBezTo>
                    <a:pt x="98" y="7"/>
                    <a:pt x="104" y="9"/>
                    <a:pt x="110" y="13"/>
                  </a:cubicBezTo>
                  <a:cubicBezTo>
                    <a:pt x="115" y="20"/>
                    <a:pt x="120" y="18"/>
                    <a:pt x="128" y="21"/>
                  </a:cubicBezTo>
                  <a:cubicBezTo>
                    <a:pt x="129" y="29"/>
                    <a:pt x="135" y="29"/>
                    <a:pt x="143" y="31"/>
                  </a:cubicBezTo>
                  <a:cubicBezTo>
                    <a:pt x="148" y="35"/>
                    <a:pt x="149" y="38"/>
                    <a:pt x="152" y="43"/>
                  </a:cubicBezTo>
                  <a:cubicBezTo>
                    <a:pt x="149" y="48"/>
                    <a:pt x="148" y="51"/>
                    <a:pt x="143" y="54"/>
                  </a:cubicBezTo>
                  <a:cubicBezTo>
                    <a:pt x="113" y="52"/>
                    <a:pt x="112" y="56"/>
                    <a:pt x="93" y="45"/>
                  </a:cubicBezTo>
                  <a:cubicBezTo>
                    <a:pt x="89" y="38"/>
                    <a:pt x="61" y="20"/>
                    <a:pt x="51" y="18"/>
                  </a:cubicBezTo>
                  <a:cubicBezTo>
                    <a:pt x="27" y="20"/>
                    <a:pt x="39" y="25"/>
                    <a:pt x="24" y="28"/>
                  </a:cubicBezTo>
                  <a:cubicBezTo>
                    <a:pt x="19" y="24"/>
                    <a:pt x="17" y="22"/>
                    <a:pt x="15" y="16"/>
                  </a:cubicBezTo>
                  <a:cubicBezTo>
                    <a:pt x="11" y="18"/>
                    <a:pt x="3" y="22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5" name="Freeform 421"/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2481597" y="3599073"/>
              <a:ext cx="199241" cy="161974"/>
            </a:xfrm>
            <a:custGeom>
              <a:avLst/>
              <a:gdLst>
                <a:gd name="T0" fmla="*/ 3 w 121"/>
                <a:gd name="T1" fmla="*/ 3 h 100"/>
                <a:gd name="T2" fmla="*/ 27 w 121"/>
                <a:gd name="T3" fmla="*/ 1 h 100"/>
                <a:gd name="T4" fmla="*/ 34 w 121"/>
                <a:gd name="T5" fmla="*/ 12 h 100"/>
                <a:gd name="T6" fmla="*/ 31 w 121"/>
                <a:gd name="T7" fmla="*/ 34 h 100"/>
                <a:gd name="T8" fmla="*/ 40 w 121"/>
                <a:gd name="T9" fmla="*/ 33 h 100"/>
                <a:gd name="T10" fmla="*/ 45 w 121"/>
                <a:gd name="T11" fmla="*/ 51 h 100"/>
                <a:gd name="T12" fmla="*/ 63 w 121"/>
                <a:gd name="T13" fmla="*/ 57 h 100"/>
                <a:gd name="T14" fmla="*/ 81 w 121"/>
                <a:gd name="T15" fmla="*/ 55 h 100"/>
                <a:gd name="T16" fmla="*/ 76 w 121"/>
                <a:gd name="T17" fmla="*/ 54 h 100"/>
                <a:gd name="T18" fmla="*/ 93 w 121"/>
                <a:gd name="T19" fmla="*/ 76 h 100"/>
                <a:gd name="T20" fmla="*/ 115 w 121"/>
                <a:gd name="T21" fmla="*/ 87 h 100"/>
                <a:gd name="T22" fmla="*/ 109 w 121"/>
                <a:gd name="T23" fmla="*/ 99 h 100"/>
                <a:gd name="T24" fmla="*/ 85 w 121"/>
                <a:gd name="T25" fmla="*/ 76 h 100"/>
                <a:gd name="T26" fmla="*/ 73 w 121"/>
                <a:gd name="T27" fmla="*/ 81 h 100"/>
                <a:gd name="T28" fmla="*/ 42 w 121"/>
                <a:gd name="T29" fmla="*/ 61 h 100"/>
                <a:gd name="T30" fmla="*/ 31 w 121"/>
                <a:gd name="T31" fmla="*/ 43 h 100"/>
                <a:gd name="T32" fmla="*/ 21 w 121"/>
                <a:gd name="T33" fmla="*/ 66 h 100"/>
                <a:gd name="T34" fmla="*/ 9 w 121"/>
                <a:gd name="T35" fmla="*/ 54 h 100"/>
                <a:gd name="T36" fmla="*/ 16 w 121"/>
                <a:gd name="T37" fmla="*/ 28 h 100"/>
                <a:gd name="T38" fmla="*/ 0 w 121"/>
                <a:gd name="T39" fmla="*/ 13 h 100"/>
                <a:gd name="T40" fmla="*/ 3 w 121"/>
                <a:gd name="T41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00">
                  <a:moveTo>
                    <a:pt x="3" y="3"/>
                  </a:moveTo>
                  <a:cubicBezTo>
                    <a:pt x="12" y="2"/>
                    <a:pt x="18" y="0"/>
                    <a:pt x="27" y="1"/>
                  </a:cubicBezTo>
                  <a:cubicBezTo>
                    <a:pt x="32" y="7"/>
                    <a:pt x="37" y="4"/>
                    <a:pt x="34" y="12"/>
                  </a:cubicBezTo>
                  <a:cubicBezTo>
                    <a:pt x="32" y="23"/>
                    <a:pt x="30" y="20"/>
                    <a:pt x="31" y="34"/>
                  </a:cubicBezTo>
                  <a:cubicBezTo>
                    <a:pt x="34" y="34"/>
                    <a:pt x="37" y="33"/>
                    <a:pt x="40" y="33"/>
                  </a:cubicBezTo>
                  <a:cubicBezTo>
                    <a:pt x="54" y="33"/>
                    <a:pt x="58" y="45"/>
                    <a:pt x="45" y="51"/>
                  </a:cubicBezTo>
                  <a:cubicBezTo>
                    <a:pt x="51" y="54"/>
                    <a:pt x="57" y="55"/>
                    <a:pt x="63" y="57"/>
                  </a:cubicBezTo>
                  <a:cubicBezTo>
                    <a:pt x="69" y="56"/>
                    <a:pt x="75" y="56"/>
                    <a:pt x="81" y="55"/>
                  </a:cubicBezTo>
                  <a:cubicBezTo>
                    <a:pt x="83" y="55"/>
                    <a:pt x="77" y="52"/>
                    <a:pt x="76" y="54"/>
                  </a:cubicBezTo>
                  <a:cubicBezTo>
                    <a:pt x="71" y="63"/>
                    <a:pt x="84" y="75"/>
                    <a:pt x="93" y="76"/>
                  </a:cubicBezTo>
                  <a:cubicBezTo>
                    <a:pt x="97" y="83"/>
                    <a:pt x="107" y="83"/>
                    <a:pt x="115" y="87"/>
                  </a:cubicBezTo>
                  <a:cubicBezTo>
                    <a:pt x="121" y="95"/>
                    <a:pt x="120" y="100"/>
                    <a:pt x="109" y="99"/>
                  </a:cubicBezTo>
                  <a:cubicBezTo>
                    <a:pt x="99" y="94"/>
                    <a:pt x="95" y="82"/>
                    <a:pt x="85" y="76"/>
                  </a:cubicBezTo>
                  <a:cubicBezTo>
                    <a:pt x="76" y="79"/>
                    <a:pt x="82" y="86"/>
                    <a:pt x="73" y="81"/>
                  </a:cubicBezTo>
                  <a:cubicBezTo>
                    <a:pt x="65" y="68"/>
                    <a:pt x="56" y="63"/>
                    <a:pt x="42" y="61"/>
                  </a:cubicBezTo>
                  <a:cubicBezTo>
                    <a:pt x="38" y="55"/>
                    <a:pt x="34" y="50"/>
                    <a:pt x="31" y="43"/>
                  </a:cubicBezTo>
                  <a:cubicBezTo>
                    <a:pt x="21" y="46"/>
                    <a:pt x="23" y="55"/>
                    <a:pt x="21" y="66"/>
                  </a:cubicBezTo>
                  <a:cubicBezTo>
                    <a:pt x="18" y="61"/>
                    <a:pt x="9" y="54"/>
                    <a:pt x="9" y="54"/>
                  </a:cubicBezTo>
                  <a:cubicBezTo>
                    <a:pt x="5" y="44"/>
                    <a:pt x="8" y="34"/>
                    <a:pt x="16" y="28"/>
                  </a:cubicBezTo>
                  <a:cubicBezTo>
                    <a:pt x="15" y="14"/>
                    <a:pt x="13" y="16"/>
                    <a:pt x="0" y="13"/>
                  </a:cubicBezTo>
                  <a:cubicBezTo>
                    <a:pt x="1" y="5"/>
                    <a:pt x="0" y="8"/>
                    <a:pt x="3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6" name="Freeform 422"/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2504275" y="3824219"/>
              <a:ext cx="69654" cy="17818"/>
            </a:xfrm>
            <a:custGeom>
              <a:avLst/>
              <a:gdLst>
                <a:gd name="T0" fmla="*/ 2 w 43"/>
                <a:gd name="T1" fmla="*/ 5 h 11"/>
                <a:gd name="T2" fmla="*/ 22 w 43"/>
                <a:gd name="T3" fmla="*/ 2 h 11"/>
                <a:gd name="T4" fmla="*/ 5 w 43"/>
                <a:gd name="T5" fmla="*/ 6 h 11"/>
                <a:gd name="T6" fmla="*/ 2 w 43"/>
                <a:gd name="T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11">
                  <a:moveTo>
                    <a:pt x="2" y="5"/>
                  </a:moveTo>
                  <a:cubicBezTo>
                    <a:pt x="11" y="0"/>
                    <a:pt x="10" y="0"/>
                    <a:pt x="22" y="2"/>
                  </a:cubicBezTo>
                  <a:cubicBezTo>
                    <a:pt x="34" y="11"/>
                    <a:pt x="43" y="9"/>
                    <a:pt x="5" y="6"/>
                  </a:cubicBezTo>
                  <a:cubicBezTo>
                    <a:pt x="0" y="3"/>
                    <a:pt x="0" y="2"/>
                    <a:pt x="2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7" name="Freeform 423"/>
            <p:cNvSpPr>
              <a:spLocks/>
            </p:cNvSpPr>
            <p:nvPr>
              <p:custDataLst>
                <p:tags r:id="rId152"/>
              </p:custDataLst>
            </p:nvPr>
          </p:nvSpPr>
          <p:spPr bwMode="gray">
            <a:xfrm>
              <a:off x="2658159" y="3780485"/>
              <a:ext cx="105290" cy="66410"/>
            </a:xfrm>
            <a:custGeom>
              <a:avLst/>
              <a:gdLst>
                <a:gd name="T0" fmla="*/ 2 w 64"/>
                <a:gd name="T1" fmla="*/ 3 h 41"/>
                <a:gd name="T2" fmla="*/ 1 w 64"/>
                <a:gd name="T3" fmla="*/ 18 h 41"/>
                <a:gd name="T4" fmla="*/ 11 w 64"/>
                <a:gd name="T5" fmla="*/ 38 h 41"/>
                <a:gd name="T6" fmla="*/ 56 w 64"/>
                <a:gd name="T7" fmla="*/ 36 h 41"/>
                <a:gd name="T8" fmla="*/ 59 w 64"/>
                <a:gd name="T9" fmla="*/ 32 h 41"/>
                <a:gd name="T10" fmla="*/ 32 w 64"/>
                <a:gd name="T11" fmla="*/ 5 h 41"/>
                <a:gd name="T12" fmla="*/ 8 w 64"/>
                <a:gd name="T13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1">
                  <a:moveTo>
                    <a:pt x="2" y="3"/>
                  </a:moveTo>
                  <a:cubicBezTo>
                    <a:pt x="2" y="5"/>
                    <a:pt x="0" y="12"/>
                    <a:pt x="1" y="18"/>
                  </a:cubicBezTo>
                  <a:cubicBezTo>
                    <a:pt x="2" y="24"/>
                    <a:pt x="2" y="35"/>
                    <a:pt x="11" y="38"/>
                  </a:cubicBezTo>
                  <a:cubicBezTo>
                    <a:pt x="20" y="41"/>
                    <a:pt x="45" y="36"/>
                    <a:pt x="56" y="36"/>
                  </a:cubicBezTo>
                  <a:cubicBezTo>
                    <a:pt x="64" y="35"/>
                    <a:pt x="63" y="37"/>
                    <a:pt x="59" y="32"/>
                  </a:cubicBezTo>
                  <a:cubicBezTo>
                    <a:pt x="47" y="29"/>
                    <a:pt x="40" y="10"/>
                    <a:pt x="32" y="5"/>
                  </a:cubicBezTo>
                  <a:cubicBezTo>
                    <a:pt x="24" y="0"/>
                    <a:pt x="13" y="3"/>
                    <a:pt x="8" y="2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8" name="Freeform 424"/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2557729" y="4706979"/>
              <a:ext cx="285092" cy="1205090"/>
            </a:xfrm>
            <a:custGeom>
              <a:avLst/>
              <a:gdLst>
                <a:gd name="T0" fmla="*/ 80 w 172"/>
                <a:gd name="T1" fmla="*/ 87 h 745"/>
                <a:gd name="T2" fmla="*/ 71 w 172"/>
                <a:gd name="T3" fmla="*/ 169 h 745"/>
                <a:gd name="T4" fmla="*/ 65 w 172"/>
                <a:gd name="T5" fmla="*/ 184 h 745"/>
                <a:gd name="T6" fmla="*/ 65 w 172"/>
                <a:gd name="T7" fmla="*/ 217 h 745"/>
                <a:gd name="T8" fmla="*/ 53 w 172"/>
                <a:gd name="T9" fmla="*/ 291 h 745"/>
                <a:gd name="T10" fmla="*/ 34 w 172"/>
                <a:gd name="T11" fmla="*/ 330 h 745"/>
                <a:gd name="T12" fmla="*/ 40 w 172"/>
                <a:gd name="T13" fmla="*/ 370 h 745"/>
                <a:gd name="T14" fmla="*/ 28 w 172"/>
                <a:gd name="T15" fmla="*/ 408 h 745"/>
                <a:gd name="T16" fmla="*/ 8 w 172"/>
                <a:gd name="T17" fmla="*/ 523 h 745"/>
                <a:gd name="T18" fmla="*/ 11 w 172"/>
                <a:gd name="T19" fmla="*/ 616 h 745"/>
                <a:gd name="T20" fmla="*/ 28 w 172"/>
                <a:gd name="T21" fmla="*/ 679 h 745"/>
                <a:gd name="T22" fmla="*/ 52 w 172"/>
                <a:gd name="T23" fmla="*/ 702 h 745"/>
                <a:gd name="T24" fmla="*/ 89 w 172"/>
                <a:gd name="T25" fmla="*/ 721 h 745"/>
                <a:gd name="T26" fmla="*/ 121 w 172"/>
                <a:gd name="T27" fmla="*/ 745 h 745"/>
                <a:gd name="T28" fmla="*/ 151 w 172"/>
                <a:gd name="T29" fmla="*/ 715 h 745"/>
                <a:gd name="T30" fmla="*/ 172 w 172"/>
                <a:gd name="T31" fmla="*/ 711 h 745"/>
                <a:gd name="T32" fmla="*/ 124 w 172"/>
                <a:gd name="T33" fmla="*/ 703 h 745"/>
                <a:gd name="T34" fmla="*/ 98 w 172"/>
                <a:gd name="T35" fmla="*/ 693 h 745"/>
                <a:gd name="T36" fmla="*/ 71 w 172"/>
                <a:gd name="T37" fmla="*/ 651 h 745"/>
                <a:gd name="T38" fmla="*/ 56 w 172"/>
                <a:gd name="T39" fmla="*/ 630 h 745"/>
                <a:gd name="T40" fmla="*/ 43 w 172"/>
                <a:gd name="T41" fmla="*/ 600 h 745"/>
                <a:gd name="T42" fmla="*/ 52 w 172"/>
                <a:gd name="T43" fmla="*/ 570 h 745"/>
                <a:gd name="T44" fmla="*/ 58 w 172"/>
                <a:gd name="T45" fmla="*/ 541 h 745"/>
                <a:gd name="T46" fmla="*/ 70 w 172"/>
                <a:gd name="T47" fmla="*/ 484 h 745"/>
                <a:gd name="T48" fmla="*/ 67 w 172"/>
                <a:gd name="T49" fmla="*/ 456 h 745"/>
                <a:gd name="T50" fmla="*/ 56 w 172"/>
                <a:gd name="T51" fmla="*/ 426 h 745"/>
                <a:gd name="T52" fmla="*/ 62 w 172"/>
                <a:gd name="T53" fmla="*/ 394 h 745"/>
                <a:gd name="T54" fmla="*/ 73 w 172"/>
                <a:gd name="T55" fmla="*/ 342 h 745"/>
                <a:gd name="T56" fmla="*/ 88 w 172"/>
                <a:gd name="T57" fmla="*/ 300 h 745"/>
                <a:gd name="T58" fmla="*/ 89 w 172"/>
                <a:gd name="T59" fmla="*/ 256 h 745"/>
                <a:gd name="T60" fmla="*/ 91 w 172"/>
                <a:gd name="T61" fmla="*/ 186 h 745"/>
                <a:gd name="T62" fmla="*/ 115 w 172"/>
                <a:gd name="T63" fmla="*/ 153 h 745"/>
                <a:gd name="T64" fmla="*/ 116 w 172"/>
                <a:gd name="T65" fmla="*/ 117 h 745"/>
                <a:gd name="T66" fmla="*/ 128 w 172"/>
                <a:gd name="T67" fmla="*/ 96 h 745"/>
                <a:gd name="T68" fmla="*/ 128 w 172"/>
                <a:gd name="T69" fmla="*/ 72 h 745"/>
                <a:gd name="T70" fmla="*/ 103 w 172"/>
                <a:gd name="T71" fmla="*/ 34 h 745"/>
                <a:gd name="T72" fmla="*/ 97 w 172"/>
                <a:gd name="T73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2" h="745">
                  <a:moveTo>
                    <a:pt x="85" y="10"/>
                  </a:moveTo>
                  <a:cubicBezTo>
                    <a:pt x="84" y="40"/>
                    <a:pt x="98" y="63"/>
                    <a:pt x="80" y="87"/>
                  </a:cubicBezTo>
                  <a:cubicBezTo>
                    <a:pt x="81" y="103"/>
                    <a:pt x="83" y="134"/>
                    <a:pt x="77" y="150"/>
                  </a:cubicBezTo>
                  <a:cubicBezTo>
                    <a:pt x="76" y="156"/>
                    <a:pt x="74" y="163"/>
                    <a:pt x="71" y="169"/>
                  </a:cubicBezTo>
                  <a:cubicBezTo>
                    <a:pt x="71" y="174"/>
                    <a:pt x="73" y="183"/>
                    <a:pt x="71" y="187"/>
                  </a:cubicBezTo>
                  <a:cubicBezTo>
                    <a:pt x="70" y="189"/>
                    <a:pt x="65" y="182"/>
                    <a:pt x="65" y="184"/>
                  </a:cubicBezTo>
                  <a:cubicBezTo>
                    <a:pt x="63" y="193"/>
                    <a:pt x="65" y="202"/>
                    <a:pt x="64" y="211"/>
                  </a:cubicBezTo>
                  <a:cubicBezTo>
                    <a:pt x="64" y="213"/>
                    <a:pt x="66" y="215"/>
                    <a:pt x="65" y="217"/>
                  </a:cubicBezTo>
                  <a:cubicBezTo>
                    <a:pt x="67" y="229"/>
                    <a:pt x="77" y="253"/>
                    <a:pt x="61" y="261"/>
                  </a:cubicBezTo>
                  <a:cubicBezTo>
                    <a:pt x="56" y="270"/>
                    <a:pt x="57" y="281"/>
                    <a:pt x="53" y="291"/>
                  </a:cubicBezTo>
                  <a:cubicBezTo>
                    <a:pt x="52" y="300"/>
                    <a:pt x="48" y="315"/>
                    <a:pt x="41" y="319"/>
                  </a:cubicBezTo>
                  <a:cubicBezTo>
                    <a:pt x="40" y="325"/>
                    <a:pt x="40" y="327"/>
                    <a:pt x="34" y="330"/>
                  </a:cubicBezTo>
                  <a:cubicBezTo>
                    <a:pt x="31" y="335"/>
                    <a:pt x="40" y="346"/>
                    <a:pt x="37" y="351"/>
                  </a:cubicBezTo>
                  <a:cubicBezTo>
                    <a:pt x="35" y="362"/>
                    <a:pt x="35" y="361"/>
                    <a:pt x="40" y="370"/>
                  </a:cubicBezTo>
                  <a:cubicBezTo>
                    <a:pt x="40" y="375"/>
                    <a:pt x="45" y="375"/>
                    <a:pt x="43" y="381"/>
                  </a:cubicBezTo>
                  <a:cubicBezTo>
                    <a:pt x="41" y="387"/>
                    <a:pt x="33" y="392"/>
                    <a:pt x="28" y="408"/>
                  </a:cubicBezTo>
                  <a:cubicBezTo>
                    <a:pt x="14" y="426"/>
                    <a:pt x="29" y="458"/>
                    <a:pt x="14" y="478"/>
                  </a:cubicBezTo>
                  <a:cubicBezTo>
                    <a:pt x="11" y="493"/>
                    <a:pt x="11" y="508"/>
                    <a:pt x="8" y="523"/>
                  </a:cubicBezTo>
                  <a:cubicBezTo>
                    <a:pt x="7" y="537"/>
                    <a:pt x="8" y="552"/>
                    <a:pt x="2" y="565"/>
                  </a:cubicBezTo>
                  <a:cubicBezTo>
                    <a:pt x="3" y="584"/>
                    <a:pt x="0" y="601"/>
                    <a:pt x="11" y="616"/>
                  </a:cubicBezTo>
                  <a:cubicBezTo>
                    <a:pt x="12" y="625"/>
                    <a:pt x="8" y="646"/>
                    <a:pt x="19" y="651"/>
                  </a:cubicBezTo>
                  <a:cubicBezTo>
                    <a:pt x="26" y="661"/>
                    <a:pt x="17" y="672"/>
                    <a:pt x="28" y="679"/>
                  </a:cubicBezTo>
                  <a:cubicBezTo>
                    <a:pt x="31" y="684"/>
                    <a:pt x="34" y="688"/>
                    <a:pt x="37" y="693"/>
                  </a:cubicBezTo>
                  <a:cubicBezTo>
                    <a:pt x="40" y="698"/>
                    <a:pt x="46" y="698"/>
                    <a:pt x="52" y="702"/>
                  </a:cubicBezTo>
                  <a:cubicBezTo>
                    <a:pt x="58" y="706"/>
                    <a:pt x="70" y="712"/>
                    <a:pt x="76" y="715"/>
                  </a:cubicBezTo>
                  <a:cubicBezTo>
                    <a:pt x="81" y="717"/>
                    <a:pt x="85" y="718"/>
                    <a:pt x="89" y="721"/>
                  </a:cubicBezTo>
                  <a:cubicBezTo>
                    <a:pt x="92" y="727"/>
                    <a:pt x="98" y="732"/>
                    <a:pt x="104" y="735"/>
                  </a:cubicBezTo>
                  <a:cubicBezTo>
                    <a:pt x="107" y="742"/>
                    <a:pt x="114" y="744"/>
                    <a:pt x="121" y="745"/>
                  </a:cubicBezTo>
                  <a:cubicBezTo>
                    <a:pt x="130" y="744"/>
                    <a:pt x="135" y="745"/>
                    <a:pt x="137" y="736"/>
                  </a:cubicBezTo>
                  <a:cubicBezTo>
                    <a:pt x="124" y="719"/>
                    <a:pt x="141" y="716"/>
                    <a:pt x="151" y="715"/>
                  </a:cubicBezTo>
                  <a:cubicBezTo>
                    <a:pt x="156" y="711"/>
                    <a:pt x="163" y="713"/>
                    <a:pt x="166" y="712"/>
                  </a:cubicBezTo>
                  <a:cubicBezTo>
                    <a:pt x="168" y="711"/>
                    <a:pt x="170" y="711"/>
                    <a:pt x="172" y="711"/>
                  </a:cubicBezTo>
                  <a:cubicBezTo>
                    <a:pt x="168" y="710"/>
                    <a:pt x="150" y="706"/>
                    <a:pt x="142" y="705"/>
                  </a:cubicBezTo>
                  <a:cubicBezTo>
                    <a:pt x="134" y="704"/>
                    <a:pt x="130" y="703"/>
                    <a:pt x="124" y="703"/>
                  </a:cubicBezTo>
                  <a:cubicBezTo>
                    <a:pt x="119" y="702"/>
                    <a:pt x="111" y="705"/>
                    <a:pt x="107" y="703"/>
                  </a:cubicBezTo>
                  <a:cubicBezTo>
                    <a:pt x="103" y="701"/>
                    <a:pt x="100" y="697"/>
                    <a:pt x="98" y="693"/>
                  </a:cubicBezTo>
                  <a:cubicBezTo>
                    <a:pt x="92" y="689"/>
                    <a:pt x="96" y="688"/>
                    <a:pt x="92" y="681"/>
                  </a:cubicBezTo>
                  <a:cubicBezTo>
                    <a:pt x="88" y="674"/>
                    <a:pt x="77" y="658"/>
                    <a:pt x="71" y="651"/>
                  </a:cubicBezTo>
                  <a:cubicBezTo>
                    <a:pt x="57" y="648"/>
                    <a:pt x="61" y="650"/>
                    <a:pt x="56" y="639"/>
                  </a:cubicBezTo>
                  <a:cubicBezTo>
                    <a:pt x="53" y="634"/>
                    <a:pt x="55" y="634"/>
                    <a:pt x="56" y="630"/>
                  </a:cubicBezTo>
                  <a:cubicBezTo>
                    <a:pt x="57" y="626"/>
                    <a:pt x="63" y="617"/>
                    <a:pt x="61" y="612"/>
                  </a:cubicBezTo>
                  <a:cubicBezTo>
                    <a:pt x="57" y="605"/>
                    <a:pt x="51" y="601"/>
                    <a:pt x="43" y="600"/>
                  </a:cubicBezTo>
                  <a:cubicBezTo>
                    <a:pt x="40" y="596"/>
                    <a:pt x="40" y="593"/>
                    <a:pt x="41" y="588"/>
                  </a:cubicBezTo>
                  <a:cubicBezTo>
                    <a:pt x="42" y="583"/>
                    <a:pt x="50" y="575"/>
                    <a:pt x="52" y="570"/>
                  </a:cubicBezTo>
                  <a:cubicBezTo>
                    <a:pt x="54" y="562"/>
                    <a:pt x="51" y="560"/>
                    <a:pt x="52" y="555"/>
                  </a:cubicBezTo>
                  <a:cubicBezTo>
                    <a:pt x="53" y="550"/>
                    <a:pt x="55" y="549"/>
                    <a:pt x="58" y="541"/>
                  </a:cubicBezTo>
                  <a:cubicBezTo>
                    <a:pt x="60" y="532"/>
                    <a:pt x="66" y="513"/>
                    <a:pt x="68" y="504"/>
                  </a:cubicBezTo>
                  <a:cubicBezTo>
                    <a:pt x="70" y="495"/>
                    <a:pt x="70" y="490"/>
                    <a:pt x="70" y="484"/>
                  </a:cubicBezTo>
                  <a:cubicBezTo>
                    <a:pt x="71" y="478"/>
                    <a:pt x="70" y="472"/>
                    <a:pt x="71" y="466"/>
                  </a:cubicBezTo>
                  <a:cubicBezTo>
                    <a:pt x="63" y="456"/>
                    <a:pt x="71" y="463"/>
                    <a:pt x="67" y="456"/>
                  </a:cubicBezTo>
                  <a:cubicBezTo>
                    <a:pt x="66" y="452"/>
                    <a:pt x="60" y="447"/>
                    <a:pt x="58" y="442"/>
                  </a:cubicBezTo>
                  <a:cubicBezTo>
                    <a:pt x="56" y="437"/>
                    <a:pt x="56" y="431"/>
                    <a:pt x="56" y="426"/>
                  </a:cubicBezTo>
                  <a:cubicBezTo>
                    <a:pt x="55" y="420"/>
                    <a:pt x="55" y="416"/>
                    <a:pt x="58" y="411"/>
                  </a:cubicBezTo>
                  <a:cubicBezTo>
                    <a:pt x="58" y="406"/>
                    <a:pt x="60" y="399"/>
                    <a:pt x="62" y="394"/>
                  </a:cubicBezTo>
                  <a:cubicBezTo>
                    <a:pt x="64" y="389"/>
                    <a:pt x="66" y="387"/>
                    <a:pt x="68" y="378"/>
                  </a:cubicBezTo>
                  <a:cubicBezTo>
                    <a:pt x="69" y="365"/>
                    <a:pt x="71" y="354"/>
                    <a:pt x="73" y="342"/>
                  </a:cubicBezTo>
                  <a:cubicBezTo>
                    <a:pt x="75" y="332"/>
                    <a:pt x="73" y="325"/>
                    <a:pt x="76" y="318"/>
                  </a:cubicBezTo>
                  <a:cubicBezTo>
                    <a:pt x="78" y="311"/>
                    <a:pt x="85" y="307"/>
                    <a:pt x="88" y="300"/>
                  </a:cubicBezTo>
                  <a:cubicBezTo>
                    <a:pt x="90" y="291"/>
                    <a:pt x="95" y="281"/>
                    <a:pt x="95" y="274"/>
                  </a:cubicBezTo>
                  <a:cubicBezTo>
                    <a:pt x="95" y="267"/>
                    <a:pt x="90" y="265"/>
                    <a:pt x="89" y="256"/>
                  </a:cubicBezTo>
                  <a:cubicBezTo>
                    <a:pt x="88" y="247"/>
                    <a:pt x="86" y="234"/>
                    <a:pt x="86" y="222"/>
                  </a:cubicBezTo>
                  <a:cubicBezTo>
                    <a:pt x="87" y="211"/>
                    <a:pt x="86" y="197"/>
                    <a:pt x="91" y="186"/>
                  </a:cubicBezTo>
                  <a:cubicBezTo>
                    <a:pt x="93" y="177"/>
                    <a:pt x="99" y="170"/>
                    <a:pt x="106" y="166"/>
                  </a:cubicBezTo>
                  <a:cubicBezTo>
                    <a:pt x="109" y="162"/>
                    <a:pt x="112" y="157"/>
                    <a:pt x="115" y="153"/>
                  </a:cubicBezTo>
                  <a:cubicBezTo>
                    <a:pt x="116" y="148"/>
                    <a:pt x="113" y="141"/>
                    <a:pt x="113" y="135"/>
                  </a:cubicBezTo>
                  <a:cubicBezTo>
                    <a:pt x="113" y="129"/>
                    <a:pt x="114" y="123"/>
                    <a:pt x="116" y="117"/>
                  </a:cubicBezTo>
                  <a:cubicBezTo>
                    <a:pt x="118" y="111"/>
                    <a:pt x="122" y="103"/>
                    <a:pt x="124" y="100"/>
                  </a:cubicBezTo>
                  <a:cubicBezTo>
                    <a:pt x="125" y="99"/>
                    <a:pt x="127" y="98"/>
                    <a:pt x="128" y="96"/>
                  </a:cubicBezTo>
                  <a:cubicBezTo>
                    <a:pt x="133" y="79"/>
                    <a:pt x="148" y="64"/>
                    <a:pt x="136" y="73"/>
                  </a:cubicBezTo>
                  <a:cubicBezTo>
                    <a:pt x="130" y="69"/>
                    <a:pt x="131" y="78"/>
                    <a:pt x="128" y="72"/>
                  </a:cubicBezTo>
                  <a:cubicBezTo>
                    <a:pt x="127" y="66"/>
                    <a:pt x="114" y="67"/>
                    <a:pt x="110" y="61"/>
                  </a:cubicBezTo>
                  <a:cubicBezTo>
                    <a:pt x="106" y="55"/>
                    <a:pt x="104" y="42"/>
                    <a:pt x="103" y="34"/>
                  </a:cubicBezTo>
                  <a:cubicBezTo>
                    <a:pt x="102" y="26"/>
                    <a:pt x="107" y="21"/>
                    <a:pt x="106" y="15"/>
                  </a:cubicBezTo>
                  <a:cubicBezTo>
                    <a:pt x="103" y="8"/>
                    <a:pt x="105" y="1"/>
                    <a:pt x="97" y="0"/>
                  </a:cubicBezTo>
                  <a:cubicBezTo>
                    <a:pt x="90" y="3"/>
                    <a:pt x="81" y="8"/>
                    <a:pt x="85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349" name="Group 426"/>
            <p:cNvGrpSpPr>
              <a:grpSpLocks/>
            </p:cNvGrpSpPr>
            <p:nvPr>
              <p:custDataLst>
                <p:tags r:id="rId154"/>
              </p:custDataLst>
            </p:nvPr>
          </p:nvGrpSpPr>
          <p:grpSpPr bwMode="auto">
            <a:xfrm>
              <a:off x="2862259" y="3838796"/>
              <a:ext cx="110149" cy="178172"/>
              <a:chOff x="4714" y="2568"/>
              <a:chExt cx="67" cy="110"/>
            </a:xfrm>
            <a:grpFill/>
          </p:grpSpPr>
          <p:sp>
            <p:nvSpPr>
              <p:cNvPr id="370" name="Freeform 427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4751" y="2668"/>
                <a:ext cx="17" cy="10"/>
              </a:xfrm>
              <a:custGeom>
                <a:avLst/>
                <a:gdLst>
                  <a:gd name="T0" fmla="*/ 0 w 17"/>
                  <a:gd name="T1" fmla="*/ 1 h 10"/>
                  <a:gd name="T2" fmla="*/ 9 w 17"/>
                  <a:gd name="T3" fmla="*/ 2 h 10"/>
                  <a:gd name="T4" fmla="*/ 0 w 17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0">
                    <a:moveTo>
                      <a:pt x="0" y="1"/>
                    </a:moveTo>
                    <a:cubicBezTo>
                      <a:pt x="3" y="1"/>
                      <a:pt x="7" y="0"/>
                      <a:pt x="9" y="2"/>
                    </a:cubicBezTo>
                    <a:cubicBezTo>
                      <a:pt x="17" y="8"/>
                      <a:pt x="4" y="10"/>
                      <a:pt x="0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1" name="Freeform 428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4765" y="2640"/>
                <a:ext cx="16" cy="6"/>
              </a:xfrm>
              <a:custGeom>
                <a:avLst/>
                <a:gdLst>
                  <a:gd name="T0" fmla="*/ 4 w 16"/>
                  <a:gd name="T1" fmla="*/ 0 h 6"/>
                  <a:gd name="T2" fmla="*/ 13 w 16"/>
                  <a:gd name="T3" fmla="*/ 2 h 6"/>
                  <a:gd name="T4" fmla="*/ 1 w 16"/>
                  <a:gd name="T5" fmla="*/ 3 h 6"/>
                  <a:gd name="T6" fmla="*/ 4 w 1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6">
                    <a:moveTo>
                      <a:pt x="4" y="0"/>
                    </a:moveTo>
                    <a:cubicBezTo>
                      <a:pt x="7" y="1"/>
                      <a:pt x="11" y="0"/>
                      <a:pt x="13" y="2"/>
                    </a:cubicBezTo>
                    <a:cubicBezTo>
                      <a:pt x="16" y="5"/>
                      <a:pt x="4" y="6"/>
                      <a:pt x="1" y="3"/>
                    </a:cubicBezTo>
                    <a:cubicBezTo>
                      <a:pt x="0" y="2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2" name="Freeform 429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4742" y="2645"/>
                <a:ext cx="12" cy="7"/>
              </a:xfrm>
              <a:custGeom>
                <a:avLst/>
                <a:gdLst>
                  <a:gd name="T0" fmla="*/ 6 w 12"/>
                  <a:gd name="T1" fmla="*/ 3 h 7"/>
                  <a:gd name="T2" fmla="*/ 2 w 12"/>
                  <a:gd name="T3" fmla="*/ 6 h 7"/>
                  <a:gd name="T4" fmla="*/ 11 w 12"/>
                  <a:gd name="T5" fmla="*/ 4 h 7"/>
                  <a:gd name="T6" fmla="*/ 8 w 12"/>
                  <a:gd name="T7" fmla="*/ 0 h 7"/>
                  <a:gd name="T8" fmla="*/ 6 w 12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6" y="3"/>
                    </a:moveTo>
                    <a:cubicBezTo>
                      <a:pt x="5" y="4"/>
                      <a:pt x="0" y="6"/>
                      <a:pt x="2" y="6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2" y="3"/>
                      <a:pt x="10" y="0"/>
                      <a:pt x="8" y="0"/>
                    </a:cubicBezTo>
                    <a:cubicBezTo>
                      <a:pt x="7" y="0"/>
                      <a:pt x="7" y="2"/>
                      <a:pt x="6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3" name="Freeform 430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4733" y="2652"/>
                <a:ext cx="13" cy="14"/>
              </a:xfrm>
              <a:custGeom>
                <a:avLst/>
                <a:gdLst>
                  <a:gd name="T0" fmla="*/ 5 w 13"/>
                  <a:gd name="T1" fmla="*/ 6 h 14"/>
                  <a:gd name="T2" fmla="*/ 9 w 13"/>
                  <a:gd name="T3" fmla="*/ 14 h 14"/>
                  <a:gd name="T4" fmla="*/ 5 w 13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5" y="6"/>
                    </a:moveTo>
                    <a:cubicBezTo>
                      <a:pt x="13" y="0"/>
                      <a:pt x="11" y="9"/>
                      <a:pt x="9" y="14"/>
                    </a:cubicBezTo>
                    <a:cubicBezTo>
                      <a:pt x="0" y="11"/>
                      <a:pt x="1" y="14"/>
                      <a:pt x="5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4" name="Freeform 431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4714" y="2568"/>
                <a:ext cx="33" cy="25"/>
              </a:xfrm>
              <a:custGeom>
                <a:avLst/>
                <a:gdLst>
                  <a:gd name="T0" fmla="*/ 3 w 33"/>
                  <a:gd name="T1" fmla="*/ 2 h 25"/>
                  <a:gd name="T2" fmla="*/ 15 w 33"/>
                  <a:gd name="T3" fmla="*/ 3 h 25"/>
                  <a:gd name="T4" fmla="*/ 21 w 33"/>
                  <a:gd name="T5" fmla="*/ 12 h 25"/>
                  <a:gd name="T6" fmla="*/ 33 w 33"/>
                  <a:gd name="T7" fmla="*/ 5 h 25"/>
                  <a:gd name="T8" fmla="*/ 21 w 33"/>
                  <a:gd name="T9" fmla="*/ 21 h 25"/>
                  <a:gd name="T10" fmla="*/ 7 w 33"/>
                  <a:gd name="T11" fmla="*/ 15 h 25"/>
                  <a:gd name="T12" fmla="*/ 3 w 33"/>
                  <a:gd name="T13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5">
                    <a:moveTo>
                      <a:pt x="3" y="2"/>
                    </a:moveTo>
                    <a:cubicBezTo>
                      <a:pt x="7" y="2"/>
                      <a:pt x="12" y="0"/>
                      <a:pt x="15" y="3"/>
                    </a:cubicBezTo>
                    <a:cubicBezTo>
                      <a:pt x="25" y="12"/>
                      <a:pt x="8" y="17"/>
                      <a:pt x="21" y="12"/>
                    </a:cubicBezTo>
                    <a:cubicBezTo>
                      <a:pt x="22" y="3"/>
                      <a:pt x="25" y="2"/>
                      <a:pt x="33" y="5"/>
                    </a:cubicBezTo>
                    <a:cubicBezTo>
                      <a:pt x="29" y="25"/>
                      <a:pt x="24" y="6"/>
                      <a:pt x="21" y="21"/>
                    </a:cubicBezTo>
                    <a:cubicBezTo>
                      <a:pt x="15" y="20"/>
                      <a:pt x="12" y="17"/>
                      <a:pt x="7" y="15"/>
                    </a:cubicBezTo>
                    <a:cubicBezTo>
                      <a:pt x="2" y="10"/>
                      <a:pt x="0" y="8"/>
                      <a:pt x="3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5" name="Freeform 432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4745" y="2589"/>
                <a:ext cx="20" cy="48"/>
              </a:xfrm>
              <a:custGeom>
                <a:avLst/>
                <a:gdLst>
                  <a:gd name="T0" fmla="*/ 6 w 20"/>
                  <a:gd name="T1" fmla="*/ 0 h 48"/>
                  <a:gd name="T2" fmla="*/ 5 w 20"/>
                  <a:gd name="T3" fmla="*/ 12 h 48"/>
                  <a:gd name="T4" fmla="*/ 9 w 20"/>
                  <a:gd name="T5" fmla="*/ 48 h 48"/>
                  <a:gd name="T6" fmla="*/ 12 w 20"/>
                  <a:gd name="T7" fmla="*/ 32 h 48"/>
                  <a:gd name="T8" fmla="*/ 6 w 20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8">
                    <a:moveTo>
                      <a:pt x="6" y="0"/>
                    </a:moveTo>
                    <a:cubicBezTo>
                      <a:pt x="0" y="3"/>
                      <a:pt x="2" y="6"/>
                      <a:pt x="5" y="12"/>
                    </a:cubicBezTo>
                    <a:cubicBezTo>
                      <a:pt x="7" y="26"/>
                      <a:pt x="8" y="33"/>
                      <a:pt x="9" y="48"/>
                    </a:cubicBezTo>
                    <a:cubicBezTo>
                      <a:pt x="20" y="46"/>
                      <a:pt x="17" y="39"/>
                      <a:pt x="12" y="32"/>
                    </a:cubicBezTo>
                    <a:cubicBezTo>
                      <a:pt x="14" y="12"/>
                      <a:pt x="18" y="12"/>
                      <a:pt x="6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50" name="Freeform 433"/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1550188" y="3437099"/>
              <a:ext cx="745127" cy="476205"/>
            </a:xfrm>
            <a:custGeom>
              <a:avLst/>
              <a:gdLst>
                <a:gd name="T0" fmla="*/ 9 w 451"/>
                <a:gd name="T1" fmla="*/ 30 h 295"/>
                <a:gd name="T2" fmla="*/ 44 w 451"/>
                <a:gd name="T3" fmla="*/ 74 h 295"/>
                <a:gd name="T4" fmla="*/ 65 w 451"/>
                <a:gd name="T5" fmla="*/ 116 h 295"/>
                <a:gd name="T6" fmla="*/ 81 w 451"/>
                <a:gd name="T7" fmla="*/ 149 h 295"/>
                <a:gd name="T8" fmla="*/ 105 w 451"/>
                <a:gd name="T9" fmla="*/ 170 h 295"/>
                <a:gd name="T10" fmla="*/ 95 w 451"/>
                <a:gd name="T11" fmla="*/ 129 h 295"/>
                <a:gd name="T12" fmla="*/ 66 w 451"/>
                <a:gd name="T13" fmla="*/ 83 h 295"/>
                <a:gd name="T14" fmla="*/ 44 w 451"/>
                <a:gd name="T15" fmla="*/ 51 h 295"/>
                <a:gd name="T16" fmla="*/ 35 w 451"/>
                <a:gd name="T17" fmla="*/ 20 h 295"/>
                <a:gd name="T18" fmla="*/ 65 w 451"/>
                <a:gd name="T19" fmla="*/ 45 h 295"/>
                <a:gd name="T20" fmla="*/ 120 w 451"/>
                <a:gd name="T21" fmla="*/ 116 h 295"/>
                <a:gd name="T22" fmla="*/ 152 w 451"/>
                <a:gd name="T23" fmla="*/ 156 h 295"/>
                <a:gd name="T24" fmla="*/ 171 w 451"/>
                <a:gd name="T25" fmla="*/ 213 h 295"/>
                <a:gd name="T26" fmla="*/ 201 w 451"/>
                <a:gd name="T27" fmla="*/ 237 h 295"/>
                <a:gd name="T28" fmla="*/ 273 w 451"/>
                <a:gd name="T29" fmla="*/ 276 h 295"/>
                <a:gd name="T30" fmla="*/ 327 w 451"/>
                <a:gd name="T31" fmla="*/ 279 h 295"/>
                <a:gd name="T32" fmla="*/ 371 w 451"/>
                <a:gd name="T33" fmla="*/ 294 h 295"/>
                <a:gd name="T34" fmla="*/ 398 w 451"/>
                <a:gd name="T35" fmla="*/ 279 h 295"/>
                <a:gd name="T36" fmla="*/ 387 w 451"/>
                <a:gd name="T37" fmla="*/ 257 h 295"/>
                <a:gd name="T38" fmla="*/ 413 w 451"/>
                <a:gd name="T39" fmla="*/ 251 h 295"/>
                <a:gd name="T40" fmla="*/ 450 w 451"/>
                <a:gd name="T41" fmla="*/ 195 h 295"/>
                <a:gd name="T42" fmla="*/ 411 w 451"/>
                <a:gd name="T43" fmla="*/ 198 h 295"/>
                <a:gd name="T44" fmla="*/ 396 w 451"/>
                <a:gd name="T45" fmla="*/ 221 h 295"/>
                <a:gd name="T46" fmla="*/ 348 w 451"/>
                <a:gd name="T47" fmla="*/ 242 h 295"/>
                <a:gd name="T48" fmla="*/ 315 w 451"/>
                <a:gd name="T49" fmla="*/ 233 h 295"/>
                <a:gd name="T50" fmla="*/ 285 w 451"/>
                <a:gd name="T51" fmla="*/ 167 h 295"/>
                <a:gd name="T52" fmla="*/ 272 w 451"/>
                <a:gd name="T53" fmla="*/ 117 h 295"/>
                <a:gd name="T54" fmla="*/ 249 w 451"/>
                <a:gd name="T55" fmla="*/ 74 h 295"/>
                <a:gd name="T56" fmla="*/ 212 w 451"/>
                <a:gd name="T57" fmla="*/ 65 h 295"/>
                <a:gd name="T58" fmla="*/ 147 w 451"/>
                <a:gd name="T59" fmla="*/ 18 h 295"/>
                <a:gd name="T60" fmla="*/ 116 w 451"/>
                <a:gd name="T61" fmla="*/ 30 h 295"/>
                <a:gd name="T62" fmla="*/ 63 w 451"/>
                <a:gd name="T63" fmla="*/ 21 h 295"/>
                <a:gd name="T64" fmla="*/ 5 w 451"/>
                <a:gd name="T65" fmla="*/ 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1" h="295">
                  <a:moveTo>
                    <a:pt x="5" y="9"/>
                  </a:moveTo>
                  <a:cubicBezTo>
                    <a:pt x="0" y="13"/>
                    <a:pt x="5" y="22"/>
                    <a:pt x="9" y="30"/>
                  </a:cubicBezTo>
                  <a:cubicBezTo>
                    <a:pt x="13" y="38"/>
                    <a:pt x="21" y="50"/>
                    <a:pt x="27" y="57"/>
                  </a:cubicBezTo>
                  <a:cubicBezTo>
                    <a:pt x="33" y="64"/>
                    <a:pt x="41" y="68"/>
                    <a:pt x="44" y="74"/>
                  </a:cubicBezTo>
                  <a:cubicBezTo>
                    <a:pt x="47" y="80"/>
                    <a:pt x="41" y="88"/>
                    <a:pt x="44" y="95"/>
                  </a:cubicBezTo>
                  <a:cubicBezTo>
                    <a:pt x="47" y="102"/>
                    <a:pt x="60" y="110"/>
                    <a:pt x="65" y="116"/>
                  </a:cubicBezTo>
                  <a:cubicBezTo>
                    <a:pt x="70" y="122"/>
                    <a:pt x="72" y="129"/>
                    <a:pt x="75" y="134"/>
                  </a:cubicBezTo>
                  <a:cubicBezTo>
                    <a:pt x="78" y="139"/>
                    <a:pt x="77" y="146"/>
                    <a:pt x="81" y="149"/>
                  </a:cubicBezTo>
                  <a:cubicBezTo>
                    <a:pt x="85" y="152"/>
                    <a:pt x="97" y="150"/>
                    <a:pt x="101" y="153"/>
                  </a:cubicBezTo>
                  <a:cubicBezTo>
                    <a:pt x="105" y="156"/>
                    <a:pt x="103" y="169"/>
                    <a:pt x="105" y="170"/>
                  </a:cubicBezTo>
                  <a:cubicBezTo>
                    <a:pt x="107" y="171"/>
                    <a:pt x="115" y="166"/>
                    <a:pt x="113" y="159"/>
                  </a:cubicBezTo>
                  <a:cubicBezTo>
                    <a:pt x="111" y="152"/>
                    <a:pt x="101" y="138"/>
                    <a:pt x="95" y="129"/>
                  </a:cubicBezTo>
                  <a:cubicBezTo>
                    <a:pt x="89" y="120"/>
                    <a:pt x="82" y="110"/>
                    <a:pt x="77" y="102"/>
                  </a:cubicBezTo>
                  <a:cubicBezTo>
                    <a:pt x="72" y="94"/>
                    <a:pt x="70" y="90"/>
                    <a:pt x="66" y="83"/>
                  </a:cubicBezTo>
                  <a:cubicBezTo>
                    <a:pt x="62" y="76"/>
                    <a:pt x="57" y="67"/>
                    <a:pt x="53" y="62"/>
                  </a:cubicBezTo>
                  <a:cubicBezTo>
                    <a:pt x="49" y="57"/>
                    <a:pt x="47" y="56"/>
                    <a:pt x="44" y="51"/>
                  </a:cubicBezTo>
                  <a:cubicBezTo>
                    <a:pt x="41" y="46"/>
                    <a:pt x="36" y="38"/>
                    <a:pt x="35" y="33"/>
                  </a:cubicBezTo>
                  <a:cubicBezTo>
                    <a:pt x="34" y="28"/>
                    <a:pt x="31" y="21"/>
                    <a:pt x="35" y="20"/>
                  </a:cubicBezTo>
                  <a:cubicBezTo>
                    <a:pt x="39" y="19"/>
                    <a:pt x="54" y="25"/>
                    <a:pt x="59" y="29"/>
                  </a:cubicBezTo>
                  <a:cubicBezTo>
                    <a:pt x="64" y="33"/>
                    <a:pt x="61" y="37"/>
                    <a:pt x="65" y="45"/>
                  </a:cubicBezTo>
                  <a:cubicBezTo>
                    <a:pt x="69" y="53"/>
                    <a:pt x="75" y="68"/>
                    <a:pt x="84" y="80"/>
                  </a:cubicBezTo>
                  <a:cubicBezTo>
                    <a:pt x="93" y="92"/>
                    <a:pt x="114" y="108"/>
                    <a:pt x="120" y="116"/>
                  </a:cubicBezTo>
                  <a:cubicBezTo>
                    <a:pt x="126" y="124"/>
                    <a:pt x="114" y="122"/>
                    <a:pt x="119" y="129"/>
                  </a:cubicBezTo>
                  <a:cubicBezTo>
                    <a:pt x="124" y="136"/>
                    <a:pt x="142" y="145"/>
                    <a:pt x="152" y="156"/>
                  </a:cubicBezTo>
                  <a:cubicBezTo>
                    <a:pt x="162" y="167"/>
                    <a:pt x="174" y="189"/>
                    <a:pt x="177" y="198"/>
                  </a:cubicBezTo>
                  <a:cubicBezTo>
                    <a:pt x="180" y="207"/>
                    <a:pt x="170" y="207"/>
                    <a:pt x="171" y="213"/>
                  </a:cubicBezTo>
                  <a:cubicBezTo>
                    <a:pt x="172" y="219"/>
                    <a:pt x="181" y="233"/>
                    <a:pt x="186" y="237"/>
                  </a:cubicBezTo>
                  <a:cubicBezTo>
                    <a:pt x="191" y="241"/>
                    <a:pt x="194" y="235"/>
                    <a:pt x="201" y="237"/>
                  </a:cubicBezTo>
                  <a:cubicBezTo>
                    <a:pt x="208" y="239"/>
                    <a:pt x="216" y="246"/>
                    <a:pt x="228" y="252"/>
                  </a:cubicBezTo>
                  <a:cubicBezTo>
                    <a:pt x="240" y="258"/>
                    <a:pt x="260" y="271"/>
                    <a:pt x="273" y="276"/>
                  </a:cubicBezTo>
                  <a:cubicBezTo>
                    <a:pt x="286" y="281"/>
                    <a:pt x="296" y="281"/>
                    <a:pt x="305" y="281"/>
                  </a:cubicBezTo>
                  <a:cubicBezTo>
                    <a:pt x="314" y="281"/>
                    <a:pt x="320" y="279"/>
                    <a:pt x="327" y="279"/>
                  </a:cubicBezTo>
                  <a:cubicBezTo>
                    <a:pt x="334" y="279"/>
                    <a:pt x="343" y="279"/>
                    <a:pt x="350" y="282"/>
                  </a:cubicBezTo>
                  <a:cubicBezTo>
                    <a:pt x="357" y="285"/>
                    <a:pt x="366" y="295"/>
                    <a:pt x="371" y="294"/>
                  </a:cubicBezTo>
                  <a:cubicBezTo>
                    <a:pt x="376" y="293"/>
                    <a:pt x="376" y="281"/>
                    <a:pt x="380" y="279"/>
                  </a:cubicBezTo>
                  <a:cubicBezTo>
                    <a:pt x="384" y="277"/>
                    <a:pt x="393" y="279"/>
                    <a:pt x="398" y="279"/>
                  </a:cubicBezTo>
                  <a:cubicBezTo>
                    <a:pt x="403" y="279"/>
                    <a:pt x="410" y="279"/>
                    <a:pt x="408" y="276"/>
                  </a:cubicBezTo>
                  <a:cubicBezTo>
                    <a:pt x="406" y="273"/>
                    <a:pt x="389" y="261"/>
                    <a:pt x="387" y="257"/>
                  </a:cubicBezTo>
                  <a:cubicBezTo>
                    <a:pt x="385" y="253"/>
                    <a:pt x="391" y="253"/>
                    <a:pt x="395" y="252"/>
                  </a:cubicBezTo>
                  <a:cubicBezTo>
                    <a:pt x="399" y="251"/>
                    <a:pt x="407" y="252"/>
                    <a:pt x="413" y="251"/>
                  </a:cubicBezTo>
                  <a:cubicBezTo>
                    <a:pt x="419" y="250"/>
                    <a:pt x="425" y="252"/>
                    <a:pt x="431" y="243"/>
                  </a:cubicBezTo>
                  <a:cubicBezTo>
                    <a:pt x="437" y="234"/>
                    <a:pt x="451" y="204"/>
                    <a:pt x="450" y="195"/>
                  </a:cubicBezTo>
                  <a:cubicBezTo>
                    <a:pt x="449" y="186"/>
                    <a:pt x="431" y="191"/>
                    <a:pt x="425" y="191"/>
                  </a:cubicBezTo>
                  <a:cubicBezTo>
                    <a:pt x="419" y="191"/>
                    <a:pt x="415" y="197"/>
                    <a:pt x="411" y="198"/>
                  </a:cubicBezTo>
                  <a:cubicBezTo>
                    <a:pt x="407" y="199"/>
                    <a:pt x="401" y="194"/>
                    <a:pt x="399" y="198"/>
                  </a:cubicBezTo>
                  <a:cubicBezTo>
                    <a:pt x="397" y="202"/>
                    <a:pt x="399" y="215"/>
                    <a:pt x="396" y="221"/>
                  </a:cubicBezTo>
                  <a:cubicBezTo>
                    <a:pt x="393" y="227"/>
                    <a:pt x="391" y="233"/>
                    <a:pt x="383" y="237"/>
                  </a:cubicBezTo>
                  <a:cubicBezTo>
                    <a:pt x="375" y="241"/>
                    <a:pt x="355" y="241"/>
                    <a:pt x="348" y="242"/>
                  </a:cubicBezTo>
                  <a:cubicBezTo>
                    <a:pt x="341" y="243"/>
                    <a:pt x="343" y="244"/>
                    <a:pt x="338" y="243"/>
                  </a:cubicBezTo>
                  <a:cubicBezTo>
                    <a:pt x="333" y="242"/>
                    <a:pt x="321" y="240"/>
                    <a:pt x="315" y="233"/>
                  </a:cubicBezTo>
                  <a:cubicBezTo>
                    <a:pt x="309" y="226"/>
                    <a:pt x="304" y="211"/>
                    <a:pt x="299" y="200"/>
                  </a:cubicBezTo>
                  <a:cubicBezTo>
                    <a:pt x="294" y="189"/>
                    <a:pt x="286" y="181"/>
                    <a:pt x="285" y="167"/>
                  </a:cubicBezTo>
                  <a:cubicBezTo>
                    <a:pt x="284" y="153"/>
                    <a:pt x="292" y="125"/>
                    <a:pt x="290" y="117"/>
                  </a:cubicBezTo>
                  <a:cubicBezTo>
                    <a:pt x="288" y="109"/>
                    <a:pt x="277" y="119"/>
                    <a:pt x="272" y="117"/>
                  </a:cubicBezTo>
                  <a:cubicBezTo>
                    <a:pt x="267" y="115"/>
                    <a:pt x="262" y="112"/>
                    <a:pt x="258" y="105"/>
                  </a:cubicBezTo>
                  <a:cubicBezTo>
                    <a:pt x="254" y="98"/>
                    <a:pt x="256" y="82"/>
                    <a:pt x="249" y="74"/>
                  </a:cubicBezTo>
                  <a:cubicBezTo>
                    <a:pt x="242" y="66"/>
                    <a:pt x="219" y="55"/>
                    <a:pt x="213" y="54"/>
                  </a:cubicBezTo>
                  <a:cubicBezTo>
                    <a:pt x="207" y="53"/>
                    <a:pt x="216" y="65"/>
                    <a:pt x="212" y="65"/>
                  </a:cubicBezTo>
                  <a:cubicBezTo>
                    <a:pt x="208" y="65"/>
                    <a:pt x="200" y="61"/>
                    <a:pt x="189" y="53"/>
                  </a:cubicBezTo>
                  <a:cubicBezTo>
                    <a:pt x="178" y="45"/>
                    <a:pt x="156" y="23"/>
                    <a:pt x="147" y="18"/>
                  </a:cubicBezTo>
                  <a:cubicBezTo>
                    <a:pt x="138" y="13"/>
                    <a:pt x="140" y="18"/>
                    <a:pt x="135" y="20"/>
                  </a:cubicBezTo>
                  <a:cubicBezTo>
                    <a:pt x="130" y="22"/>
                    <a:pt x="123" y="28"/>
                    <a:pt x="116" y="30"/>
                  </a:cubicBezTo>
                  <a:cubicBezTo>
                    <a:pt x="109" y="32"/>
                    <a:pt x="104" y="35"/>
                    <a:pt x="95" y="33"/>
                  </a:cubicBezTo>
                  <a:cubicBezTo>
                    <a:pt x="86" y="31"/>
                    <a:pt x="73" y="26"/>
                    <a:pt x="63" y="21"/>
                  </a:cubicBezTo>
                  <a:cubicBezTo>
                    <a:pt x="53" y="16"/>
                    <a:pt x="45" y="4"/>
                    <a:pt x="35" y="2"/>
                  </a:cubicBezTo>
                  <a:cubicBezTo>
                    <a:pt x="25" y="0"/>
                    <a:pt x="11" y="8"/>
                    <a:pt x="5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1" name="Freeform 434"/>
            <p:cNvSpPr>
              <a:spLocks/>
            </p:cNvSpPr>
            <p:nvPr>
              <p:custDataLst>
                <p:tags r:id="rId156"/>
              </p:custDataLst>
            </p:nvPr>
          </p:nvSpPr>
          <p:spPr bwMode="gray">
            <a:xfrm>
              <a:off x="2881697" y="4753952"/>
              <a:ext cx="226778" cy="207327"/>
            </a:xfrm>
            <a:custGeom>
              <a:avLst/>
              <a:gdLst>
                <a:gd name="T0" fmla="*/ 0 w 137"/>
                <a:gd name="T1" fmla="*/ 43 h 128"/>
                <a:gd name="T2" fmla="*/ 6 w 137"/>
                <a:gd name="T3" fmla="*/ 28 h 128"/>
                <a:gd name="T4" fmla="*/ 12 w 137"/>
                <a:gd name="T5" fmla="*/ 10 h 128"/>
                <a:gd name="T6" fmla="*/ 24 w 137"/>
                <a:gd name="T7" fmla="*/ 4 h 128"/>
                <a:gd name="T8" fmla="*/ 35 w 137"/>
                <a:gd name="T9" fmla="*/ 2 h 128"/>
                <a:gd name="T10" fmla="*/ 69 w 137"/>
                <a:gd name="T11" fmla="*/ 5 h 128"/>
                <a:gd name="T12" fmla="*/ 69 w 137"/>
                <a:gd name="T13" fmla="*/ 19 h 128"/>
                <a:gd name="T14" fmla="*/ 70 w 137"/>
                <a:gd name="T15" fmla="*/ 41 h 128"/>
                <a:gd name="T16" fmla="*/ 94 w 137"/>
                <a:gd name="T17" fmla="*/ 47 h 128"/>
                <a:gd name="T18" fmla="*/ 114 w 137"/>
                <a:gd name="T19" fmla="*/ 49 h 128"/>
                <a:gd name="T20" fmla="*/ 115 w 137"/>
                <a:gd name="T21" fmla="*/ 65 h 128"/>
                <a:gd name="T22" fmla="*/ 132 w 137"/>
                <a:gd name="T23" fmla="*/ 76 h 128"/>
                <a:gd name="T24" fmla="*/ 136 w 137"/>
                <a:gd name="T25" fmla="*/ 92 h 128"/>
                <a:gd name="T26" fmla="*/ 126 w 137"/>
                <a:gd name="T27" fmla="*/ 110 h 128"/>
                <a:gd name="T28" fmla="*/ 115 w 137"/>
                <a:gd name="T29" fmla="*/ 127 h 128"/>
                <a:gd name="T30" fmla="*/ 70 w 137"/>
                <a:gd name="T31" fmla="*/ 119 h 128"/>
                <a:gd name="T32" fmla="*/ 76 w 137"/>
                <a:gd name="T33" fmla="*/ 103 h 128"/>
                <a:gd name="T34" fmla="*/ 57 w 137"/>
                <a:gd name="T35" fmla="*/ 86 h 128"/>
                <a:gd name="T36" fmla="*/ 39 w 137"/>
                <a:gd name="T37" fmla="*/ 73 h 128"/>
                <a:gd name="T38" fmla="*/ 15 w 137"/>
                <a:gd name="T39" fmla="*/ 53 h 128"/>
                <a:gd name="T40" fmla="*/ 0 w 137"/>
                <a:gd name="T41" fmla="*/ 4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28">
                  <a:moveTo>
                    <a:pt x="0" y="43"/>
                  </a:moveTo>
                  <a:cubicBezTo>
                    <a:pt x="1" y="38"/>
                    <a:pt x="6" y="28"/>
                    <a:pt x="6" y="28"/>
                  </a:cubicBezTo>
                  <a:cubicBezTo>
                    <a:pt x="8" y="23"/>
                    <a:pt x="9" y="14"/>
                    <a:pt x="12" y="10"/>
                  </a:cubicBezTo>
                  <a:cubicBezTo>
                    <a:pt x="15" y="6"/>
                    <a:pt x="20" y="5"/>
                    <a:pt x="24" y="4"/>
                  </a:cubicBezTo>
                  <a:cubicBezTo>
                    <a:pt x="29" y="0"/>
                    <a:pt x="28" y="2"/>
                    <a:pt x="35" y="2"/>
                  </a:cubicBezTo>
                  <a:cubicBezTo>
                    <a:pt x="42" y="2"/>
                    <a:pt x="63" y="2"/>
                    <a:pt x="69" y="5"/>
                  </a:cubicBezTo>
                  <a:cubicBezTo>
                    <a:pt x="75" y="8"/>
                    <a:pt x="69" y="13"/>
                    <a:pt x="69" y="19"/>
                  </a:cubicBezTo>
                  <a:cubicBezTo>
                    <a:pt x="69" y="25"/>
                    <a:pt x="66" y="36"/>
                    <a:pt x="70" y="41"/>
                  </a:cubicBezTo>
                  <a:cubicBezTo>
                    <a:pt x="74" y="49"/>
                    <a:pt x="87" y="45"/>
                    <a:pt x="94" y="47"/>
                  </a:cubicBezTo>
                  <a:cubicBezTo>
                    <a:pt x="101" y="48"/>
                    <a:pt x="110" y="46"/>
                    <a:pt x="114" y="49"/>
                  </a:cubicBezTo>
                  <a:cubicBezTo>
                    <a:pt x="118" y="51"/>
                    <a:pt x="112" y="61"/>
                    <a:pt x="115" y="65"/>
                  </a:cubicBezTo>
                  <a:cubicBezTo>
                    <a:pt x="118" y="69"/>
                    <a:pt x="129" y="72"/>
                    <a:pt x="132" y="76"/>
                  </a:cubicBezTo>
                  <a:cubicBezTo>
                    <a:pt x="135" y="80"/>
                    <a:pt x="137" y="86"/>
                    <a:pt x="136" y="92"/>
                  </a:cubicBezTo>
                  <a:cubicBezTo>
                    <a:pt x="135" y="98"/>
                    <a:pt x="129" y="104"/>
                    <a:pt x="126" y="110"/>
                  </a:cubicBezTo>
                  <a:cubicBezTo>
                    <a:pt x="123" y="116"/>
                    <a:pt x="124" y="125"/>
                    <a:pt x="115" y="127"/>
                  </a:cubicBezTo>
                  <a:cubicBezTo>
                    <a:pt x="87" y="126"/>
                    <a:pt x="86" y="128"/>
                    <a:pt x="70" y="119"/>
                  </a:cubicBezTo>
                  <a:cubicBezTo>
                    <a:pt x="63" y="115"/>
                    <a:pt x="78" y="108"/>
                    <a:pt x="76" y="103"/>
                  </a:cubicBezTo>
                  <a:cubicBezTo>
                    <a:pt x="74" y="98"/>
                    <a:pt x="63" y="91"/>
                    <a:pt x="57" y="86"/>
                  </a:cubicBezTo>
                  <a:cubicBezTo>
                    <a:pt x="53" y="77"/>
                    <a:pt x="50" y="75"/>
                    <a:pt x="39" y="73"/>
                  </a:cubicBezTo>
                  <a:cubicBezTo>
                    <a:pt x="33" y="67"/>
                    <a:pt x="21" y="58"/>
                    <a:pt x="15" y="53"/>
                  </a:cubicBezTo>
                  <a:cubicBezTo>
                    <a:pt x="9" y="48"/>
                    <a:pt x="3" y="45"/>
                    <a:pt x="0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2" name="Freeform 435"/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2232142" y="3838796"/>
              <a:ext cx="29157" cy="63171"/>
            </a:xfrm>
            <a:custGeom>
              <a:avLst/>
              <a:gdLst>
                <a:gd name="T0" fmla="*/ 14 w 19"/>
                <a:gd name="T1" fmla="*/ 0 h 38"/>
                <a:gd name="T2" fmla="*/ 19 w 19"/>
                <a:gd name="T3" fmla="*/ 32 h 38"/>
                <a:gd name="T4" fmla="*/ 5 w 19"/>
                <a:gd name="T5" fmla="*/ 38 h 38"/>
                <a:gd name="T6" fmla="*/ 4 w 19"/>
                <a:gd name="T7" fmla="*/ 23 h 38"/>
                <a:gd name="T8" fmla="*/ 10 w 19"/>
                <a:gd name="T9" fmla="*/ 9 h 38"/>
                <a:gd name="T10" fmla="*/ 14 w 19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8">
                  <a:moveTo>
                    <a:pt x="14" y="0"/>
                  </a:moveTo>
                  <a:cubicBezTo>
                    <a:pt x="18" y="22"/>
                    <a:pt x="16" y="11"/>
                    <a:pt x="19" y="32"/>
                  </a:cubicBezTo>
                  <a:cubicBezTo>
                    <a:pt x="13" y="33"/>
                    <a:pt x="10" y="36"/>
                    <a:pt x="5" y="38"/>
                  </a:cubicBezTo>
                  <a:cubicBezTo>
                    <a:pt x="0" y="32"/>
                    <a:pt x="1" y="30"/>
                    <a:pt x="4" y="23"/>
                  </a:cubicBezTo>
                  <a:cubicBezTo>
                    <a:pt x="5" y="17"/>
                    <a:pt x="7" y="14"/>
                    <a:pt x="10" y="9"/>
                  </a:cubicBezTo>
                  <a:cubicBezTo>
                    <a:pt x="11" y="2"/>
                    <a:pt x="10" y="4"/>
                    <a:pt x="14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3" name="Freeform 436"/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2321232" y="4005630"/>
              <a:ext cx="110149" cy="95565"/>
            </a:xfrm>
            <a:custGeom>
              <a:avLst/>
              <a:gdLst>
                <a:gd name="T0" fmla="*/ 5 w 68"/>
                <a:gd name="T1" fmla="*/ 4 h 58"/>
                <a:gd name="T2" fmla="*/ 14 w 68"/>
                <a:gd name="T3" fmla="*/ 15 h 58"/>
                <a:gd name="T4" fmla="*/ 23 w 68"/>
                <a:gd name="T5" fmla="*/ 31 h 58"/>
                <a:gd name="T6" fmla="*/ 33 w 68"/>
                <a:gd name="T7" fmla="*/ 36 h 58"/>
                <a:gd name="T8" fmla="*/ 60 w 68"/>
                <a:gd name="T9" fmla="*/ 51 h 58"/>
                <a:gd name="T10" fmla="*/ 68 w 68"/>
                <a:gd name="T11" fmla="*/ 43 h 58"/>
                <a:gd name="T12" fmla="*/ 51 w 68"/>
                <a:gd name="T13" fmla="*/ 33 h 58"/>
                <a:gd name="T14" fmla="*/ 39 w 68"/>
                <a:gd name="T15" fmla="*/ 24 h 58"/>
                <a:gd name="T16" fmla="*/ 38 w 68"/>
                <a:gd name="T17" fmla="*/ 16 h 58"/>
                <a:gd name="T18" fmla="*/ 5 w 68"/>
                <a:gd name="T19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58">
                  <a:moveTo>
                    <a:pt x="5" y="4"/>
                  </a:moveTo>
                  <a:cubicBezTo>
                    <a:pt x="0" y="3"/>
                    <a:pt x="11" y="11"/>
                    <a:pt x="14" y="15"/>
                  </a:cubicBezTo>
                  <a:cubicBezTo>
                    <a:pt x="17" y="19"/>
                    <a:pt x="20" y="28"/>
                    <a:pt x="23" y="31"/>
                  </a:cubicBezTo>
                  <a:cubicBezTo>
                    <a:pt x="28" y="33"/>
                    <a:pt x="29" y="33"/>
                    <a:pt x="33" y="36"/>
                  </a:cubicBezTo>
                  <a:cubicBezTo>
                    <a:pt x="36" y="45"/>
                    <a:pt x="52" y="48"/>
                    <a:pt x="60" y="51"/>
                  </a:cubicBezTo>
                  <a:cubicBezTo>
                    <a:pt x="65" y="58"/>
                    <a:pt x="65" y="49"/>
                    <a:pt x="68" y="43"/>
                  </a:cubicBezTo>
                  <a:cubicBezTo>
                    <a:pt x="61" y="39"/>
                    <a:pt x="59" y="35"/>
                    <a:pt x="51" y="33"/>
                  </a:cubicBezTo>
                  <a:cubicBezTo>
                    <a:pt x="47" y="30"/>
                    <a:pt x="41" y="27"/>
                    <a:pt x="39" y="24"/>
                  </a:cubicBezTo>
                  <a:cubicBezTo>
                    <a:pt x="37" y="21"/>
                    <a:pt x="44" y="19"/>
                    <a:pt x="38" y="16"/>
                  </a:cubicBezTo>
                  <a:cubicBezTo>
                    <a:pt x="30" y="0"/>
                    <a:pt x="16" y="15"/>
                    <a:pt x="5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4" name="Freeform 437"/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2611184" y="3778866"/>
              <a:ext cx="61554" cy="69650"/>
            </a:xfrm>
            <a:custGeom>
              <a:avLst/>
              <a:gdLst>
                <a:gd name="T0" fmla="*/ 15 w 69"/>
                <a:gd name="T1" fmla="*/ 0 h 43"/>
                <a:gd name="T2" fmla="*/ 22 w 69"/>
                <a:gd name="T3" fmla="*/ 12 h 43"/>
                <a:gd name="T4" fmla="*/ 16 w 69"/>
                <a:gd name="T5" fmla="*/ 27 h 43"/>
                <a:gd name="T6" fmla="*/ 0 w 69"/>
                <a:gd name="T7" fmla="*/ 28 h 43"/>
                <a:gd name="T8" fmla="*/ 7 w 69"/>
                <a:gd name="T9" fmla="*/ 37 h 43"/>
                <a:gd name="T10" fmla="*/ 31 w 69"/>
                <a:gd name="T11" fmla="*/ 34 h 43"/>
                <a:gd name="T12" fmla="*/ 46 w 69"/>
                <a:gd name="T13" fmla="*/ 43 h 43"/>
                <a:gd name="T14" fmla="*/ 69 w 69"/>
                <a:gd name="T15" fmla="*/ 37 h 43"/>
                <a:gd name="T16" fmla="*/ 54 w 69"/>
                <a:gd name="T17" fmla="*/ 16 h 43"/>
                <a:gd name="T18" fmla="*/ 60 w 69"/>
                <a:gd name="T19" fmla="*/ 1 h 43"/>
                <a:gd name="T20" fmla="*/ 40 w 69"/>
                <a:gd name="T21" fmla="*/ 4 h 43"/>
                <a:gd name="T22" fmla="*/ 25 w 69"/>
                <a:gd name="T2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3">
                  <a:moveTo>
                    <a:pt x="15" y="0"/>
                  </a:moveTo>
                  <a:lnTo>
                    <a:pt x="22" y="12"/>
                  </a:lnTo>
                  <a:lnTo>
                    <a:pt x="16" y="27"/>
                  </a:lnTo>
                  <a:lnTo>
                    <a:pt x="0" y="28"/>
                  </a:lnTo>
                  <a:lnTo>
                    <a:pt x="7" y="37"/>
                  </a:lnTo>
                  <a:lnTo>
                    <a:pt x="31" y="34"/>
                  </a:lnTo>
                  <a:lnTo>
                    <a:pt x="46" y="43"/>
                  </a:lnTo>
                  <a:lnTo>
                    <a:pt x="69" y="37"/>
                  </a:lnTo>
                  <a:lnTo>
                    <a:pt x="54" y="16"/>
                  </a:lnTo>
                  <a:lnTo>
                    <a:pt x="60" y="1"/>
                  </a:lnTo>
                  <a:lnTo>
                    <a:pt x="40" y="4"/>
                  </a:lnTo>
                  <a:lnTo>
                    <a:pt x="25" y="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5" name="Freeform 438"/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2773168" y="3820980"/>
              <a:ext cx="74513" cy="22676"/>
            </a:xfrm>
            <a:custGeom>
              <a:avLst/>
              <a:gdLst>
                <a:gd name="T0" fmla="*/ 0 w 45"/>
                <a:gd name="T1" fmla="*/ 8 h 15"/>
                <a:gd name="T2" fmla="*/ 24 w 45"/>
                <a:gd name="T3" fmla="*/ 8 h 15"/>
                <a:gd name="T4" fmla="*/ 43 w 45"/>
                <a:gd name="T5" fmla="*/ 0 h 15"/>
                <a:gd name="T6" fmla="*/ 45 w 45"/>
                <a:gd name="T7" fmla="*/ 14 h 15"/>
                <a:gd name="T8" fmla="*/ 21 w 45"/>
                <a:gd name="T9" fmla="*/ 15 h 15"/>
                <a:gd name="T10" fmla="*/ 0 w 45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5">
                  <a:moveTo>
                    <a:pt x="0" y="8"/>
                  </a:moveTo>
                  <a:lnTo>
                    <a:pt x="24" y="8"/>
                  </a:lnTo>
                  <a:lnTo>
                    <a:pt x="43" y="0"/>
                  </a:lnTo>
                  <a:lnTo>
                    <a:pt x="45" y="14"/>
                  </a:lnTo>
                  <a:lnTo>
                    <a:pt x="21" y="1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6" name="Freeform 490"/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4744513" y="3710836"/>
              <a:ext cx="265654" cy="390359"/>
            </a:xfrm>
            <a:custGeom>
              <a:avLst/>
              <a:gdLst>
                <a:gd name="T0" fmla="*/ 140 w 160"/>
                <a:gd name="T1" fmla="*/ 182 h 236"/>
                <a:gd name="T2" fmla="*/ 137 w 160"/>
                <a:gd name="T3" fmla="*/ 164 h 236"/>
                <a:gd name="T4" fmla="*/ 131 w 160"/>
                <a:gd name="T5" fmla="*/ 154 h 236"/>
                <a:gd name="T6" fmla="*/ 137 w 160"/>
                <a:gd name="T7" fmla="*/ 136 h 236"/>
                <a:gd name="T8" fmla="*/ 158 w 160"/>
                <a:gd name="T9" fmla="*/ 106 h 236"/>
                <a:gd name="T10" fmla="*/ 158 w 160"/>
                <a:gd name="T11" fmla="*/ 63 h 236"/>
                <a:gd name="T12" fmla="*/ 143 w 160"/>
                <a:gd name="T13" fmla="*/ 49 h 236"/>
                <a:gd name="T14" fmla="*/ 125 w 160"/>
                <a:gd name="T15" fmla="*/ 39 h 236"/>
                <a:gd name="T16" fmla="*/ 107 w 160"/>
                <a:gd name="T17" fmla="*/ 30 h 236"/>
                <a:gd name="T18" fmla="*/ 92 w 160"/>
                <a:gd name="T19" fmla="*/ 26 h 236"/>
                <a:gd name="T20" fmla="*/ 77 w 160"/>
                <a:gd name="T21" fmla="*/ 8 h 236"/>
                <a:gd name="T22" fmla="*/ 65 w 160"/>
                <a:gd name="T23" fmla="*/ 7 h 236"/>
                <a:gd name="T24" fmla="*/ 50 w 160"/>
                <a:gd name="T25" fmla="*/ 4 h 236"/>
                <a:gd name="T26" fmla="*/ 26 w 160"/>
                <a:gd name="T27" fmla="*/ 2 h 236"/>
                <a:gd name="T28" fmla="*/ 31 w 160"/>
                <a:gd name="T29" fmla="*/ 17 h 236"/>
                <a:gd name="T30" fmla="*/ 40 w 160"/>
                <a:gd name="T31" fmla="*/ 51 h 236"/>
                <a:gd name="T32" fmla="*/ 34 w 160"/>
                <a:gd name="T33" fmla="*/ 93 h 236"/>
                <a:gd name="T34" fmla="*/ 21 w 160"/>
                <a:gd name="T35" fmla="*/ 116 h 236"/>
                <a:gd name="T36" fmla="*/ 5 w 160"/>
                <a:gd name="T37" fmla="*/ 131 h 236"/>
                <a:gd name="T38" fmla="*/ 13 w 160"/>
                <a:gd name="T39" fmla="*/ 158 h 236"/>
                <a:gd name="T40" fmla="*/ 28 w 160"/>
                <a:gd name="T41" fmla="*/ 188 h 236"/>
                <a:gd name="T42" fmla="*/ 29 w 160"/>
                <a:gd name="T43" fmla="*/ 197 h 236"/>
                <a:gd name="T44" fmla="*/ 14 w 160"/>
                <a:gd name="T45" fmla="*/ 205 h 236"/>
                <a:gd name="T46" fmla="*/ 26 w 160"/>
                <a:gd name="T47" fmla="*/ 217 h 236"/>
                <a:gd name="T48" fmla="*/ 43 w 160"/>
                <a:gd name="T49" fmla="*/ 232 h 236"/>
                <a:gd name="T50" fmla="*/ 67 w 160"/>
                <a:gd name="T51" fmla="*/ 235 h 236"/>
                <a:gd name="T52" fmla="*/ 83 w 160"/>
                <a:gd name="T53" fmla="*/ 228 h 236"/>
                <a:gd name="T54" fmla="*/ 98 w 160"/>
                <a:gd name="T55" fmla="*/ 214 h 236"/>
                <a:gd name="T56" fmla="*/ 115 w 160"/>
                <a:gd name="T57" fmla="*/ 205 h 236"/>
                <a:gd name="T58" fmla="*/ 121 w 160"/>
                <a:gd name="T59" fmla="*/ 197 h 236"/>
                <a:gd name="T60" fmla="*/ 142 w 160"/>
                <a:gd name="T61" fmla="*/ 185 h 236"/>
                <a:gd name="T62" fmla="*/ 140 w 160"/>
                <a:gd name="T63" fmla="*/ 18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36">
                  <a:moveTo>
                    <a:pt x="140" y="182"/>
                  </a:moveTo>
                  <a:cubicBezTo>
                    <a:pt x="140" y="178"/>
                    <a:pt x="138" y="169"/>
                    <a:pt x="137" y="164"/>
                  </a:cubicBezTo>
                  <a:cubicBezTo>
                    <a:pt x="136" y="159"/>
                    <a:pt x="131" y="159"/>
                    <a:pt x="131" y="154"/>
                  </a:cubicBezTo>
                  <a:cubicBezTo>
                    <a:pt x="133" y="149"/>
                    <a:pt x="137" y="136"/>
                    <a:pt x="137" y="136"/>
                  </a:cubicBezTo>
                  <a:cubicBezTo>
                    <a:pt x="145" y="123"/>
                    <a:pt x="140" y="110"/>
                    <a:pt x="158" y="106"/>
                  </a:cubicBezTo>
                  <a:cubicBezTo>
                    <a:pt x="160" y="93"/>
                    <a:pt x="160" y="72"/>
                    <a:pt x="158" y="63"/>
                  </a:cubicBezTo>
                  <a:cubicBezTo>
                    <a:pt x="156" y="54"/>
                    <a:pt x="148" y="53"/>
                    <a:pt x="143" y="49"/>
                  </a:cubicBezTo>
                  <a:cubicBezTo>
                    <a:pt x="138" y="42"/>
                    <a:pt x="133" y="40"/>
                    <a:pt x="125" y="39"/>
                  </a:cubicBezTo>
                  <a:cubicBezTo>
                    <a:pt x="118" y="36"/>
                    <a:pt x="114" y="31"/>
                    <a:pt x="107" y="30"/>
                  </a:cubicBezTo>
                  <a:cubicBezTo>
                    <a:pt x="103" y="28"/>
                    <a:pt x="99" y="30"/>
                    <a:pt x="92" y="26"/>
                  </a:cubicBezTo>
                  <a:cubicBezTo>
                    <a:pt x="87" y="22"/>
                    <a:pt x="81" y="11"/>
                    <a:pt x="77" y="8"/>
                  </a:cubicBezTo>
                  <a:cubicBezTo>
                    <a:pt x="73" y="5"/>
                    <a:pt x="69" y="8"/>
                    <a:pt x="65" y="7"/>
                  </a:cubicBezTo>
                  <a:cubicBezTo>
                    <a:pt x="60" y="5"/>
                    <a:pt x="54" y="7"/>
                    <a:pt x="50" y="4"/>
                  </a:cubicBezTo>
                  <a:cubicBezTo>
                    <a:pt x="41" y="4"/>
                    <a:pt x="34" y="0"/>
                    <a:pt x="26" y="2"/>
                  </a:cubicBezTo>
                  <a:cubicBezTo>
                    <a:pt x="22" y="3"/>
                    <a:pt x="25" y="16"/>
                    <a:pt x="31" y="17"/>
                  </a:cubicBezTo>
                  <a:cubicBezTo>
                    <a:pt x="37" y="27"/>
                    <a:pt x="36" y="40"/>
                    <a:pt x="40" y="51"/>
                  </a:cubicBezTo>
                  <a:cubicBezTo>
                    <a:pt x="43" y="69"/>
                    <a:pt x="45" y="79"/>
                    <a:pt x="34" y="93"/>
                  </a:cubicBezTo>
                  <a:cubicBezTo>
                    <a:pt x="31" y="104"/>
                    <a:pt x="26" y="110"/>
                    <a:pt x="21" y="116"/>
                  </a:cubicBezTo>
                  <a:cubicBezTo>
                    <a:pt x="16" y="122"/>
                    <a:pt x="6" y="124"/>
                    <a:pt x="5" y="131"/>
                  </a:cubicBezTo>
                  <a:cubicBezTo>
                    <a:pt x="3" y="142"/>
                    <a:pt x="0" y="156"/>
                    <a:pt x="13" y="158"/>
                  </a:cubicBezTo>
                  <a:cubicBezTo>
                    <a:pt x="14" y="170"/>
                    <a:pt x="21" y="179"/>
                    <a:pt x="28" y="188"/>
                  </a:cubicBezTo>
                  <a:cubicBezTo>
                    <a:pt x="29" y="195"/>
                    <a:pt x="38" y="195"/>
                    <a:pt x="29" y="197"/>
                  </a:cubicBezTo>
                  <a:cubicBezTo>
                    <a:pt x="23" y="200"/>
                    <a:pt x="18" y="199"/>
                    <a:pt x="14" y="205"/>
                  </a:cubicBezTo>
                  <a:cubicBezTo>
                    <a:pt x="16" y="210"/>
                    <a:pt x="21" y="213"/>
                    <a:pt x="26" y="217"/>
                  </a:cubicBezTo>
                  <a:cubicBezTo>
                    <a:pt x="32" y="226"/>
                    <a:pt x="32" y="231"/>
                    <a:pt x="43" y="232"/>
                  </a:cubicBezTo>
                  <a:cubicBezTo>
                    <a:pt x="50" y="235"/>
                    <a:pt x="60" y="236"/>
                    <a:pt x="67" y="235"/>
                  </a:cubicBezTo>
                  <a:cubicBezTo>
                    <a:pt x="74" y="234"/>
                    <a:pt x="78" y="232"/>
                    <a:pt x="83" y="228"/>
                  </a:cubicBezTo>
                  <a:cubicBezTo>
                    <a:pt x="86" y="219"/>
                    <a:pt x="91" y="219"/>
                    <a:pt x="98" y="214"/>
                  </a:cubicBezTo>
                  <a:cubicBezTo>
                    <a:pt x="102" y="207"/>
                    <a:pt x="107" y="206"/>
                    <a:pt x="115" y="205"/>
                  </a:cubicBezTo>
                  <a:cubicBezTo>
                    <a:pt x="125" y="197"/>
                    <a:pt x="113" y="207"/>
                    <a:pt x="121" y="197"/>
                  </a:cubicBezTo>
                  <a:cubicBezTo>
                    <a:pt x="125" y="192"/>
                    <a:pt x="138" y="187"/>
                    <a:pt x="142" y="185"/>
                  </a:cubicBezTo>
                  <a:cubicBezTo>
                    <a:pt x="143" y="184"/>
                    <a:pt x="141" y="183"/>
                    <a:pt x="140" y="18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7" name="Freeform 491"/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5233705" y="3924643"/>
              <a:ext cx="357985" cy="270498"/>
            </a:xfrm>
            <a:custGeom>
              <a:avLst/>
              <a:gdLst>
                <a:gd name="T0" fmla="*/ 46 w 216"/>
                <a:gd name="T1" fmla="*/ 5 h 164"/>
                <a:gd name="T2" fmla="*/ 68 w 216"/>
                <a:gd name="T3" fmla="*/ 6 h 164"/>
                <a:gd name="T4" fmla="*/ 87 w 216"/>
                <a:gd name="T5" fmla="*/ 6 h 164"/>
                <a:gd name="T6" fmla="*/ 113 w 216"/>
                <a:gd name="T7" fmla="*/ 6 h 164"/>
                <a:gd name="T8" fmla="*/ 124 w 216"/>
                <a:gd name="T9" fmla="*/ 9 h 164"/>
                <a:gd name="T10" fmla="*/ 129 w 216"/>
                <a:gd name="T11" fmla="*/ 24 h 164"/>
                <a:gd name="T12" fmla="*/ 122 w 216"/>
                <a:gd name="T13" fmla="*/ 27 h 164"/>
                <a:gd name="T14" fmla="*/ 124 w 216"/>
                <a:gd name="T15" fmla="*/ 39 h 164"/>
                <a:gd name="T16" fmla="*/ 153 w 216"/>
                <a:gd name="T17" fmla="*/ 64 h 164"/>
                <a:gd name="T18" fmla="*/ 170 w 216"/>
                <a:gd name="T19" fmla="*/ 82 h 164"/>
                <a:gd name="T20" fmla="*/ 182 w 216"/>
                <a:gd name="T21" fmla="*/ 85 h 164"/>
                <a:gd name="T22" fmla="*/ 200 w 216"/>
                <a:gd name="T23" fmla="*/ 94 h 164"/>
                <a:gd name="T24" fmla="*/ 215 w 216"/>
                <a:gd name="T25" fmla="*/ 103 h 164"/>
                <a:gd name="T26" fmla="*/ 198 w 216"/>
                <a:gd name="T27" fmla="*/ 120 h 164"/>
                <a:gd name="T28" fmla="*/ 186 w 216"/>
                <a:gd name="T29" fmla="*/ 133 h 164"/>
                <a:gd name="T30" fmla="*/ 168 w 216"/>
                <a:gd name="T31" fmla="*/ 143 h 164"/>
                <a:gd name="T32" fmla="*/ 132 w 216"/>
                <a:gd name="T33" fmla="*/ 146 h 164"/>
                <a:gd name="T34" fmla="*/ 107 w 216"/>
                <a:gd name="T35" fmla="*/ 161 h 164"/>
                <a:gd name="T36" fmla="*/ 87 w 216"/>
                <a:gd name="T37" fmla="*/ 162 h 164"/>
                <a:gd name="T38" fmla="*/ 65 w 216"/>
                <a:gd name="T39" fmla="*/ 162 h 164"/>
                <a:gd name="T40" fmla="*/ 48 w 216"/>
                <a:gd name="T41" fmla="*/ 148 h 164"/>
                <a:gd name="T42" fmla="*/ 42 w 216"/>
                <a:gd name="T43" fmla="*/ 144 h 164"/>
                <a:gd name="T44" fmla="*/ 24 w 216"/>
                <a:gd name="T45" fmla="*/ 127 h 164"/>
                <a:gd name="T46" fmla="*/ 18 w 216"/>
                <a:gd name="T47" fmla="*/ 113 h 164"/>
                <a:gd name="T48" fmla="*/ 2 w 216"/>
                <a:gd name="T49" fmla="*/ 99 h 164"/>
                <a:gd name="T50" fmla="*/ 4 w 216"/>
                <a:gd name="T51" fmla="*/ 92 h 164"/>
                <a:gd name="T52" fmla="*/ 14 w 216"/>
                <a:gd name="T53" fmla="*/ 83 h 164"/>
                <a:gd name="T54" fmla="*/ 16 w 216"/>
                <a:gd name="T55" fmla="*/ 60 h 164"/>
                <a:gd name="T56" fmla="*/ 28 w 216"/>
                <a:gd name="T57" fmla="*/ 42 h 164"/>
                <a:gd name="T58" fmla="*/ 41 w 216"/>
                <a:gd name="T59" fmla="*/ 31 h 164"/>
                <a:gd name="T60" fmla="*/ 46 w 216"/>
                <a:gd name="T61" fmla="*/ 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6" h="164">
                  <a:moveTo>
                    <a:pt x="46" y="5"/>
                  </a:moveTo>
                  <a:cubicBezTo>
                    <a:pt x="50" y="0"/>
                    <a:pt x="61" y="6"/>
                    <a:pt x="68" y="6"/>
                  </a:cubicBezTo>
                  <a:cubicBezTo>
                    <a:pt x="75" y="6"/>
                    <a:pt x="80" y="6"/>
                    <a:pt x="87" y="6"/>
                  </a:cubicBezTo>
                  <a:cubicBezTo>
                    <a:pt x="94" y="6"/>
                    <a:pt x="107" y="6"/>
                    <a:pt x="113" y="6"/>
                  </a:cubicBezTo>
                  <a:cubicBezTo>
                    <a:pt x="117" y="8"/>
                    <a:pt x="121" y="5"/>
                    <a:pt x="124" y="9"/>
                  </a:cubicBezTo>
                  <a:cubicBezTo>
                    <a:pt x="126" y="11"/>
                    <a:pt x="130" y="21"/>
                    <a:pt x="129" y="24"/>
                  </a:cubicBezTo>
                  <a:cubicBezTo>
                    <a:pt x="129" y="27"/>
                    <a:pt x="123" y="25"/>
                    <a:pt x="122" y="27"/>
                  </a:cubicBezTo>
                  <a:cubicBezTo>
                    <a:pt x="121" y="28"/>
                    <a:pt x="119" y="33"/>
                    <a:pt x="124" y="39"/>
                  </a:cubicBezTo>
                  <a:cubicBezTo>
                    <a:pt x="129" y="45"/>
                    <a:pt x="145" y="57"/>
                    <a:pt x="153" y="64"/>
                  </a:cubicBezTo>
                  <a:cubicBezTo>
                    <a:pt x="156" y="69"/>
                    <a:pt x="164" y="78"/>
                    <a:pt x="170" y="82"/>
                  </a:cubicBezTo>
                  <a:cubicBezTo>
                    <a:pt x="174" y="83"/>
                    <a:pt x="182" y="85"/>
                    <a:pt x="182" y="85"/>
                  </a:cubicBezTo>
                  <a:cubicBezTo>
                    <a:pt x="186" y="88"/>
                    <a:pt x="196" y="91"/>
                    <a:pt x="200" y="94"/>
                  </a:cubicBezTo>
                  <a:cubicBezTo>
                    <a:pt x="205" y="97"/>
                    <a:pt x="215" y="99"/>
                    <a:pt x="215" y="103"/>
                  </a:cubicBezTo>
                  <a:cubicBezTo>
                    <a:pt x="216" y="108"/>
                    <a:pt x="203" y="115"/>
                    <a:pt x="198" y="120"/>
                  </a:cubicBezTo>
                  <a:cubicBezTo>
                    <a:pt x="193" y="125"/>
                    <a:pt x="191" y="129"/>
                    <a:pt x="186" y="133"/>
                  </a:cubicBezTo>
                  <a:cubicBezTo>
                    <a:pt x="178" y="138"/>
                    <a:pt x="177" y="141"/>
                    <a:pt x="168" y="143"/>
                  </a:cubicBezTo>
                  <a:cubicBezTo>
                    <a:pt x="159" y="145"/>
                    <a:pt x="142" y="143"/>
                    <a:pt x="132" y="146"/>
                  </a:cubicBezTo>
                  <a:cubicBezTo>
                    <a:pt x="122" y="156"/>
                    <a:pt x="123" y="159"/>
                    <a:pt x="107" y="161"/>
                  </a:cubicBezTo>
                  <a:cubicBezTo>
                    <a:pt x="100" y="164"/>
                    <a:pt x="94" y="162"/>
                    <a:pt x="87" y="162"/>
                  </a:cubicBezTo>
                  <a:cubicBezTo>
                    <a:pt x="80" y="162"/>
                    <a:pt x="71" y="164"/>
                    <a:pt x="65" y="162"/>
                  </a:cubicBezTo>
                  <a:cubicBezTo>
                    <a:pt x="54" y="158"/>
                    <a:pt x="62" y="157"/>
                    <a:pt x="48" y="148"/>
                  </a:cubicBezTo>
                  <a:cubicBezTo>
                    <a:pt x="46" y="147"/>
                    <a:pt x="42" y="144"/>
                    <a:pt x="42" y="144"/>
                  </a:cubicBezTo>
                  <a:cubicBezTo>
                    <a:pt x="38" y="141"/>
                    <a:pt x="29" y="133"/>
                    <a:pt x="24" y="127"/>
                  </a:cubicBezTo>
                  <a:cubicBezTo>
                    <a:pt x="20" y="122"/>
                    <a:pt x="22" y="118"/>
                    <a:pt x="18" y="113"/>
                  </a:cubicBezTo>
                  <a:cubicBezTo>
                    <a:pt x="15" y="109"/>
                    <a:pt x="2" y="99"/>
                    <a:pt x="2" y="99"/>
                  </a:cubicBezTo>
                  <a:cubicBezTo>
                    <a:pt x="0" y="95"/>
                    <a:pt x="2" y="95"/>
                    <a:pt x="4" y="92"/>
                  </a:cubicBezTo>
                  <a:cubicBezTo>
                    <a:pt x="6" y="89"/>
                    <a:pt x="12" y="88"/>
                    <a:pt x="14" y="83"/>
                  </a:cubicBezTo>
                  <a:cubicBezTo>
                    <a:pt x="17" y="76"/>
                    <a:pt x="11" y="67"/>
                    <a:pt x="16" y="60"/>
                  </a:cubicBezTo>
                  <a:cubicBezTo>
                    <a:pt x="18" y="56"/>
                    <a:pt x="25" y="45"/>
                    <a:pt x="28" y="42"/>
                  </a:cubicBezTo>
                  <a:cubicBezTo>
                    <a:pt x="31" y="39"/>
                    <a:pt x="41" y="31"/>
                    <a:pt x="41" y="31"/>
                  </a:cubicBezTo>
                  <a:cubicBezTo>
                    <a:pt x="44" y="24"/>
                    <a:pt x="50" y="13"/>
                    <a:pt x="46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8" name="Freeform 492"/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4778530" y="4010489"/>
              <a:ext cx="312630" cy="197609"/>
            </a:xfrm>
            <a:custGeom>
              <a:avLst/>
              <a:gdLst>
                <a:gd name="T0" fmla="*/ 11 w 188"/>
                <a:gd name="T1" fmla="*/ 49 h 119"/>
                <a:gd name="T2" fmla="*/ 47 w 188"/>
                <a:gd name="T3" fmla="*/ 52 h 119"/>
                <a:gd name="T4" fmla="*/ 65 w 188"/>
                <a:gd name="T5" fmla="*/ 40 h 119"/>
                <a:gd name="T6" fmla="*/ 97 w 188"/>
                <a:gd name="T7" fmla="*/ 17 h 119"/>
                <a:gd name="T8" fmla="*/ 121 w 188"/>
                <a:gd name="T9" fmla="*/ 0 h 119"/>
                <a:gd name="T10" fmla="*/ 130 w 188"/>
                <a:gd name="T11" fmla="*/ 14 h 119"/>
                <a:gd name="T12" fmla="*/ 136 w 188"/>
                <a:gd name="T13" fmla="*/ 29 h 119"/>
                <a:gd name="T14" fmla="*/ 144 w 188"/>
                <a:gd name="T15" fmla="*/ 41 h 119"/>
                <a:gd name="T16" fmla="*/ 156 w 188"/>
                <a:gd name="T17" fmla="*/ 48 h 119"/>
                <a:gd name="T18" fmla="*/ 164 w 188"/>
                <a:gd name="T19" fmla="*/ 59 h 119"/>
                <a:gd name="T20" fmla="*/ 180 w 188"/>
                <a:gd name="T21" fmla="*/ 77 h 119"/>
                <a:gd name="T22" fmla="*/ 188 w 188"/>
                <a:gd name="T23" fmla="*/ 87 h 119"/>
                <a:gd name="T24" fmla="*/ 169 w 188"/>
                <a:gd name="T25" fmla="*/ 88 h 119"/>
                <a:gd name="T26" fmla="*/ 152 w 188"/>
                <a:gd name="T27" fmla="*/ 93 h 119"/>
                <a:gd name="T28" fmla="*/ 136 w 188"/>
                <a:gd name="T29" fmla="*/ 91 h 119"/>
                <a:gd name="T30" fmla="*/ 106 w 188"/>
                <a:gd name="T31" fmla="*/ 102 h 119"/>
                <a:gd name="T32" fmla="*/ 86 w 188"/>
                <a:gd name="T33" fmla="*/ 96 h 119"/>
                <a:gd name="T34" fmla="*/ 68 w 188"/>
                <a:gd name="T35" fmla="*/ 91 h 119"/>
                <a:gd name="T36" fmla="*/ 55 w 188"/>
                <a:gd name="T37" fmla="*/ 110 h 119"/>
                <a:gd name="T38" fmla="*/ 34 w 188"/>
                <a:gd name="T39" fmla="*/ 110 h 119"/>
                <a:gd name="T40" fmla="*/ 19 w 188"/>
                <a:gd name="T41" fmla="*/ 116 h 119"/>
                <a:gd name="T42" fmla="*/ 7 w 188"/>
                <a:gd name="T43" fmla="*/ 91 h 119"/>
                <a:gd name="T44" fmla="*/ 10 w 188"/>
                <a:gd name="T45" fmla="*/ 58 h 119"/>
                <a:gd name="T46" fmla="*/ 11 w 188"/>
                <a:gd name="T47" fmla="*/ 4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" h="119">
                  <a:moveTo>
                    <a:pt x="11" y="49"/>
                  </a:moveTo>
                  <a:cubicBezTo>
                    <a:pt x="16" y="48"/>
                    <a:pt x="38" y="53"/>
                    <a:pt x="47" y="52"/>
                  </a:cubicBezTo>
                  <a:cubicBezTo>
                    <a:pt x="56" y="51"/>
                    <a:pt x="62" y="43"/>
                    <a:pt x="65" y="40"/>
                  </a:cubicBezTo>
                  <a:cubicBezTo>
                    <a:pt x="73" y="34"/>
                    <a:pt x="88" y="23"/>
                    <a:pt x="97" y="17"/>
                  </a:cubicBezTo>
                  <a:cubicBezTo>
                    <a:pt x="98" y="10"/>
                    <a:pt x="114" y="3"/>
                    <a:pt x="121" y="0"/>
                  </a:cubicBezTo>
                  <a:cubicBezTo>
                    <a:pt x="124" y="5"/>
                    <a:pt x="127" y="9"/>
                    <a:pt x="130" y="14"/>
                  </a:cubicBezTo>
                  <a:cubicBezTo>
                    <a:pt x="133" y="19"/>
                    <a:pt x="132" y="24"/>
                    <a:pt x="136" y="29"/>
                  </a:cubicBezTo>
                  <a:cubicBezTo>
                    <a:pt x="138" y="33"/>
                    <a:pt x="141" y="38"/>
                    <a:pt x="144" y="41"/>
                  </a:cubicBezTo>
                  <a:cubicBezTo>
                    <a:pt x="147" y="45"/>
                    <a:pt x="153" y="45"/>
                    <a:pt x="156" y="48"/>
                  </a:cubicBezTo>
                  <a:cubicBezTo>
                    <a:pt x="159" y="51"/>
                    <a:pt x="160" y="54"/>
                    <a:pt x="164" y="59"/>
                  </a:cubicBezTo>
                  <a:cubicBezTo>
                    <a:pt x="170" y="65"/>
                    <a:pt x="171" y="75"/>
                    <a:pt x="180" y="77"/>
                  </a:cubicBezTo>
                  <a:cubicBezTo>
                    <a:pt x="181" y="83"/>
                    <a:pt x="187" y="81"/>
                    <a:pt x="188" y="87"/>
                  </a:cubicBezTo>
                  <a:cubicBezTo>
                    <a:pt x="187" y="90"/>
                    <a:pt x="175" y="87"/>
                    <a:pt x="169" y="88"/>
                  </a:cubicBezTo>
                  <a:cubicBezTo>
                    <a:pt x="163" y="89"/>
                    <a:pt x="157" y="93"/>
                    <a:pt x="152" y="93"/>
                  </a:cubicBezTo>
                  <a:cubicBezTo>
                    <a:pt x="143" y="95"/>
                    <a:pt x="143" y="89"/>
                    <a:pt x="136" y="91"/>
                  </a:cubicBezTo>
                  <a:cubicBezTo>
                    <a:pt x="128" y="93"/>
                    <a:pt x="114" y="101"/>
                    <a:pt x="106" y="102"/>
                  </a:cubicBezTo>
                  <a:cubicBezTo>
                    <a:pt x="96" y="109"/>
                    <a:pt x="96" y="98"/>
                    <a:pt x="86" y="96"/>
                  </a:cubicBezTo>
                  <a:cubicBezTo>
                    <a:pt x="79" y="91"/>
                    <a:pt x="78" y="90"/>
                    <a:pt x="68" y="91"/>
                  </a:cubicBezTo>
                  <a:cubicBezTo>
                    <a:pt x="63" y="92"/>
                    <a:pt x="63" y="106"/>
                    <a:pt x="55" y="110"/>
                  </a:cubicBezTo>
                  <a:cubicBezTo>
                    <a:pt x="49" y="113"/>
                    <a:pt x="40" y="109"/>
                    <a:pt x="34" y="110"/>
                  </a:cubicBezTo>
                  <a:cubicBezTo>
                    <a:pt x="28" y="111"/>
                    <a:pt x="23" y="119"/>
                    <a:pt x="19" y="116"/>
                  </a:cubicBezTo>
                  <a:cubicBezTo>
                    <a:pt x="0" y="113"/>
                    <a:pt x="16" y="103"/>
                    <a:pt x="7" y="91"/>
                  </a:cubicBezTo>
                  <a:cubicBezTo>
                    <a:pt x="4" y="76"/>
                    <a:pt x="1" y="69"/>
                    <a:pt x="10" y="58"/>
                  </a:cubicBezTo>
                  <a:cubicBezTo>
                    <a:pt x="11" y="50"/>
                    <a:pt x="11" y="53"/>
                    <a:pt x="11" y="4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9" name="Freeform 494"/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4966433" y="3733513"/>
              <a:ext cx="387142" cy="335288"/>
            </a:xfrm>
            <a:custGeom>
              <a:avLst/>
              <a:gdLst>
                <a:gd name="T0" fmla="*/ 12 w 234"/>
                <a:gd name="T1" fmla="*/ 101 h 203"/>
                <a:gd name="T2" fmla="*/ 24 w 234"/>
                <a:gd name="T3" fmla="*/ 87 h 203"/>
                <a:gd name="T4" fmla="*/ 26 w 234"/>
                <a:gd name="T5" fmla="*/ 36 h 203"/>
                <a:gd name="T6" fmla="*/ 41 w 234"/>
                <a:gd name="T7" fmla="*/ 37 h 203"/>
                <a:gd name="T8" fmla="*/ 40 w 234"/>
                <a:gd name="T9" fmla="*/ 7 h 203"/>
                <a:gd name="T10" fmla="*/ 152 w 234"/>
                <a:gd name="T11" fmla="*/ 7 h 203"/>
                <a:gd name="T12" fmla="*/ 181 w 234"/>
                <a:gd name="T13" fmla="*/ 8 h 203"/>
                <a:gd name="T14" fmla="*/ 209 w 234"/>
                <a:gd name="T15" fmla="*/ 0 h 203"/>
                <a:gd name="T16" fmla="*/ 216 w 234"/>
                <a:gd name="T17" fmla="*/ 8 h 203"/>
                <a:gd name="T18" fmla="*/ 218 w 234"/>
                <a:gd name="T19" fmla="*/ 13 h 203"/>
                <a:gd name="T20" fmla="*/ 220 w 234"/>
                <a:gd name="T21" fmla="*/ 22 h 203"/>
                <a:gd name="T22" fmla="*/ 221 w 234"/>
                <a:gd name="T23" fmla="*/ 36 h 203"/>
                <a:gd name="T24" fmla="*/ 234 w 234"/>
                <a:gd name="T25" fmla="*/ 60 h 203"/>
                <a:gd name="T26" fmla="*/ 224 w 234"/>
                <a:gd name="T27" fmla="*/ 78 h 203"/>
                <a:gd name="T28" fmla="*/ 213 w 234"/>
                <a:gd name="T29" fmla="*/ 93 h 203"/>
                <a:gd name="T30" fmla="*/ 211 w 234"/>
                <a:gd name="T31" fmla="*/ 106 h 203"/>
                <a:gd name="T32" fmla="*/ 209 w 234"/>
                <a:gd name="T33" fmla="*/ 112 h 203"/>
                <a:gd name="T34" fmla="*/ 207 w 234"/>
                <a:gd name="T35" fmla="*/ 136 h 203"/>
                <a:gd name="T36" fmla="*/ 199 w 234"/>
                <a:gd name="T37" fmla="*/ 146 h 203"/>
                <a:gd name="T38" fmla="*/ 192 w 234"/>
                <a:gd name="T39" fmla="*/ 157 h 203"/>
                <a:gd name="T40" fmla="*/ 189 w 234"/>
                <a:gd name="T41" fmla="*/ 160 h 203"/>
                <a:gd name="T42" fmla="*/ 181 w 234"/>
                <a:gd name="T43" fmla="*/ 174 h 203"/>
                <a:gd name="T44" fmla="*/ 176 w 234"/>
                <a:gd name="T45" fmla="*/ 190 h 203"/>
                <a:gd name="T46" fmla="*/ 173 w 234"/>
                <a:gd name="T47" fmla="*/ 187 h 203"/>
                <a:gd name="T48" fmla="*/ 162 w 234"/>
                <a:gd name="T49" fmla="*/ 163 h 203"/>
                <a:gd name="T50" fmla="*/ 156 w 234"/>
                <a:gd name="T51" fmla="*/ 156 h 203"/>
                <a:gd name="T52" fmla="*/ 152 w 234"/>
                <a:gd name="T53" fmla="*/ 160 h 203"/>
                <a:gd name="T54" fmla="*/ 145 w 234"/>
                <a:gd name="T55" fmla="*/ 177 h 203"/>
                <a:gd name="T56" fmla="*/ 129 w 234"/>
                <a:gd name="T57" fmla="*/ 189 h 203"/>
                <a:gd name="T58" fmla="*/ 116 w 234"/>
                <a:gd name="T59" fmla="*/ 179 h 203"/>
                <a:gd name="T60" fmla="*/ 106 w 234"/>
                <a:gd name="T61" fmla="*/ 187 h 203"/>
                <a:gd name="T62" fmla="*/ 93 w 234"/>
                <a:gd name="T63" fmla="*/ 193 h 203"/>
                <a:gd name="T64" fmla="*/ 86 w 234"/>
                <a:gd name="T65" fmla="*/ 194 h 203"/>
                <a:gd name="T66" fmla="*/ 63 w 234"/>
                <a:gd name="T67" fmla="*/ 191 h 203"/>
                <a:gd name="T68" fmla="*/ 53 w 234"/>
                <a:gd name="T69" fmla="*/ 179 h 203"/>
                <a:gd name="T70" fmla="*/ 39 w 234"/>
                <a:gd name="T71" fmla="*/ 183 h 203"/>
                <a:gd name="T72" fmla="*/ 36 w 234"/>
                <a:gd name="T73" fmla="*/ 194 h 203"/>
                <a:gd name="T74" fmla="*/ 29 w 234"/>
                <a:gd name="T75" fmla="*/ 203 h 203"/>
                <a:gd name="T76" fmla="*/ 21 w 234"/>
                <a:gd name="T77" fmla="*/ 193 h 203"/>
                <a:gd name="T78" fmla="*/ 13 w 234"/>
                <a:gd name="T79" fmla="*/ 177 h 203"/>
                <a:gd name="T80" fmla="*/ 4 w 234"/>
                <a:gd name="T81" fmla="*/ 159 h 203"/>
                <a:gd name="T82" fmla="*/ 0 w 234"/>
                <a:gd name="T83" fmla="*/ 140 h 203"/>
                <a:gd name="T84" fmla="*/ 4 w 234"/>
                <a:gd name="T85" fmla="*/ 125 h 203"/>
                <a:gd name="T86" fmla="*/ 10 w 234"/>
                <a:gd name="T87" fmla="*/ 115 h 203"/>
                <a:gd name="T88" fmla="*/ 9 w 234"/>
                <a:gd name="T89" fmla="*/ 111 h 203"/>
                <a:gd name="T90" fmla="*/ 12 w 234"/>
                <a:gd name="T91" fmla="*/ 10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4" h="203">
                  <a:moveTo>
                    <a:pt x="12" y="101"/>
                  </a:moveTo>
                  <a:lnTo>
                    <a:pt x="24" y="87"/>
                  </a:lnTo>
                  <a:lnTo>
                    <a:pt x="26" y="36"/>
                  </a:lnTo>
                  <a:lnTo>
                    <a:pt x="41" y="37"/>
                  </a:lnTo>
                  <a:lnTo>
                    <a:pt x="40" y="7"/>
                  </a:lnTo>
                  <a:lnTo>
                    <a:pt x="152" y="7"/>
                  </a:lnTo>
                  <a:lnTo>
                    <a:pt x="181" y="8"/>
                  </a:lnTo>
                  <a:lnTo>
                    <a:pt x="209" y="0"/>
                  </a:lnTo>
                  <a:cubicBezTo>
                    <a:pt x="213" y="2"/>
                    <a:pt x="214" y="6"/>
                    <a:pt x="216" y="8"/>
                  </a:cubicBezTo>
                  <a:cubicBezTo>
                    <a:pt x="217" y="10"/>
                    <a:pt x="217" y="12"/>
                    <a:pt x="218" y="13"/>
                  </a:cubicBezTo>
                  <a:cubicBezTo>
                    <a:pt x="218" y="16"/>
                    <a:pt x="219" y="19"/>
                    <a:pt x="220" y="22"/>
                  </a:cubicBezTo>
                  <a:cubicBezTo>
                    <a:pt x="221" y="26"/>
                    <a:pt x="219" y="30"/>
                    <a:pt x="221" y="36"/>
                  </a:cubicBezTo>
                  <a:cubicBezTo>
                    <a:pt x="224" y="43"/>
                    <a:pt x="233" y="53"/>
                    <a:pt x="234" y="60"/>
                  </a:cubicBezTo>
                  <a:cubicBezTo>
                    <a:pt x="234" y="67"/>
                    <a:pt x="227" y="74"/>
                    <a:pt x="224" y="78"/>
                  </a:cubicBezTo>
                  <a:cubicBezTo>
                    <a:pt x="221" y="83"/>
                    <a:pt x="215" y="89"/>
                    <a:pt x="213" y="93"/>
                  </a:cubicBezTo>
                  <a:cubicBezTo>
                    <a:pt x="211" y="97"/>
                    <a:pt x="214" y="101"/>
                    <a:pt x="211" y="106"/>
                  </a:cubicBezTo>
                  <a:cubicBezTo>
                    <a:pt x="210" y="108"/>
                    <a:pt x="210" y="110"/>
                    <a:pt x="209" y="112"/>
                  </a:cubicBezTo>
                  <a:cubicBezTo>
                    <a:pt x="211" y="117"/>
                    <a:pt x="213" y="132"/>
                    <a:pt x="207" y="136"/>
                  </a:cubicBezTo>
                  <a:cubicBezTo>
                    <a:pt x="204" y="143"/>
                    <a:pt x="209" y="145"/>
                    <a:pt x="199" y="146"/>
                  </a:cubicBezTo>
                  <a:cubicBezTo>
                    <a:pt x="197" y="149"/>
                    <a:pt x="194" y="155"/>
                    <a:pt x="192" y="157"/>
                  </a:cubicBezTo>
                  <a:cubicBezTo>
                    <a:pt x="191" y="158"/>
                    <a:pt x="189" y="160"/>
                    <a:pt x="189" y="160"/>
                  </a:cubicBezTo>
                  <a:cubicBezTo>
                    <a:pt x="187" y="163"/>
                    <a:pt x="183" y="171"/>
                    <a:pt x="181" y="174"/>
                  </a:cubicBezTo>
                  <a:cubicBezTo>
                    <a:pt x="179" y="179"/>
                    <a:pt x="177" y="188"/>
                    <a:pt x="176" y="190"/>
                  </a:cubicBezTo>
                  <a:cubicBezTo>
                    <a:pt x="175" y="191"/>
                    <a:pt x="174" y="189"/>
                    <a:pt x="173" y="187"/>
                  </a:cubicBezTo>
                  <a:cubicBezTo>
                    <a:pt x="171" y="183"/>
                    <a:pt x="165" y="168"/>
                    <a:pt x="162" y="163"/>
                  </a:cubicBezTo>
                  <a:cubicBezTo>
                    <a:pt x="160" y="160"/>
                    <a:pt x="158" y="157"/>
                    <a:pt x="156" y="156"/>
                  </a:cubicBezTo>
                  <a:cubicBezTo>
                    <a:pt x="155" y="157"/>
                    <a:pt x="154" y="157"/>
                    <a:pt x="152" y="160"/>
                  </a:cubicBezTo>
                  <a:lnTo>
                    <a:pt x="145" y="177"/>
                  </a:lnTo>
                  <a:lnTo>
                    <a:pt x="129" y="189"/>
                  </a:lnTo>
                  <a:lnTo>
                    <a:pt x="116" y="179"/>
                  </a:lnTo>
                  <a:cubicBezTo>
                    <a:pt x="112" y="179"/>
                    <a:pt x="109" y="185"/>
                    <a:pt x="106" y="187"/>
                  </a:cubicBezTo>
                  <a:cubicBezTo>
                    <a:pt x="102" y="189"/>
                    <a:pt x="96" y="192"/>
                    <a:pt x="93" y="193"/>
                  </a:cubicBezTo>
                  <a:cubicBezTo>
                    <a:pt x="91" y="194"/>
                    <a:pt x="89" y="194"/>
                    <a:pt x="86" y="194"/>
                  </a:cubicBezTo>
                  <a:cubicBezTo>
                    <a:pt x="83" y="186"/>
                    <a:pt x="69" y="191"/>
                    <a:pt x="63" y="191"/>
                  </a:cubicBezTo>
                  <a:cubicBezTo>
                    <a:pt x="61" y="187"/>
                    <a:pt x="57" y="181"/>
                    <a:pt x="53" y="179"/>
                  </a:cubicBezTo>
                  <a:cubicBezTo>
                    <a:pt x="36" y="179"/>
                    <a:pt x="46" y="178"/>
                    <a:pt x="39" y="183"/>
                  </a:cubicBezTo>
                  <a:cubicBezTo>
                    <a:pt x="37" y="187"/>
                    <a:pt x="37" y="190"/>
                    <a:pt x="36" y="194"/>
                  </a:cubicBezTo>
                  <a:cubicBezTo>
                    <a:pt x="35" y="197"/>
                    <a:pt x="32" y="201"/>
                    <a:pt x="29" y="203"/>
                  </a:cubicBezTo>
                  <a:cubicBezTo>
                    <a:pt x="27" y="203"/>
                    <a:pt x="23" y="196"/>
                    <a:pt x="21" y="193"/>
                  </a:cubicBezTo>
                  <a:cubicBezTo>
                    <a:pt x="18" y="189"/>
                    <a:pt x="16" y="183"/>
                    <a:pt x="13" y="177"/>
                  </a:cubicBezTo>
                  <a:cubicBezTo>
                    <a:pt x="10" y="173"/>
                    <a:pt x="6" y="165"/>
                    <a:pt x="4" y="159"/>
                  </a:cubicBezTo>
                  <a:cubicBezTo>
                    <a:pt x="3" y="155"/>
                    <a:pt x="0" y="146"/>
                    <a:pt x="0" y="140"/>
                  </a:cubicBezTo>
                  <a:cubicBezTo>
                    <a:pt x="0" y="134"/>
                    <a:pt x="2" y="129"/>
                    <a:pt x="4" y="125"/>
                  </a:cubicBezTo>
                  <a:cubicBezTo>
                    <a:pt x="0" y="120"/>
                    <a:pt x="5" y="116"/>
                    <a:pt x="10" y="115"/>
                  </a:cubicBezTo>
                  <a:cubicBezTo>
                    <a:pt x="9" y="114"/>
                    <a:pt x="7" y="113"/>
                    <a:pt x="9" y="111"/>
                  </a:cubicBezTo>
                  <a:cubicBezTo>
                    <a:pt x="10" y="106"/>
                    <a:pt x="9" y="113"/>
                    <a:pt x="12" y="10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0" name="Freeform 493"/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5013407" y="3982953"/>
              <a:ext cx="291571" cy="208948"/>
            </a:xfrm>
            <a:custGeom>
              <a:avLst/>
              <a:gdLst>
                <a:gd name="T0" fmla="*/ 177 w 177"/>
                <a:gd name="T1" fmla="*/ 113 h 126"/>
                <a:gd name="T2" fmla="*/ 151 w 177"/>
                <a:gd name="T3" fmla="*/ 111 h 126"/>
                <a:gd name="T4" fmla="*/ 142 w 177"/>
                <a:gd name="T5" fmla="*/ 117 h 126"/>
                <a:gd name="T6" fmla="*/ 134 w 177"/>
                <a:gd name="T7" fmla="*/ 123 h 126"/>
                <a:gd name="T8" fmla="*/ 127 w 177"/>
                <a:gd name="T9" fmla="*/ 122 h 126"/>
                <a:gd name="T10" fmla="*/ 113 w 177"/>
                <a:gd name="T11" fmla="*/ 122 h 126"/>
                <a:gd name="T12" fmla="*/ 110 w 177"/>
                <a:gd name="T13" fmla="*/ 126 h 126"/>
                <a:gd name="T14" fmla="*/ 94 w 177"/>
                <a:gd name="T15" fmla="*/ 125 h 126"/>
                <a:gd name="T16" fmla="*/ 87 w 177"/>
                <a:gd name="T17" fmla="*/ 118 h 126"/>
                <a:gd name="T18" fmla="*/ 74 w 177"/>
                <a:gd name="T19" fmla="*/ 113 h 126"/>
                <a:gd name="T20" fmla="*/ 63 w 177"/>
                <a:gd name="T21" fmla="*/ 115 h 126"/>
                <a:gd name="T22" fmla="*/ 50 w 177"/>
                <a:gd name="T23" fmla="*/ 107 h 126"/>
                <a:gd name="T24" fmla="*/ 49 w 177"/>
                <a:gd name="T25" fmla="*/ 105 h 126"/>
                <a:gd name="T26" fmla="*/ 45 w 177"/>
                <a:gd name="T27" fmla="*/ 102 h 126"/>
                <a:gd name="T28" fmla="*/ 32 w 177"/>
                <a:gd name="T29" fmla="*/ 87 h 126"/>
                <a:gd name="T30" fmla="*/ 29 w 177"/>
                <a:gd name="T31" fmla="*/ 81 h 126"/>
                <a:gd name="T32" fmla="*/ 18 w 177"/>
                <a:gd name="T33" fmla="*/ 73 h 126"/>
                <a:gd name="T34" fmla="*/ 12 w 177"/>
                <a:gd name="T35" fmla="*/ 63 h 126"/>
                <a:gd name="T36" fmla="*/ 3 w 177"/>
                <a:gd name="T37" fmla="*/ 59 h 126"/>
                <a:gd name="T38" fmla="*/ 0 w 177"/>
                <a:gd name="T39" fmla="*/ 57 h 126"/>
                <a:gd name="T40" fmla="*/ 4 w 177"/>
                <a:gd name="T41" fmla="*/ 49 h 126"/>
                <a:gd name="T42" fmla="*/ 9 w 177"/>
                <a:gd name="T43" fmla="*/ 35 h 126"/>
                <a:gd name="T44" fmla="*/ 13 w 177"/>
                <a:gd name="T45" fmla="*/ 30 h 126"/>
                <a:gd name="T46" fmla="*/ 25 w 177"/>
                <a:gd name="T47" fmla="*/ 28 h 126"/>
                <a:gd name="T48" fmla="*/ 35 w 177"/>
                <a:gd name="T49" fmla="*/ 37 h 126"/>
                <a:gd name="T50" fmla="*/ 44 w 177"/>
                <a:gd name="T51" fmla="*/ 38 h 126"/>
                <a:gd name="T52" fmla="*/ 59 w 177"/>
                <a:gd name="T53" fmla="*/ 42 h 126"/>
                <a:gd name="T54" fmla="*/ 69 w 177"/>
                <a:gd name="T55" fmla="*/ 41 h 126"/>
                <a:gd name="T56" fmla="*/ 70 w 177"/>
                <a:gd name="T57" fmla="*/ 39 h 126"/>
                <a:gd name="T58" fmla="*/ 81 w 177"/>
                <a:gd name="T59" fmla="*/ 31 h 126"/>
                <a:gd name="T60" fmla="*/ 87 w 177"/>
                <a:gd name="T61" fmla="*/ 27 h 126"/>
                <a:gd name="T62" fmla="*/ 101 w 177"/>
                <a:gd name="T63" fmla="*/ 37 h 126"/>
                <a:gd name="T64" fmla="*/ 107 w 177"/>
                <a:gd name="T65" fmla="*/ 37 h 126"/>
                <a:gd name="T66" fmla="*/ 116 w 177"/>
                <a:gd name="T67" fmla="*/ 26 h 126"/>
                <a:gd name="T68" fmla="*/ 123 w 177"/>
                <a:gd name="T69" fmla="*/ 20 h 126"/>
                <a:gd name="T70" fmla="*/ 124 w 177"/>
                <a:gd name="T71" fmla="*/ 8 h 126"/>
                <a:gd name="T72" fmla="*/ 119 w 177"/>
                <a:gd name="T73" fmla="*/ 4 h 126"/>
                <a:gd name="T74" fmla="*/ 130 w 177"/>
                <a:gd name="T75" fmla="*/ 0 h 126"/>
                <a:gd name="T76" fmla="*/ 134 w 177"/>
                <a:gd name="T77" fmla="*/ 15 h 126"/>
                <a:gd name="T78" fmla="*/ 141 w 177"/>
                <a:gd name="T79" fmla="*/ 25 h 126"/>
                <a:gd name="T80" fmla="*/ 147 w 177"/>
                <a:gd name="T81" fmla="*/ 41 h 126"/>
                <a:gd name="T82" fmla="*/ 144 w 177"/>
                <a:gd name="T83" fmla="*/ 54 h 126"/>
                <a:gd name="T84" fmla="*/ 136 w 177"/>
                <a:gd name="T85" fmla="*/ 56 h 126"/>
                <a:gd name="T86" fmla="*/ 132 w 177"/>
                <a:gd name="T87" fmla="*/ 63 h 126"/>
                <a:gd name="T88" fmla="*/ 140 w 177"/>
                <a:gd name="T89" fmla="*/ 66 h 126"/>
                <a:gd name="T90" fmla="*/ 153 w 177"/>
                <a:gd name="T91" fmla="*/ 80 h 126"/>
                <a:gd name="T92" fmla="*/ 159 w 177"/>
                <a:gd name="T93" fmla="*/ 85 h 126"/>
                <a:gd name="T94" fmla="*/ 164 w 177"/>
                <a:gd name="T95" fmla="*/ 98 h 126"/>
                <a:gd name="T96" fmla="*/ 166 w 177"/>
                <a:gd name="T97" fmla="*/ 101 h 126"/>
                <a:gd name="T98" fmla="*/ 177 w 177"/>
                <a:gd name="T99" fmla="*/ 1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" h="126">
                  <a:moveTo>
                    <a:pt x="177" y="113"/>
                  </a:moveTo>
                  <a:lnTo>
                    <a:pt x="151" y="111"/>
                  </a:lnTo>
                  <a:cubicBezTo>
                    <a:pt x="148" y="114"/>
                    <a:pt x="145" y="115"/>
                    <a:pt x="142" y="117"/>
                  </a:cubicBezTo>
                  <a:cubicBezTo>
                    <a:pt x="141" y="121"/>
                    <a:pt x="137" y="122"/>
                    <a:pt x="134" y="123"/>
                  </a:cubicBezTo>
                  <a:cubicBezTo>
                    <a:pt x="131" y="121"/>
                    <a:pt x="130" y="122"/>
                    <a:pt x="127" y="122"/>
                  </a:cubicBezTo>
                  <a:cubicBezTo>
                    <a:pt x="124" y="122"/>
                    <a:pt x="116" y="121"/>
                    <a:pt x="113" y="122"/>
                  </a:cubicBezTo>
                  <a:cubicBezTo>
                    <a:pt x="111" y="122"/>
                    <a:pt x="110" y="123"/>
                    <a:pt x="110" y="126"/>
                  </a:cubicBezTo>
                  <a:cubicBezTo>
                    <a:pt x="107" y="126"/>
                    <a:pt x="98" y="126"/>
                    <a:pt x="94" y="125"/>
                  </a:cubicBezTo>
                  <a:cubicBezTo>
                    <a:pt x="94" y="123"/>
                    <a:pt x="89" y="118"/>
                    <a:pt x="87" y="118"/>
                  </a:cubicBezTo>
                  <a:cubicBezTo>
                    <a:pt x="84" y="116"/>
                    <a:pt x="76" y="114"/>
                    <a:pt x="74" y="113"/>
                  </a:cubicBezTo>
                  <a:cubicBezTo>
                    <a:pt x="70" y="112"/>
                    <a:pt x="66" y="115"/>
                    <a:pt x="63" y="115"/>
                  </a:cubicBezTo>
                  <a:cubicBezTo>
                    <a:pt x="59" y="114"/>
                    <a:pt x="52" y="109"/>
                    <a:pt x="50" y="107"/>
                  </a:cubicBezTo>
                  <a:cubicBezTo>
                    <a:pt x="50" y="106"/>
                    <a:pt x="50" y="106"/>
                    <a:pt x="49" y="105"/>
                  </a:cubicBezTo>
                  <a:cubicBezTo>
                    <a:pt x="48" y="105"/>
                    <a:pt x="47" y="104"/>
                    <a:pt x="45" y="102"/>
                  </a:cubicBezTo>
                  <a:cubicBezTo>
                    <a:pt x="42" y="99"/>
                    <a:pt x="35" y="90"/>
                    <a:pt x="32" y="87"/>
                  </a:cubicBezTo>
                  <a:cubicBezTo>
                    <a:pt x="30" y="84"/>
                    <a:pt x="33" y="81"/>
                    <a:pt x="29" y="81"/>
                  </a:cubicBezTo>
                  <a:cubicBezTo>
                    <a:pt x="27" y="79"/>
                    <a:pt x="20" y="75"/>
                    <a:pt x="18" y="73"/>
                  </a:cubicBezTo>
                  <a:cubicBezTo>
                    <a:pt x="15" y="70"/>
                    <a:pt x="14" y="65"/>
                    <a:pt x="12" y="63"/>
                  </a:cubicBezTo>
                  <a:cubicBezTo>
                    <a:pt x="7" y="61"/>
                    <a:pt x="9" y="60"/>
                    <a:pt x="3" y="59"/>
                  </a:cubicBezTo>
                  <a:cubicBezTo>
                    <a:pt x="2" y="58"/>
                    <a:pt x="0" y="59"/>
                    <a:pt x="0" y="57"/>
                  </a:cubicBezTo>
                  <a:cubicBezTo>
                    <a:pt x="0" y="53"/>
                    <a:pt x="1" y="50"/>
                    <a:pt x="4" y="49"/>
                  </a:cubicBezTo>
                  <a:cubicBezTo>
                    <a:pt x="6" y="45"/>
                    <a:pt x="8" y="38"/>
                    <a:pt x="9" y="35"/>
                  </a:cubicBezTo>
                  <a:cubicBezTo>
                    <a:pt x="10" y="32"/>
                    <a:pt x="11" y="32"/>
                    <a:pt x="13" y="30"/>
                  </a:cubicBezTo>
                  <a:cubicBezTo>
                    <a:pt x="16" y="26"/>
                    <a:pt x="18" y="28"/>
                    <a:pt x="25" y="28"/>
                  </a:cubicBezTo>
                  <a:cubicBezTo>
                    <a:pt x="29" y="29"/>
                    <a:pt x="32" y="35"/>
                    <a:pt x="35" y="37"/>
                  </a:cubicBezTo>
                  <a:cubicBezTo>
                    <a:pt x="35" y="42"/>
                    <a:pt x="39" y="39"/>
                    <a:pt x="44" y="38"/>
                  </a:cubicBezTo>
                  <a:cubicBezTo>
                    <a:pt x="48" y="39"/>
                    <a:pt x="55" y="42"/>
                    <a:pt x="59" y="42"/>
                  </a:cubicBezTo>
                  <a:cubicBezTo>
                    <a:pt x="62" y="42"/>
                    <a:pt x="66" y="43"/>
                    <a:pt x="69" y="41"/>
                  </a:cubicBezTo>
                  <a:cubicBezTo>
                    <a:pt x="70" y="40"/>
                    <a:pt x="69" y="39"/>
                    <a:pt x="70" y="39"/>
                  </a:cubicBezTo>
                  <a:cubicBezTo>
                    <a:pt x="72" y="37"/>
                    <a:pt x="78" y="33"/>
                    <a:pt x="81" y="31"/>
                  </a:cubicBezTo>
                  <a:cubicBezTo>
                    <a:pt x="83" y="30"/>
                    <a:pt x="87" y="27"/>
                    <a:pt x="87" y="27"/>
                  </a:cubicBezTo>
                  <a:lnTo>
                    <a:pt x="101" y="37"/>
                  </a:lnTo>
                  <a:lnTo>
                    <a:pt x="107" y="37"/>
                  </a:lnTo>
                  <a:lnTo>
                    <a:pt x="116" y="26"/>
                  </a:lnTo>
                  <a:lnTo>
                    <a:pt x="123" y="20"/>
                  </a:lnTo>
                  <a:lnTo>
                    <a:pt x="124" y="8"/>
                  </a:lnTo>
                  <a:lnTo>
                    <a:pt x="119" y="4"/>
                  </a:lnTo>
                  <a:cubicBezTo>
                    <a:pt x="129" y="4"/>
                    <a:pt x="129" y="6"/>
                    <a:pt x="130" y="0"/>
                  </a:cubicBezTo>
                  <a:cubicBezTo>
                    <a:pt x="136" y="1"/>
                    <a:pt x="132" y="10"/>
                    <a:pt x="134" y="15"/>
                  </a:cubicBezTo>
                  <a:cubicBezTo>
                    <a:pt x="135" y="20"/>
                    <a:pt x="135" y="24"/>
                    <a:pt x="141" y="25"/>
                  </a:cubicBezTo>
                  <a:cubicBezTo>
                    <a:pt x="143" y="29"/>
                    <a:pt x="147" y="36"/>
                    <a:pt x="147" y="41"/>
                  </a:cubicBezTo>
                  <a:cubicBezTo>
                    <a:pt x="147" y="48"/>
                    <a:pt x="151" y="53"/>
                    <a:pt x="144" y="54"/>
                  </a:cubicBezTo>
                  <a:cubicBezTo>
                    <a:pt x="142" y="58"/>
                    <a:pt x="140" y="56"/>
                    <a:pt x="136" y="56"/>
                  </a:cubicBezTo>
                  <a:cubicBezTo>
                    <a:pt x="132" y="57"/>
                    <a:pt x="132" y="59"/>
                    <a:pt x="132" y="63"/>
                  </a:cubicBezTo>
                  <a:cubicBezTo>
                    <a:pt x="133" y="69"/>
                    <a:pt x="131" y="66"/>
                    <a:pt x="140" y="66"/>
                  </a:cubicBezTo>
                  <a:cubicBezTo>
                    <a:pt x="143" y="69"/>
                    <a:pt x="150" y="77"/>
                    <a:pt x="153" y="80"/>
                  </a:cubicBezTo>
                  <a:cubicBezTo>
                    <a:pt x="154" y="82"/>
                    <a:pt x="157" y="82"/>
                    <a:pt x="159" y="85"/>
                  </a:cubicBezTo>
                  <a:cubicBezTo>
                    <a:pt x="161" y="88"/>
                    <a:pt x="163" y="95"/>
                    <a:pt x="164" y="98"/>
                  </a:cubicBezTo>
                  <a:cubicBezTo>
                    <a:pt x="164" y="99"/>
                    <a:pt x="164" y="101"/>
                    <a:pt x="166" y="101"/>
                  </a:cubicBezTo>
                  <a:cubicBezTo>
                    <a:pt x="175" y="102"/>
                    <a:pt x="177" y="113"/>
                    <a:pt x="177" y="1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1" name="Freeform 15"/>
            <p:cNvSpPr>
              <a:spLocks noEditPoints="1"/>
            </p:cNvSpPr>
            <p:nvPr/>
          </p:nvSpPr>
          <p:spPr bwMode="auto">
            <a:xfrm>
              <a:off x="962188" y="1426995"/>
              <a:ext cx="2172206" cy="1755805"/>
            </a:xfrm>
            <a:custGeom>
              <a:avLst/>
              <a:gdLst>
                <a:gd name="T0" fmla="*/ 332 w 1304"/>
                <a:gd name="T1" fmla="*/ 24 h 1052"/>
                <a:gd name="T2" fmla="*/ 186 w 1304"/>
                <a:gd name="T3" fmla="*/ 848 h 1052"/>
                <a:gd name="T4" fmla="*/ 1284 w 1304"/>
                <a:gd name="T5" fmla="*/ 886 h 1052"/>
                <a:gd name="T6" fmla="*/ 1244 w 1304"/>
                <a:gd name="T7" fmla="*/ 788 h 1052"/>
                <a:gd name="T8" fmla="*/ 1182 w 1304"/>
                <a:gd name="T9" fmla="*/ 736 h 1052"/>
                <a:gd name="T10" fmla="*/ 1112 w 1304"/>
                <a:gd name="T11" fmla="*/ 650 h 1052"/>
                <a:gd name="T12" fmla="*/ 1052 w 1304"/>
                <a:gd name="T13" fmla="*/ 618 h 1052"/>
                <a:gd name="T14" fmla="*/ 930 w 1304"/>
                <a:gd name="T15" fmla="*/ 546 h 1052"/>
                <a:gd name="T16" fmla="*/ 906 w 1304"/>
                <a:gd name="T17" fmla="*/ 762 h 1052"/>
                <a:gd name="T18" fmla="*/ 744 w 1304"/>
                <a:gd name="T19" fmla="*/ 694 h 1052"/>
                <a:gd name="T20" fmla="*/ 750 w 1304"/>
                <a:gd name="T21" fmla="*/ 514 h 1052"/>
                <a:gd name="T22" fmla="*/ 790 w 1304"/>
                <a:gd name="T23" fmla="*/ 506 h 1052"/>
                <a:gd name="T24" fmla="*/ 870 w 1304"/>
                <a:gd name="T25" fmla="*/ 482 h 1052"/>
                <a:gd name="T26" fmla="*/ 872 w 1304"/>
                <a:gd name="T27" fmla="*/ 294 h 1052"/>
                <a:gd name="T28" fmla="*/ 916 w 1304"/>
                <a:gd name="T29" fmla="*/ 252 h 1052"/>
                <a:gd name="T30" fmla="*/ 988 w 1304"/>
                <a:gd name="T31" fmla="*/ 414 h 1052"/>
                <a:gd name="T32" fmla="*/ 952 w 1304"/>
                <a:gd name="T33" fmla="*/ 488 h 1052"/>
                <a:gd name="T34" fmla="*/ 1072 w 1304"/>
                <a:gd name="T35" fmla="*/ 554 h 1052"/>
                <a:gd name="T36" fmla="*/ 1114 w 1304"/>
                <a:gd name="T37" fmla="*/ 500 h 1052"/>
                <a:gd name="T38" fmla="*/ 1132 w 1304"/>
                <a:gd name="T39" fmla="*/ 392 h 1052"/>
                <a:gd name="T40" fmla="*/ 1028 w 1304"/>
                <a:gd name="T41" fmla="*/ 256 h 1052"/>
                <a:gd name="T42" fmla="*/ 962 w 1304"/>
                <a:gd name="T43" fmla="*/ 198 h 1052"/>
                <a:gd name="T44" fmla="*/ 920 w 1304"/>
                <a:gd name="T45" fmla="*/ 192 h 1052"/>
                <a:gd name="T46" fmla="*/ 820 w 1304"/>
                <a:gd name="T47" fmla="*/ 142 h 1052"/>
                <a:gd name="T48" fmla="*/ 824 w 1304"/>
                <a:gd name="T49" fmla="*/ 98 h 1052"/>
                <a:gd name="T50" fmla="*/ 794 w 1304"/>
                <a:gd name="T51" fmla="*/ 270 h 1052"/>
                <a:gd name="T52" fmla="*/ 764 w 1304"/>
                <a:gd name="T53" fmla="*/ 304 h 1052"/>
                <a:gd name="T54" fmla="*/ 658 w 1304"/>
                <a:gd name="T55" fmla="*/ 266 h 1052"/>
                <a:gd name="T56" fmla="*/ 626 w 1304"/>
                <a:gd name="T57" fmla="*/ 330 h 1052"/>
                <a:gd name="T58" fmla="*/ 478 w 1304"/>
                <a:gd name="T59" fmla="*/ 382 h 1052"/>
                <a:gd name="T60" fmla="*/ 418 w 1304"/>
                <a:gd name="T61" fmla="*/ 346 h 1052"/>
                <a:gd name="T62" fmla="*/ 580 w 1304"/>
                <a:gd name="T63" fmla="*/ 320 h 1052"/>
                <a:gd name="T64" fmla="*/ 538 w 1304"/>
                <a:gd name="T65" fmla="*/ 106 h 1052"/>
                <a:gd name="T66" fmla="*/ 448 w 1304"/>
                <a:gd name="T67" fmla="*/ 166 h 1052"/>
                <a:gd name="T68" fmla="*/ 380 w 1304"/>
                <a:gd name="T69" fmla="*/ 114 h 1052"/>
                <a:gd name="T70" fmla="*/ 242 w 1304"/>
                <a:gd name="T71" fmla="*/ 86 h 1052"/>
                <a:gd name="T72" fmla="*/ 276 w 1304"/>
                <a:gd name="T73" fmla="*/ 228 h 1052"/>
                <a:gd name="T74" fmla="*/ 334 w 1304"/>
                <a:gd name="T75" fmla="*/ 172 h 1052"/>
                <a:gd name="T76" fmla="*/ 392 w 1304"/>
                <a:gd name="T77" fmla="*/ 252 h 1052"/>
                <a:gd name="T78" fmla="*/ 402 w 1304"/>
                <a:gd name="T79" fmla="*/ 316 h 1052"/>
                <a:gd name="T80" fmla="*/ 228 w 1304"/>
                <a:gd name="T81" fmla="*/ 266 h 1052"/>
                <a:gd name="T82" fmla="*/ 152 w 1304"/>
                <a:gd name="T83" fmla="*/ 306 h 1052"/>
                <a:gd name="T84" fmla="*/ 18 w 1304"/>
                <a:gd name="T85" fmla="*/ 288 h 1052"/>
                <a:gd name="T86" fmla="*/ 112 w 1304"/>
                <a:gd name="T87" fmla="*/ 756 h 1052"/>
                <a:gd name="T88" fmla="*/ 702 w 1304"/>
                <a:gd name="T89" fmla="*/ 912 h 1052"/>
                <a:gd name="T90" fmla="*/ 834 w 1304"/>
                <a:gd name="T91" fmla="*/ 948 h 1052"/>
                <a:gd name="T92" fmla="*/ 858 w 1304"/>
                <a:gd name="T93" fmla="*/ 1038 h 1052"/>
                <a:gd name="T94" fmla="*/ 1076 w 1304"/>
                <a:gd name="T95" fmla="*/ 932 h 1052"/>
                <a:gd name="T96" fmla="*/ 1194 w 1304"/>
                <a:gd name="T97" fmla="*/ 936 h 1052"/>
                <a:gd name="T98" fmla="*/ 1102 w 1304"/>
                <a:gd name="T99" fmla="*/ 910 h 1052"/>
                <a:gd name="T100" fmla="*/ 1134 w 1304"/>
                <a:gd name="T101" fmla="*/ 872 h 1052"/>
                <a:gd name="T102" fmla="*/ 1194 w 1304"/>
                <a:gd name="T103" fmla="*/ 920 h 1052"/>
                <a:gd name="T104" fmla="*/ 772 w 1304"/>
                <a:gd name="T105" fmla="*/ 446 h 1052"/>
                <a:gd name="T106" fmla="*/ 126 w 1304"/>
                <a:gd name="T107" fmla="*/ 772 h 1052"/>
                <a:gd name="T108" fmla="*/ 588 w 1304"/>
                <a:gd name="T109" fmla="*/ 154 h 1052"/>
                <a:gd name="T110" fmla="*/ 654 w 1304"/>
                <a:gd name="T111" fmla="*/ 204 h 1052"/>
                <a:gd name="T112" fmla="*/ 674 w 1304"/>
                <a:gd name="T113" fmla="*/ 90 h 1052"/>
                <a:gd name="T114" fmla="*/ 740 w 1304"/>
                <a:gd name="T115" fmla="*/ 118 h 1052"/>
                <a:gd name="T116" fmla="*/ 948 w 1304"/>
                <a:gd name="T117" fmla="*/ 140 h 1052"/>
                <a:gd name="T118" fmla="*/ 972 w 1304"/>
                <a:gd name="T119" fmla="*/ 352 h 1052"/>
                <a:gd name="T120" fmla="*/ 870 w 1304"/>
                <a:gd name="T121" fmla="*/ 536 h 1052"/>
                <a:gd name="T122" fmla="*/ 898 w 1304"/>
                <a:gd name="T123" fmla="*/ 644 h 1052"/>
                <a:gd name="T124" fmla="*/ 1160 w 1304"/>
                <a:gd name="T125" fmla="*/ 892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04" h="1052">
                  <a:moveTo>
                    <a:pt x="650" y="32"/>
                  </a:moveTo>
                  <a:lnTo>
                    <a:pt x="650" y="32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98" y="54"/>
                  </a:lnTo>
                  <a:lnTo>
                    <a:pt x="698" y="54"/>
                  </a:lnTo>
                  <a:lnTo>
                    <a:pt x="700" y="54"/>
                  </a:lnTo>
                  <a:lnTo>
                    <a:pt x="700" y="54"/>
                  </a:lnTo>
                  <a:lnTo>
                    <a:pt x="702" y="50"/>
                  </a:lnTo>
                  <a:lnTo>
                    <a:pt x="702" y="22"/>
                  </a:lnTo>
                  <a:lnTo>
                    <a:pt x="702" y="22"/>
                  </a:lnTo>
                  <a:lnTo>
                    <a:pt x="700" y="20"/>
                  </a:lnTo>
                  <a:lnTo>
                    <a:pt x="680" y="2"/>
                  </a:lnTo>
                  <a:lnTo>
                    <a:pt x="680" y="2"/>
                  </a:lnTo>
                  <a:lnTo>
                    <a:pt x="678" y="0"/>
                  </a:lnTo>
                  <a:lnTo>
                    <a:pt x="670" y="0"/>
                  </a:lnTo>
                  <a:lnTo>
                    <a:pt x="670" y="0"/>
                  </a:lnTo>
                  <a:lnTo>
                    <a:pt x="668" y="2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48" y="30"/>
                  </a:lnTo>
                  <a:lnTo>
                    <a:pt x="648" y="30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50" y="32"/>
                  </a:lnTo>
                  <a:lnTo>
                    <a:pt x="650" y="32"/>
                  </a:lnTo>
                  <a:close/>
                  <a:moveTo>
                    <a:pt x="718" y="54"/>
                  </a:moveTo>
                  <a:lnTo>
                    <a:pt x="802" y="72"/>
                  </a:lnTo>
                  <a:lnTo>
                    <a:pt x="802" y="72"/>
                  </a:lnTo>
                  <a:lnTo>
                    <a:pt x="802" y="72"/>
                  </a:lnTo>
                  <a:lnTo>
                    <a:pt x="832" y="72"/>
                  </a:lnTo>
                  <a:lnTo>
                    <a:pt x="832" y="72"/>
                  </a:lnTo>
                  <a:lnTo>
                    <a:pt x="834" y="72"/>
                  </a:lnTo>
                  <a:lnTo>
                    <a:pt x="852" y="54"/>
                  </a:lnTo>
                  <a:lnTo>
                    <a:pt x="870" y="62"/>
                  </a:lnTo>
                  <a:lnTo>
                    <a:pt x="870" y="62"/>
                  </a:lnTo>
                  <a:lnTo>
                    <a:pt x="874" y="62"/>
                  </a:lnTo>
                  <a:lnTo>
                    <a:pt x="900" y="52"/>
                  </a:lnTo>
                  <a:lnTo>
                    <a:pt x="900" y="52"/>
                  </a:lnTo>
                  <a:lnTo>
                    <a:pt x="902" y="50"/>
                  </a:lnTo>
                  <a:lnTo>
                    <a:pt x="908" y="10"/>
                  </a:lnTo>
                  <a:lnTo>
                    <a:pt x="908" y="10"/>
                  </a:lnTo>
                  <a:lnTo>
                    <a:pt x="908" y="8"/>
                  </a:lnTo>
                  <a:lnTo>
                    <a:pt x="908" y="8"/>
                  </a:lnTo>
                  <a:lnTo>
                    <a:pt x="906" y="6"/>
                  </a:lnTo>
                  <a:lnTo>
                    <a:pt x="718" y="4"/>
                  </a:lnTo>
                  <a:lnTo>
                    <a:pt x="718" y="4"/>
                  </a:lnTo>
                  <a:lnTo>
                    <a:pt x="714" y="6"/>
                  </a:lnTo>
                  <a:lnTo>
                    <a:pt x="714" y="8"/>
                  </a:lnTo>
                  <a:lnTo>
                    <a:pt x="714" y="8"/>
                  </a:lnTo>
                  <a:lnTo>
                    <a:pt x="714" y="10"/>
                  </a:lnTo>
                  <a:lnTo>
                    <a:pt x="716" y="50"/>
                  </a:lnTo>
                  <a:lnTo>
                    <a:pt x="716" y="50"/>
                  </a:lnTo>
                  <a:lnTo>
                    <a:pt x="718" y="54"/>
                  </a:lnTo>
                  <a:lnTo>
                    <a:pt x="718" y="54"/>
                  </a:lnTo>
                  <a:close/>
                  <a:moveTo>
                    <a:pt x="592" y="34"/>
                  </a:moveTo>
                  <a:lnTo>
                    <a:pt x="592" y="34"/>
                  </a:lnTo>
                  <a:lnTo>
                    <a:pt x="594" y="34"/>
                  </a:lnTo>
                  <a:lnTo>
                    <a:pt x="622" y="34"/>
                  </a:lnTo>
                  <a:lnTo>
                    <a:pt x="622" y="34"/>
                  </a:lnTo>
                  <a:lnTo>
                    <a:pt x="624" y="32"/>
                  </a:lnTo>
                  <a:lnTo>
                    <a:pt x="634" y="12"/>
                  </a:lnTo>
                  <a:lnTo>
                    <a:pt x="634" y="12"/>
                  </a:lnTo>
                  <a:lnTo>
                    <a:pt x="636" y="10"/>
                  </a:lnTo>
                  <a:lnTo>
                    <a:pt x="636" y="10"/>
                  </a:lnTo>
                  <a:lnTo>
                    <a:pt x="636" y="8"/>
                  </a:lnTo>
                  <a:lnTo>
                    <a:pt x="636" y="8"/>
                  </a:lnTo>
                  <a:lnTo>
                    <a:pt x="636" y="6"/>
                  </a:lnTo>
                  <a:lnTo>
                    <a:pt x="634" y="6"/>
                  </a:lnTo>
                  <a:lnTo>
                    <a:pt x="634" y="6"/>
                  </a:lnTo>
                  <a:lnTo>
                    <a:pt x="632" y="6"/>
                  </a:lnTo>
                  <a:lnTo>
                    <a:pt x="630" y="6"/>
                  </a:lnTo>
                  <a:lnTo>
                    <a:pt x="630" y="6"/>
                  </a:lnTo>
                  <a:lnTo>
                    <a:pt x="556" y="4"/>
                  </a:lnTo>
                  <a:lnTo>
                    <a:pt x="556" y="4"/>
                  </a:lnTo>
                  <a:lnTo>
                    <a:pt x="552" y="6"/>
                  </a:lnTo>
                  <a:lnTo>
                    <a:pt x="552" y="6"/>
                  </a:lnTo>
                  <a:lnTo>
                    <a:pt x="552" y="8"/>
                  </a:lnTo>
                  <a:lnTo>
                    <a:pt x="554" y="10"/>
                  </a:lnTo>
                  <a:lnTo>
                    <a:pt x="592" y="34"/>
                  </a:lnTo>
                  <a:close/>
                  <a:moveTo>
                    <a:pt x="330" y="22"/>
                  </a:moveTo>
                  <a:lnTo>
                    <a:pt x="330" y="22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72" y="34"/>
                  </a:lnTo>
                  <a:lnTo>
                    <a:pt x="372" y="34"/>
                  </a:lnTo>
                  <a:lnTo>
                    <a:pt x="374" y="32"/>
                  </a:lnTo>
                  <a:lnTo>
                    <a:pt x="382" y="26"/>
                  </a:lnTo>
                  <a:lnTo>
                    <a:pt x="398" y="3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0" y="50"/>
                  </a:lnTo>
                  <a:lnTo>
                    <a:pt x="380" y="50"/>
                  </a:lnTo>
                  <a:lnTo>
                    <a:pt x="380" y="5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410" y="72"/>
                  </a:lnTo>
                  <a:lnTo>
                    <a:pt x="410" y="72"/>
                  </a:lnTo>
                  <a:lnTo>
                    <a:pt x="412" y="72"/>
                  </a:lnTo>
                  <a:lnTo>
                    <a:pt x="460" y="34"/>
                  </a:lnTo>
                  <a:lnTo>
                    <a:pt x="506" y="34"/>
                  </a:lnTo>
                  <a:lnTo>
                    <a:pt x="506" y="34"/>
                  </a:lnTo>
                  <a:lnTo>
                    <a:pt x="508" y="32"/>
                  </a:lnTo>
                  <a:lnTo>
                    <a:pt x="510" y="30"/>
                  </a:lnTo>
                  <a:lnTo>
                    <a:pt x="512" y="8"/>
                  </a:lnTo>
                  <a:lnTo>
                    <a:pt x="512" y="8"/>
                  </a:lnTo>
                  <a:lnTo>
                    <a:pt x="512" y="6"/>
                  </a:lnTo>
                  <a:lnTo>
                    <a:pt x="512" y="6"/>
                  </a:lnTo>
                  <a:lnTo>
                    <a:pt x="510" y="4"/>
                  </a:lnTo>
                  <a:lnTo>
                    <a:pt x="340" y="4"/>
                  </a:lnTo>
                  <a:lnTo>
                    <a:pt x="340" y="4"/>
                  </a:lnTo>
                  <a:lnTo>
                    <a:pt x="338" y="6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close/>
                  <a:moveTo>
                    <a:pt x="292" y="926"/>
                  </a:moveTo>
                  <a:lnTo>
                    <a:pt x="290" y="922"/>
                  </a:lnTo>
                  <a:lnTo>
                    <a:pt x="288" y="918"/>
                  </a:lnTo>
                  <a:lnTo>
                    <a:pt x="286" y="914"/>
                  </a:lnTo>
                  <a:lnTo>
                    <a:pt x="282" y="910"/>
                  </a:lnTo>
                  <a:lnTo>
                    <a:pt x="280" y="908"/>
                  </a:lnTo>
                  <a:lnTo>
                    <a:pt x="274" y="902"/>
                  </a:lnTo>
                  <a:lnTo>
                    <a:pt x="268" y="896"/>
                  </a:lnTo>
                  <a:lnTo>
                    <a:pt x="264" y="892"/>
                  </a:lnTo>
                  <a:lnTo>
                    <a:pt x="260" y="888"/>
                  </a:lnTo>
                  <a:lnTo>
                    <a:pt x="260" y="888"/>
                  </a:lnTo>
                  <a:lnTo>
                    <a:pt x="258" y="884"/>
                  </a:lnTo>
                  <a:lnTo>
                    <a:pt x="256" y="882"/>
                  </a:lnTo>
                  <a:lnTo>
                    <a:pt x="256" y="878"/>
                  </a:lnTo>
                  <a:lnTo>
                    <a:pt x="256" y="876"/>
                  </a:lnTo>
                  <a:lnTo>
                    <a:pt x="256" y="874"/>
                  </a:lnTo>
                  <a:lnTo>
                    <a:pt x="256" y="872"/>
                  </a:lnTo>
                  <a:lnTo>
                    <a:pt x="256" y="872"/>
                  </a:lnTo>
                  <a:lnTo>
                    <a:pt x="254" y="870"/>
                  </a:lnTo>
                  <a:lnTo>
                    <a:pt x="254" y="868"/>
                  </a:lnTo>
                  <a:lnTo>
                    <a:pt x="248" y="868"/>
                  </a:lnTo>
                  <a:lnTo>
                    <a:pt x="244" y="866"/>
                  </a:lnTo>
                  <a:lnTo>
                    <a:pt x="240" y="864"/>
                  </a:lnTo>
                  <a:lnTo>
                    <a:pt x="236" y="862"/>
                  </a:lnTo>
                  <a:lnTo>
                    <a:pt x="228" y="860"/>
                  </a:lnTo>
                  <a:lnTo>
                    <a:pt x="222" y="854"/>
                  </a:lnTo>
                  <a:lnTo>
                    <a:pt x="216" y="850"/>
                  </a:lnTo>
                  <a:lnTo>
                    <a:pt x="212" y="848"/>
                  </a:lnTo>
                  <a:lnTo>
                    <a:pt x="208" y="848"/>
                  </a:lnTo>
                  <a:lnTo>
                    <a:pt x="204" y="846"/>
                  </a:lnTo>
                  <a:lnTo>
                    <a:pt x="200" y="846"/>
                  </a:lnTo>
                  <a:lnTo>
                    <a:pt x="194" y="844"/>
                  </a:lnTo>
                  <a:lnTo>
                    <a:pt x="188" y="846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6" y="848"/>
                  </a:lnTo>
                  <a:lnTo>
                    <a:pt x="186" y="848"/>
                  </a:lnTo>
                  <a:lnTo>
                    <a:pt x="186" y="848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2"/>
                  </a:lnTo>
                  <a:lnTo>
                    <a:pt x="188" y="856"/>
                  </a:lnTo>
                  <a:lnTo>
                    <a:pt x="190" y="860"/>
                  </a:lnTo>
                  <a:lnTo>
                    <a:pt x="192" y="864"/>
                  </a:lnTo>
                  <a:lnTo>
                    <a:pt x="194" y="866"/>
                  </a:lnTo>
                  <a:lnTo>
                    <a:pt x="194" y="866"/>
                  </a:lnTo>
                  <a:lnTo>
                    <a:pt x="194" y="866"/>
                  </a:lnTo>
                  <a:lnTo>
                    <a:pt x="198" y="870"/>
                  </a:lnTo>
                  <a:lnTo>
                    <a:pt x="204" y="874"/>
                  </a:lnTo>
                  <a:lnTo>
                    <a:pt x="210" y="878"/>
                  </a:lnTo>
                  <a:lnTo>
                    <a:pt x="214" y="882"/>
                  </a:lnTo>
                  <a:lnTo>
                    <a:pt x="214" y="882"/>
                  </a:lnTo>
                  <a:lnTo>
                    <a:pt x="218" y="886"/>
                  </a:lnTo>
                  <a:lnTo>
                    <a:pt x="218" y="888"/>
                  </a:lnTo>
                  <a:lnTo>
                    <a:pt x="220" y="892"/>
                  </a:lnTo>
                  <a:lnTo>
                    <a:pt x="220" y="894"/>
                  </a:lnTo>
                  <a:lnTo>
                    <a:pt x="222" y="896"/>
                  </a:lnTo>
                  <a:lnTo>
                    <a:pt x="222" y="898"/>
                  </a:lnTo>
                  <a:lnTo>
                    <a:pt x="222" y="900"/>
                  </a:lnTo>
                  <a:lnTo>
                    <a:pt x="222" y="900"/>
                  </a:lnTo>
                  <a:lnTo>
                    <a:pt x="222" y="902"/>
                  </a:lnTo>
                  <a:lnTo>
                    <a:pt x="222" y="902"/>
                  </a:lnTo>
                  <a:lnTo>
                    <a:pt x="226" y="902"/>
                  </a:lnTo>
                  <a:lnTo>
                    <a:pt x="228" y="902"/>
                  </a:lnTo>
                  <a:lnTo>
                    <a:pt x="232" y="900"/>
                  </a:lnTo>
                  <a:lnTo>
                    <a:pt x="234" y="900"/>
                  </a:lnTo>
                  <a:lnTo>
                    <a:pt x="234" y="900"/>
                  </a:lnTo>
                  <a:lnTo>
                    <a:pt x="234" y="900"/>
                  </a:lnTo>
                  <a:lnTo>
                    <a:pt x="236" y="902"/>
                  </a:lnTo>
                  <a:lnTo>
                    <a:pt x="240" y="908"/>
                  </a:lnTo>
                  <a:lnTo>
                    <a:pt x="244" y="916"/>
                  </a:lnTo>
                  <a:lnTo>
                    <a:pt x="252" y="922"/>
                  </a:lnTo>
                  <a:lnTo>
                    <a:pt x="252" y="922"/>
                  </a:lnTo>
                  <a:lnTo>
                    <a:pt x="252" y="924"/>
                  </a:lnTo>
                  <a:lnTo>
                    <a:pt x="258" y="928"/>
                  </a:lnTo>
                  <a:lnTo>
                    <a:pt x="258" y="928"/>
                  </a:lnTo>
                  <a:lnTo>
                    <a:pt x="258" y="928"/>
                  </a:lnTo>
                  <a:lnTo>
                    <a:pt x="266" y="932"/>
                  </a:lnTo>
                  <a:lnTo>
                    <a:pt x="266" y="932"/>
                  </a:lnTo>
                  <a:lnTo>
                    <a:pt x="266" y="932"/>
                  </a:lnTo>
                  <a:lnTo>
                    <a:pt x="274" y="934"/>
                  </a:lnTo>
                  <a:lnTo>
                    <a:pt x="274" y="934"/>
                  </a:lnTo>
                  <a:lnTo>
                    <a:pt x="274" y="934"/>
                  </a:lnTo>
                  <a:lnTo>
                    <a:pt x="282" y="936"/>
                  </a:lnTo>
                  <a:lnTo>
                    <a:pt x="284" y="936"/>
                  </a:lnTo>
                  <a:lnTo>
                    <a:pt x="292" y="936"/>
                  </a:lnTo>
                  <a:lnTo>
                    <a:pt x="292" y="936"/>
                  </a:lnTo>
                  <a:lnTo>
                    <a:pt x="294" y="934"/>
                  </a:lnTo>
                  <a:lnTo>
                    <a:pt x="294" y="934"/>
                  </a:lnTo>
                  <a:lnTo>
                    <a:pt x="294" y="932"/>
                  </a:lnTo>
                  <a:lnTo>
                    <a:pt x="292" y="926"/>
                  </a:lnTo>
                  <a:close/>
                  <a:moveTo>
                    <a:pt x="1304" y="932"/>
                  </a:moveTo>
                  <a:lnTo>
                    <a:pt x="1302" y="928"/>
                  </a:lnTo>
                  <a:lnTo>
                    <a:pt x="1302" y="930"/>
                  </a:lnTo>
                  <a:lnTo>
                    <a:pt x="1302" y="926"/>
                  </a:lnTo>
                  <a:lnTo>
                    <a:pt x="1300" y="924"/>
                  </a:lnTo>
                  <a:lnTo>
                    <a:pt x="1300" y="922"/>
                  </a:lnTo>
                  <a:lnTo>
                    <a:pt x="1300" y="922"/>
                  </a:lnTo>
                  <a:lnTo>
                    <a:pt x="1300" y="920"/>
                  </a:lnTo>
                  <a:lnTo>
                    <a:pt x="1300" y="918"/>
                  </a:lnTo>
                  <a:lnTo>
                    <a:pt x="1300" y="918"/>
                  </a:lnTo>
                  <a:lnTo>
                    <a:pt x="1298" y="918"/>
                  </a:lnTo>
                  <a:lnTo>
                    <a:pt x="1298" y="916"/>
                  </a:lnTo>
                  <a:lnTo>
                    <a:pt x="1298" y="916"/>
                  </a:lnTo>
                  <a:lnTo>
                    <a:pt x="1296" y="916"/>
                  </a:lnTo>
                  <a:lnTo>
                    <a:pt x="1296" y="916"/>
                  </a:lnTo>
                  <a:lnTo>
                    <a:pt x="1296" y="914"/>
                  </a:lnTo>
                  <a:lnTo>
                    <a:pt x="1298" y="910"/>
                  </a:lnTo>
                  <a:lnTo>
                    <a:pt x="1298" y="908"/>
                  </a:lnTo>
                  <a:lnTo>
                    <a:pt x="1298" y="908"/>
                  </a:lnTo>
                  <a:lnTo>
                    <a:pt x="1298" y="906"/>
                  </a:lnTo>
                  <a:lnTo>
                    <a:pt x="1298" y="906"/>
                  </a:lnTo>
                  <a:lnTo>
                    <a:pt x="1298" y="904"/>
                  </a:lnTo>
                  <a:lnTo>
                    <a:pt x="1298" y="902"/>
                  </a:lnTo>
                  <a:lnTo>
                    <a:pt x="1298" y="902"/>
                  </a:lnTo>
                  <a:lnTo>
                    <a:pt x="1296" y="902"/>
                  </a:lnTo>
                  <a:lnTo>
                    <a:pt x="1294" y="900"/>
                  </a:lnTo>
                  <a:lnTo>
                    <a:pt x="1294" y="900"/>
                  </a:lnTo>
                  <a:lnTo>
                    <a:pt x="1294" y="898"/>
                  </a:lnTo>
                  <a:lnTo>
                    <a:pt x="1292" y="898"/>
                  </a:lnTo>
                  <a:lnTo>
                    <a:pt x="1292" y="898"/>
                  </a:lnTo>
                  <a:lnTo>
                    <a:pt x="1290" y="898"/>
                  </a:lnTo>
                  <a:lnTo>
                    <a:pt x="1288" y="898"/>
                  </a:lnTo>
                  <a:lnTo>
                    <a:pt x="1288" y="898"/>
                  </a:lnTo>
                  <a:lnTo>
                    <a:pt x="1288" y="896"/>
                  </a:lnTo>
                  <a:lnTo>
                    <a:pt x="1286" y="892"/>
                  </a:lnTo>
                  <a:lnTo>
                    <a:pt x="1286" y="888"/>
                  </a:lnTo>
                  <a:lnTo>
                    <a:pt x="1284" y="886"/>
                  </a:lnTo>
                  <a:lnTo>
                    <a:pt x="1284" y="886"/>
                  </a:lnTo>
                  <a:lnTo>
                    <a:pt x="1284" y="884"/>
                  </a:lnTo>
                  <a:lnTo>
                    <a:pt x="1282" y="882"/>
                  </a:lnTo>
                  <a:lnTo>
                    <a:pt x="1282" y="882"/>
                  </a:lnTo>
                  <a:lnTo>
                    <a:pt x="1282" y="882"/>
                  </a:lnTo>
                  <a:lnTo>
                    <a:pt x="1280" y="880"/>
                  </a:lnTo>
                  <a:lnTo>
                    <a:pt x="1280" y="880"/>
                  </a:lnTo>
                  <a:lnTo>
                    <a:pt x="1280" y="880"/>
                  </a:lnTo>
                  <a:lnTo>
                    <a:pt x="1276" y="878"/>
                  </a:lnTo>
                  <a:lnTo>
                    <a:pt x="1276" y="878"/>
                  </a:lnTo>
                  <a:lnTo>
                    <a:pt x="1274" y="878"/>
                  </a:lnTo>
                  <a:lnTo>
                    <a:pt x="1270" y="878"/>
                  </a:lnTo>
                  <a:lnTo>
                    <a:pt x="1266" y="880"/>
                  </a:lnTo>
                  <a:lnTo>
                    <a:pt x="1262" y="880"/>
                  </a:lnTo>
                  <a:lnTo>
                    <a:pt x="1260" y="880"/>
                  </a:lnTo>
                  <a:lnTo>
                    <a:pt x="1260" y="880"/>
                  </a:lnTo>
                  <a:lnTo>
                    <a:pt x="1258" y="876"/>
                  </a:lnTo>
                  <a:lnTo>
                    <a:pt x="1258" y="876"/>
                  </a:lnTo>
                  <a:lnTo>
                    <a:pt x="1258" y="876"/>
                  </a:lnTo>
                  <a:lnTo>
                    <a:pt x="1258" y="874"/>
                  </a:lnTo>
                  <a:lnTo>
                    <a:pt x="1258" y="874"/>
                  </a:lnTo>
                  <a:lnTo>
                    <a:pt x="1258" y="874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2" y="870"/>
                  </a:lnTo>
                  <a:lnTo>
                    <a:pt x="1250" y="870"/>
                  </a:lnTo>
                  <a:lnTo>
                    <a:pt x="1250" y="868"/>
                  </a:lnTo>
                  <a:lnTo>
                    <a:pt x="1250" y="868"/>
                  </a:lnTo>
                  <a:lnTo>
                    <a:pt x="1248" y="866"/>
                  </a:lnTo>
                  <a:lnTo>
                    <a:pt x="1248" y="866"/>
                  </a:lnTo>
                  <a:lnTo>
                    <a:pt x="1248" y="866"/>
                  </a:lnTo>
                  <a:lnTo>
                    <a:pt x="1248" y="864"/>
                  </a:lnTo>
                  <a:lnTo>
                    <a:pt x="1248" y="864"/>
                  </a:lnTo>
                  <a:lnTo>
                    <a:pt x="1248" y="864"/>
                  </a:lnTo>
                  <a:lnTo>
                    <a:pt x="1246" y="864"/>
                  </a:lnTo>
                  <a:lnTo>
                    <a:pt x="1246" y="864"/>
                  </a:lnTo>
                  <a:lnTo>
                    <a:pt x="1250" y="862"/>
                  </a:lnTo>
                  <a:lnTo>
                    <a:pt x="1252" y="862"/>
                  </a:lnTo>
                  <a:lnTo>
                    <a:pt x="1254" y="862"/>
                  </a:lnTo>
                  <a:lnTo>
                    <a:pt x="1254" y="862"/>
                  </a:lnTo>
                  <a:lnTo>
                    <a:pt x="1254" y="862"/>
                  </a:lnTo>
                  <a:lnTo>
                    <a:pt x="1256" y="860"/>
                  </a:lnTo>
                  <a:lnTo>
                    <a:pt x="1258" y="858"/>
                  </a:lnTo>
                  <a:lnTo>
                    <a:pt x="1258" y="854"/>
                  </a:lnTo>
                  <a:lnTo>
                    <a:pt x="1260" y="850"/>
                  </a:lnTo>
                  <a:lnTo>
                    <a:pt x="1260" y="844"/>
                  </a:lnTo>
                  <a:lnTo>
                    <a:pt x="1260" y="842"/>
                  </a:lnTo>
                  <a:lnTo>
                    <a:pt x="1262" y="840"/>
                  </a:lnTo>
                  <a:lnTo>
                    <a:pt x="1262" y="840"/>
                  </a:lnTo>
                  <a:lnTo>
                    <a:pt x="1262" y="838"/>
                  </a:lnTo>
                  <a:lnTo>
                    <a:pt x="1262" y="834"/>
                  </a:lnTo>
                  <a:lnTo>
                    <a:pt x="1260" y="832"/>
                  </a:lnTo>
                  <a:lnTo>
                    <a:pt x="1260" y="828"/>
                  </a:lnTo>
                  <a:lnTo>
                    <a:pt x="1260" y="826"/>
                  </a:lnTo>
                  <a:lnTo>
                    <a:pt x="1260" y="824"/>
                  </a:lnTo>
                  <a:lnTo>
                    <a:pt x="1260" y="824"/>
                  </a:lnTo>
                  <a:lnTo>
                    <a:pt x="1258" y="824"/>
                  </a:lnTo>
                  <a:lnTo>
                    <a:pt x="1258" y="824"/>
                  </a:lnTo>
                  <a:lnTo>
                    <a:pt x="1258" y="824"/>
                  </a:lnTo>
                  <a:lnTo>
                    <a:pt x="1258" y="822"/>
                  </a:lnTo>
                  <a:lnTo>
                    <a:pt x="1256" y="822"/>
                  </a:lnTo>
                  <a:lnTo>
                    <a:pt x="1256" y="822"/>
                  </a:lnTo>
                  <a:lnTo>
                    <a:pt x="1256" y="822"/>
                  </a:lnTo>
                  <a:lnTo>
                    <a:pt x="1254" y="820"/>
                  </a:lnTo>
                  <a:lnTo>
                    <a:pt x="1254" y="820"/>
                  </a:lnTo>
                  <a:lnTo>
                    <a:pt x="1254" y="818"/>
                  </a:lnTo>
                  <a:lnTo>
                    <a:pt x="1254" y="820"/>
                  </a:lnTo>
                  <a:lnTo>
                    <a:pt x="1252" y="818"/>
                  </a:lnTo>
                  <a:lnTo>
                    <a:pt x="1252" y="816"/>
                  </a:lnTo>
                  <a:lnTo>
                    <a:pt x="1250" y="816"/>
                  </a:lnTo>
                  <a:lnTo>
                    <a:pt x="1250" y="814"/>
                  </a:lnTo>
                  <a:lnTo>
                    <a:pt x="1250" y="812"/>
                  </a:lnTo>
                  <a:lnTo>
                    <a:pt x="1250" y="812"/>
                  </a:lnTo>
                  <a:lnTo>
                    <a:pt x="1250" y="812"/>
                  </a:lnTo>
                  <a:lnTo>
                    <a:pt x="1250" y="810"/>
                  </a:lnTo>
                  <a:lnTo>
                    <a:pt x="1252" y="806"/>
                  </a:lnTo>
                  <a:lnTo>
                    <a:pt x="1252" y="802"/>
                  </a:lnTo>
                  <a:lnTo>
                    <a:pt x="1252" y="798"/>
                  </a:lnTo>
                  <a:lnTo>
                    <a:pt x="1252" y="798"/>
                  </a:lnTo>
                  <a:lnTo>
                    <a:pt x="1252" y="796"/>
                  </a:lnTo>
                  <a:lnTo>
                    <a:pt x="1252" y="794"/>
                  </a:lnTo>
                  <a:lnTo>
                    <a:pt x="1252" y="794"/>
                  </a:lnTo>
                  <a:lnTo>
                    <a:pt x="1252" y="792"/>
                  </a:lnTo>
                  <a:lnTo>
                    <a:pt x="1250" y="790"/>
                  </a:lnTo>
                  <a:lnTo>
                    <a:pt x="1250" y="790"/>
                  </a:lnTo>
                  <a:lnTo>
                    <a:pt x="1250" y="790"/>
                  </a:lnTo>
                  <a:lnTo>
                    <a:pt x="1248" y="788"/>
                  </a:lnTo>
                  <a:lnTo>
                    <a:pt x="1248" y="788"/>
                  </a:lnTo>
                  <a:lnTo>
                    <a:pt x="1248" y="788"/>
                  </a:lnTo>
                  <a:lnTo>
                    <a:pt x="1244" y="788"/>
                  </a:lnTo>
                  <a:lnTo>
                    <a:pt x="1244" y="788"/>
                  </a:lnTo>
                  <a:lnTo>
                    <a:pt x="1244" y="788"/>
                  </a:lnTo>
                  <a:lnTo>
                    <a:pt x="1242" y="786"/>
                  </a:lnTo>
                  <a:lnTo>
                    <a:pt x="1236" y="786"/>
                  </a:lnTo>
                  <a:lnTo>
                    <a:pt x="1234" y="786"/>
                  </a:lnTo>
                  <a:lnTo>
                    <a:pt x="1234" y="786"/>
                  </a:lnTo>
                  <a:lnTo>
                    <a:pt x="1232" y="786"/>
                  </a:lnTo>
                  <a:lnTo>
                    <a:pt x="1232" y="786"/>
                  </a:lnTo>
                  <a:lnTo>
                    <a:pt x="1232" y="784"/>
                  </a:lnTo>
                  <a:lnTo>
                    <a:pt x="1230" y="782"/>
                  </a:lnTo>
                  <a:lnTo>
                    <a:pt x="1228" y="780"/>
                  </a:lnTo>
                  <a:lnTo>
                    <a:pt x="1228" y="780"/>
                  </a:lnTo>
                  <a:lnTo>
                    <a:pt x="1228" y="778"/>
                  </a:lnTo>
                  <a:lnTo>
                    <a:pt x="1228" y="778"/>
                  </a:lnTo>
                  <a:lnTo>
                    <a:pt x="1228" y="778"/>
                  </a:lnTo>
                  <a:lnTo>
                    <a:pt x="1226" y="776"/>
                  </a:lnTo>
                  <a:lnTo>
                    <a:pt x="1224" y="776"/>
                  </a:lnTo>
                  <a:lnTo>
                    <a:pt x="1224" y="776"/>
                  </a:lnTo>
                  <a:lnTo>
                    <a:pt x="1224" y="776"/>
                  </a:lnTo>
                  <a:lnTo>
                    <a:pt x="1220" y="776"/>
                  </a:lnTo>
                  <a:lnTo>
                    <a:pt x="1220" y="776"/>
                  </a:lnTo>
                  <a:lnTo>
                    <a:pt x="1220" y="776"/>
                  </a:lnTo>
                  <a:lnTo>
                    <a:pt x="1216" y="778"/>
                  </a:lnTo>
                  <a:lnTo>
                    <a:pt x="1216" y="778"/>
                  </a:lnTo>
                  <a:lnTo>
                    <a:pt x="1216" y="778"/>
                  </a:lnTo>
                  <a:lnTo>
                    <a:pt x="1212" y="780"/>
                  </a:lnTo>
                  <a:lnTo>
                    <a:pt x="1208" y="784"/>
                  </a:lnTo>
                  <a:lnTo>
                    <a:pt x="1204" y="788"/>
                  </a:lnTo>
                  <a:lnTo>
                    <a:pt x="1198" y="790"/>
                  </a:lnTo>
                  <a:lnTo>
                    <a:pt x="1194" y="794"/>
                  </a:lnTo>
                  <a:lnTo>
                    <a:pt x="1190" y="796"/>
                  </a:lnTo>
                  <a:lnTo>
                    <a:pt x="1188" y="798"/>
                  </a:lnTo>
                  <a:lnTo>
                    <a:pt x="1186" y="798"/>
                  </a:lnTo>
                  <a:lnTo>
                    <a:pt x="1184" y="798"/>
                  </a:lnTo>
                  <a:lnTo>
                    <a:pt x="1182" y="798"/>
                  </a:lnTo>
                  <a:lnTo>
                    <a:pt x="1180" y="798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4"/>
                  </a:lnTo>
                  <a:lnTo>
                    <a:pt x="1182" y="790"/>
                  </a:lnTo>
                  <a:lnTo>
                    <a:pt x="1186" y="788"/>
                  </a:lnTo>
                  <a:lnTo>
                    <a:pt x="1188" y="784"/>
                  </a:lnTo>
                  <a:lnTo>
                    <a:pt x="1192" y="782"/>
                  </a:lnTo>
                  <a:lnTo>
                    <a:pt x="1196" y="778"/>
                  </a:lnTo>
                  <a:lnTo>
                    <a:pt x="1200" y="776"/>
                  </a:lnTo>
                  <a:lnTo>
                    <a:pt x="1202" y="774"/>
                  </a:lnTo>
                  <a:lnTo>
                    <a:pt x="1204" y="772"/>
                  </a:lnTo>
                  <a:lnTo>
                    <a:pt x="1208" y="772"/>
                  </a:lnTo>
                  <a:lnTo>
                    <a:pt x="1214" y="772"/>
                  </a:lnTo>
                  <a:lnTo>
                    <a:pt x="1216" y="772"/>
                  </a:lnTo>
                  <a:lnTo>
                    <a:pt x="1220" y="772"/>
                  </a:lnTo>
                  <a:lnTo>
                    <a:pt x="1220" y="772"/>
                  </a:lnTo>
                  <a:lnTo>
                    <a:pt x="1220" y="772"/>
                  </a:lnTo>
                  <a:lnTo>
                    <a:pt x="1222" y="772"/>
                  </a:lnTo>
                  <a:lnTo>
                    <a:pt x="1222" y="772"/>
                  </a:lnTo>
                  <a:lnTo>
                    <a:pt x="1224" y="770"/>
                  </a:lnTo>
                  <a:lnTo>
                    <a:pt x="1224" y="770"/>
                  </a:lnTo>
                  <a:lnTo>
                    <a:pt x="1224" y="770"/>
                  </a:lnTo>
                  <a:lnTo>
                    <a:pt x="1224" y="766"/>
                  </a:lnTo>
                  <a:lnTo>
                    <a:pt x="1224" y="766"/>
                  </a:lnTo>
                  <a:lnTo>
                    <a:pt x="1224" y="766"/>
                  </a:lnTo>
                  <a:lnTo>
                    <a:pt x="1224" y="764"/>
                  </a:lnTo>
                  <a:lnTo>
                    <a:pt x="1222" y="764"/>
                  </a:lnTo>
                  <a:lnTo>
                    <a:pt x="1222" y="764"/>
                  </a:lnTo>
                  <a:lnTo>
                    <a:pt x="1222" y="764"/>
                  </a:lnTo>
                  <a:lnTo>
                    <a:pt x="1220" y="762"/>
                  </a:lnTo>
                  <a:lnTo>
                    <a:pt x="1216" y="760"/>
                  </a:lnTo>
                  <a:lnTo>
                    <a:pt x="1214" y="758"/>
                  </a:lnTo>
                  <a:lnTo>
                    <a:pt x="1206" y="756"/>
                  </a:lnTo>
                  <a:lnTo>
                    <a:pt x="1202" y="754"/>
                  </a:lnTo>
                  <a:lnTo>
                    <a:pt x="1198" y="754"/>
                  </a:lnTo>
                  <a:lnTo>
                    <a:pt x="1196" y="754"/>
                  </a:lnTo>
                  <a:lnTo>
                    <a:pt x="1192" y="752"/>
                  </a:lnTo>
                  <a:lnTo>
                    <a:pt x="1188" y="752"/>
                  </a:lnTo>
                  <a:lnTo>
                    <a:pt x="1184" y="752"/>
                  </a:lnTo>
                  <a:lnTo>
                    <a:pt x="1184" y="752"/>
                  </a:lnTo>
                  <a:lnTo>
                    <a:pt x="1182" y="752"/>
                  </a:lnTo>
                  <a:lnTo>
                    <a:pt x="1182" y="752"/>
                  </a:lnTo>
                  <a:lnTo>
                    <a:pt x="1182" y="750"/>
                  </a:lnTo>
                  <a:lnTo>
                    <a:pt x="1182" y="748"/>
                  </a:lnTo>
                  <a:lnTo>
                    <a:pt x="1184" y="746"/>
                  </a:lnTo>
                  <a:lnTo>
                    <a:pt x="1184" y="744"/>
                  </a:lnTo>
                  <a:lnTo>
                    <a:pt x="1184" y="742"/>
                  </a:lnTo>
                  <a:lnTo>
                    <a:pt x="1184" y="742"/>
                  </a:lnTo>
                  <a:lnTo>
                    <a:pt x="1184" y="742"/>
                  </a:lnTo>
                  <a:lnTo>
                    <a:pt x="1184" y="740"/>
                  </a:lnTo>
                  <a:lnTo>
                    <a:pt x="1184" y="740"/>
                  </a:lnTo>
                  <a:lnTo>
                    <a:pt x="1184" y="740"/>
                  </a:lnTo>
                  <a:lnTo>
                    <a:pt x="1182" y="738"/>
                  </a:lnTo>
                  <a:lnTo>
                    <a:pt x="1182" y="738"/>
                  </a:lnTo>
                  <a:lnTo>
                    <a:pt x="1182" y="736"/>
                  </a:lnTo>
                  <a:lnTo>
                    <a:pt x="1180" y="736"/>
                  </a:lnTo>
                  <a:lnTo>
                    <a:pt x="1180" y="736"/>
                  </a:lnTo>
                  <a:lnTo>
                    <a:pt x="1180" y="734"/>
                  </a:lnTo>
                  <a:lnTo>
                    <a:pt x="1178" y="734"/>
                  </a:lnTo>
                  <a:lnTo>
                    <a:pt x="1178" y="734"/>
                  </a:lnTo>
                  <a:lnTo>
                    <a:pt x="1178" y="734"/>
                  </a:lnTo>
                  <a:lnTo>
                    <a:pt x="1174" y="732"/>
                  </a:lnTo>
                  <a:lnTo>
                    <a:pt x="1172" y="732"/>
                  </a:lnTo>
                  <a:lnTo>
                    <a:pt x="1170" y="730"/>
                  </a:lnTo>
                  <a:lnTo>
                    <a:pt x="1168" y="730"/>
                  </a:lnTo>
                  <a:lnTo>
                    <a:pt x="1168" y="728"/>
                  </a:lnTo>
                  <a:lnTo>
                    <a:pt x="1166" y="726"/>
                  </a:lnTo>
                  <a:lnTo>
                    <a:pt x="1164" y="722"/>
                  </a:lnTo>
                  <a:lnTo>
                    <a:pt x="1160" y="718"/>
                  </a:lnTo>
                  <a:lnTo>
                    <a:pt x="1158" y="714"/>
                  </a:lnTo>
                  <a:lnTo>
                    <a:pt x="1156" y="710"/>
                  </a:lnTo>
                  <a:lnTo>
                    <a:pt x="1154" y="706"/>
                  </a:lnTo>
                  <a:lnTo>
                    <a:pt x="1154" y="704"/>
                  </a:lnTo>
                  <a:lnTo>
                    <a:pt x="1154" y="704"/>
                  </a:lnTo>
                  <a:lnTo>
                    <a:pt x="1156" y="704"/>
                  </a:lnTo>
                  <a:lnTo>
                    <a:pt x="1158" y="706"/>
                  </a:lnTo>
                  <a:lnTo>
                    <a:pt x="1158" y="706"/>
                  </a:lnTo>
                  <a:lnTo>
                    <a:pt x="1158" y="706"/>
                  </a:lnTo>
                  <a:lnTo>
                    <a:pt x="1160" y="706"/>
                  </a:lnTo>
                  <a:lnTo>
                    <a:pt x="1160" y="706"/>
                  </a:lnTo>
                  <a:lnTo>
                    <a:pt x="1162" y="706"/>
                  </a:lnTo>
                  <a:lnTo>
                    <a:pt x="1162" y="704"/>
                  </a:lnTo>
                  <a:lnTo>
                    <a:pt x="1162" y="702"/>
                  </a:lnTo>
                  <a:lnTo>
                    <a:pt x="1162" y="702"/>
                  </a:lnTo>
                  <a:lnTo>
                    <a:pt x="1162" y="700"/>
                  </a:lnTo>
                  <a:lnTo>
                    <a:pt x="1162" y="698"/>
                  </a:lnTo>
                  <a:lnTo>
                    <a:pt x="1160" y="696"/>
                  </a:lnTo>
                  <a:lnTo>
                    <a:pt x="1158" y="692"/>
                  </a:lnTo>
                  <a:lnTo>
                    <a:pt x="1156" y="690"/>
                  </a:lnTo>
                  <a:lnTo>
                    <a:pt x="1150" y="682"/>
                  </a:lnTo>
                  <a:lnTo>
                    <a:pt x="1148" y="678"/>
                  </a:lnTo>
                  <a:lnTo>
                    <a:pt x="1146" y="676"/>
                  </a:lnTo>
                  <a:lnTo>
                    <a:pt x="1142" y="670"/>
                  </a:lnTo>
                  <a:lnTo>
                    <a:pt x="1138" y="666"/>
                  </a:lnTo>
                  <a:lnTo>
                    <a:pt x="1136" y="666"/>
                  </a:lnTo>
                  <a:lnTo>
                    <a:pt x="1136" y="664"/>
                  </a:lnTo>
                  <a:lnTo>
                    <a:pt x="1136" y="664"/>
                  </a:lnTo>
                  <a:lnTo>
                    <a:pt x="1136" y="662"/>
                  </a:lnTo>
                  <a:lnTo>
                    <a:pt x="1136" y="662"/>
                  </a:lnTo>
                  <a:lnTo>
                    <a:pt x="1136" y="662"/>
                  </a:lnTo>
                  <a:lnTo>
                    <a:pt x="1138" y="662"/>
                  </a:lnTo>
                  <a:lnTo>
                    <a:pt x="1140" y="660"/>
                  </a:lnTo>
                  <a:lnTo>
                    <a:pt x="1140" y="660"/>
                  </a:lnTo>
                  <a:lnTo>
                    <a:pt x="1140" y="660"/>
                  </a:lnTo>
                  <a:lnTo>
                    <a:pt x="1142" y="660"/>
                  </a:lnTo>
                  <a:lnTo>
                    <a:pt x="1142" y="660"/>
                  </a:lnTo>
                  <a:lnTo>
                    <a:pt x="1142" y="658"/>
                  </a:lnTo>
                  <a:lnTo>
                    <a:pt x="1144" y="658"/>
                  </a:lnTo>
                  <a:lnTo>
                    <a:pt x="1144" y="658"/>
                  </a:lnTo>
                  <a:lnTo>
                    <a:pt x="1144" y="656"/>
                  </a:lnTo>
                  <a:lnTo>
                    <a:pt x="1144" y="654"/>
                  </a:lnTo>
                  <a:lnTo>
                    <a:pt x="1144" y="654"/>
                  </a:lnTo>
                  <a:lnTo>
                    <a:pt x="1144" y="654"/>
                  </a:lnTo>
                  <a:lnTo>
                    <a:pt x="1144" y="652"/>
                  </a:lnTo>
                  <a:lnTo>
                    <a:pt x="1142" y="648"/>
                  </a:lnTo>
                  <a:lnTo>
                    <a:pt x="1140" y="644"/>
                  </a:lnTo>
                  <a:lnTo>
                    <a:pt x="1138" y="642"/>
                  </a:lnTo>
                  <a:lnTo>
                    <a:pt x="1136" y="638"/>
                  </a:lnTo>
                  <a:lnTo>
                    <a:pt x="1134" y="634"/>
                  </a:lnTo>
                  <a:lnTo>
                    <a:pt x="1132" y="632"/>
                  </a:lnTo>
                  <a:lnTo>
                    <a:pt x="1130" y="630"/>
                  </a:lnTo>
                  <a:lnTo>
                    <a:pt x="1128" y="628"/>
                  </a:lnTo>
                  <a:lnTo>
                    <a:pt x="1128" y="628"/>
                  </a:lnTo>
                  <a:lnTo>
                    <a:pt x="1128" y="628"/>
                  </a:lnTo>
                  <a:lnTo>
                    <a:pt x="1126" y="628"/>
                  </a:lnTo>
                  <a:lnTo>
                    <a:pt x="1126" y="628"/>
                  </a:lnTo>
                  <a:lnTo>
                    <a:pt x="1126" y="626"/>
                  </a:lnTo>
                  <a:lnTo>
                    <a:pt x="1122" y="626"/>
                  </a:lnTo>
                  <a:lnTo>
                    <a:pt x="1122" y="626"/>
                  </a:lnTo>
                  <a:lnTo>
                    <a:pt x="1122" y="626"/>
                  </a:lnTo>
                  <a:lnTo>
                    <a:pt x="1118" y="626"/>
                  </a:lnTo>
                  <a:lnTo>
                    <a:pt x="1118" y="626"/>
                  </a:lnTo>
                  <a:lnTo>
                    <a:pt x="1118" y="626"/>
                  </a:lnTo>
                  <a:lnTo>
                    <a:pt x="1116" y="628"/>
                  </a:lnTo>
                  <a:lnTo>
                    <a:pt x="1116" y="628"/>
                  </a:lnTo>
                  <a:lnTo>
                    <a:pt x="1114" y="630"/>
                  </a:lnTo>
                  <a:lnTo>
                    <a:pt x="1114" y="632"/>
                  </a:lnTo>
                  <a:lnTo>
                    <a:pt x="1114" y="632"/>
                  </a:lnTo>
                  <a:lnTo>
                    <a:pt x="1114" y="632"/>
                  </a:lnTo>
                  <a:lnTo>
                    <a:pt x="1114" y="634"/>
                  </a:lnTo>
                  <a:lnTo>
                    <a:pt x="1114" y="638"/>
                  </a:lnTo>
                  <a:lnTo>
                    <a:pt x="1114" y="640"/>
                  </a:lnTo>
                  <a:lnTo>
                    <a:pt x="1114" y="644"/>
                  </a:lnTo>
                  <a:lnTo>
                    <a:pt x="1114" y="646"/>
                  </a:lnTo>
                  <a:lnTo>
                    <a:pt x="1114" y="648"/>
                  </a:lnTo>
                  <a:lnTo>
                    <a:pt x="1114" y="648"/>
                  </a:lnTo>
                  <a:lnTo>
                    <a:pt x="1112" y="650"/>
                  </a:lnTo>
                  <a:lnTo>
                    <a:pt x="1112" y="650"/>
                  </a:lnTo>
                  <a:lnTo>
                    <a:pt x="1108" y="652"/>
                  </a:lnTo>
                  <a:lnTo>
                    <a:pt x="1106" y="652"/>
                  </a:lnTo>
                  <a:lnTo>
                    <a:pt x="1106" y="652"/>
                  </a:lnTo>
                  <a:lnTo>
                    <a:pt x="1104" y="652"/>
                  </a:lnTo>
                  <a:lnTo>
                    <a:pt x="1104" y="652"/>
                  </a:lnTo>
                  <a:lnTo>
                    <a:pt x="1104" y="652"/>
                  </a:lnTo>
                  <a:lnTo>
                    <a:pt x="1102" y="654"/>
                  </a:lnTo>
                  <a:lnTo>
                    <a:pt x="1102" y="654"/>
                  </a:lnTo>
                  <a:lnTo>
                    <a:pt x="1102" y="654"/>
                  </a:lnTo>
                  <a:lnTo>
                    <a:pt x="1102" y="656"/>
                  </a:lnTo>
                  <a:lnTo>
                    <a:pt x="1100" y="656"/>
                  </a:lnTo>
                  <a:lnTo>
                    <a:pt x="1100" y="656"/>
                  </a:lnTo>
                  <a:lnTo>
                    <a:pt x="1100" y="658"/>
                  </a:lnTo>
                  <a:lnTo>
                    <a:pt x="1100" y="658"/>
                  </a:lnTo>
                  <a:lnTo>
                    <a:pt x="1100" y="658"/>
                  </a:lnTo>
                  <a:lnTo>
                    <a:pt x="1098" y="656"/>
                  </a:lnTo>
                  <a:lnTo>
                    <a:pt x="1098" y="656"/>
                  </a:lnTo>
                  <a:lnTo>
                    <a:pt x="1098" y="656"/>
                  </a:lnTo>
                  <a:lnTo>
                    <a:pt x="1096" y="656"/>
                  </a:lnTo>
                  <a:lnTo>
                    <a:pt x="1096" y="656"/>
                  </a:lnTo>
                  <a:lnTo>
                    <a:pt x="1096" y="658"/>
                  </a:lnTo>
                  <a:lnTo>
                    <a:pt x="1094" y="658"/>
                  </a:lnTo>
                  <a:lnTo>
                    <a:pt x="1094" y="658"/>
                  </a:lnTo>
                  <a:lnTo>
                    <a:pt x="1094" y="658"/>
                  </a:lnTo>
                  <a:lnTo>
                    <a:pt x="1090" y="660"/>
                  </a:lnTo>
                  <a:lnTo>
                    <a:pt x="1086" y="664"/>
                  </a:lnTo>
                  <a:lnTo>
                    <a:pt x="1084" y="666"/>
                  </a:lnTo>
                  <a:lnTo>
                    <a:pt x="1082" y="668"/>
                  </a:lnTo>
                  <a:lnTo>
                    <a:pt x="1082" y="668"/>
                  </a:lnTo>
                  <a:lnTo>
                    <a:pt x="1082" y="668"/>
                  </a:lnTo>
                  <a:lnTo>
                    <a:pt x="1080" y="668"/>
                  </a:lnTo>
                  <a:lnTo>
                    <a:pt x="1078" y="672"/>
                  </a:lnTo>
                  <a:lnTo>
                    <a:pt x="1078" y="672"/>
                  </a:lnTo>
                  <a:lnTo>
                    <a:pt x="1078" y="674"/>
                  </a:lnTo>
                  <a:lnTo>
                    <a:pt x="1076" y="674"/>
                  </a:lnTo>
                  <a:lnTo>
                    <a:pt x="1074" y="674"/>
                  </a:lnTo>
                  <a:lnTo>
                    <a:pt x="1072" y="676"/>
                  </a:lnTo>
                  <a:lnTo>
                    <a:pt x="1068" y="676"/>
                  </a:lnTo>
                  <a:lnTo>
                    <a:pt x="1064" y="678"/>
                  </a:lnTo>
                  <a:lnTo>
                    <a:pt x="1060" y="678"/>
                  </a:lnTo>
                  <a:lnTo>
                    <a:pt x="1060" y="678"/>
                  </a:lnTo>
                  <a:lnTo>
                    <a:pt x="1060" y="678"/>
                  </a:lnTo>
                  <a:lnTo>
                    <a:pt x="1062" y="676"/>
                  </a:lnTo>
                  <a:lnTo>
                    <a:pt x="1062" y="676"/>
                  </a:lnTo>
                  <a:lnTo>
                    <a:pt x="1062" y="676"/>
                  </a:lnTo>
                  <a:lnTo>
                    <a:pt x="1062" y="674"/>
                  </a:lnTo>
                  <a:lnTo>
                    <a:pt x="1064" y="670"/>
                  </a:lnTo>
                  <a:lnTo>
                    <a:pt x="1064" y="668"/>
                  </a:lnTo>
                  <a:lnTo>
                    <a:pt x="1064" y="664"/>
                  </a:lnTo>
                  <a:lnTo>
                    <a:pt x="1064" y="660"/>
                  </a:lnTo>
                  <a:lnTo>
                    <a:pt x="1064" y="658"/>
                  </a:lnTo>
                  <a:lnTo>
                    <a:pt x="1064" y="654"/>
                  </a:lnTo>
                  <a:lnTo>
                    <a:pt x="1064" y="654"/>
                  </a:lnTo>
                  <a:lnTo>
                    <a:pt x="1064" y="654"/>
                  </a:lnTo>
                  <a:lnTo>
                    <a:pt x="1064" y="652"/>
                  </a:lnTo>
                  <a:lnTo>
                    <a:pt x="1064" y="652"/>
                  </a:lnTo>
                  <a:lnTo>
                    <a:pt x="1062" y="652"/>
                  </a:lnTo>
                  <a:lnTo>
                    <a:pt x="1062" y="650"/>
                  </a:lnTo>
                  <a:lnTo>
                    <a:pt x="1062" y="650"/>
                  </a:lnTo>
                  <a:lnTo>
                    <a:pt x="1060" y="650"/>
                  </a:lnTo>
                  <a:lnTo>
                    <a:pt x="1058" y="650"/>
                  </a:lnTo>
                  <a:lnTo>
                    <a:pt x="1058" y="650"/>
                  </a:lnTo>
                  <a:lnTo>
                    <a:pt x="1058" y="650"/>
                  </a:lnTo>
                  <a:lnTo>
                    <a:pt x="1056" y="652"/>
                  </a:lnTo>
                  <a:lnTo>
                    <a:pt x="1056" y="652"/>
                  </a:lnTo>
                  <a:lnTo>
                    <a:pt x="1056" y="652"/>
                  </a:lnTo>
                  <a:lnTo>
                    <a:pt x="1054" y="652"/>
                  </a:lnTo>
                  <a:lnTo>
                    <a:pt x="1052" y="656"/>
                  </a:lnTo>
                  <a:lnTo>
                    <a:pt x="1050" y="656"/>
                  </a:lnTo>
                  <a:lnTo>
                    <a:pt x="1050" y="656"/>
                  </a:lnTo>
                  <a:lnTo>
                    <a:pt x="1048" y="656"/>
                  </a:lnTo>
                  <a:lnTo>
                    <a:pt x="1046" y="658"/>
                  </a:lnTo>
                  <a:lnTo>
                    <a:pt x="1044" y="658"/>
                  </a:lnTo>
                  <a:lnTo>
                    <a:pt x="1042" y="658"/>
                  </a:lnTo>
                  <a:lnTo>
                    <a:pt x="1042" y="658"/>
                  </a:lnTo>
                  <a:lnTo>
                    <a:pt x="1042" y="656"/>
                  </a:lnTo>
                  <a:lnTo>
                    <a:pt x="1042" y="654"/>
                  </a:lnTo>
                  <a:lnTo>
                    <a:pt x="1044" y="652"/>
                  </a:lnTo>
                  <a:lnTo>
                    <a:pt x="1046" y="648"/>
                  </a:lnTo>
                  <a:lnTo>
                    <a:pt x="1050" y="642"/>
                  </a:lnTo>
                  <a:lnTo>
                    <a:pt x="1050" y="638"/>
                  </a:lnTo>
                  <a:lnTo>
                    <a:pt x="1052" y="636"/>
                  </a:lnTo>
                  <a:lnTo>
                    <a:pt x="1054" y="630"/>
                  </a:lnTo>
                  <a:lnTo>
                    <a:pt x="1054" y="624"/>
                  </a:lnTo>
                  <a:lnTo>
                    <a:pt x="1054" y="624"/>
                  </a:lnTo>
                  <a:lnTo>
                    <a:pt x="1054" y="624"/>
                  </a:lnTo>
                  <a:lnTo>
                    <a:pt x="1054" y="620"/>
                  </a:lnTo>
                  <a:lnTo>
                    <a:pt x="1054" y="620"/>
                  </a:lnTo>
                  <a:lnTo>
                    <a:pt x="1054" y="620"/>
                  </a:lnTo>
                  <a:lnTo>
                    <a:pt x="1052" y="618"/>
                  </a:lnTo>
                  <a:lnTo>
                    <a:pt x="1052" y="618"/>
                  </a:lnTo>
                  <a:lnTo>
                    <a:pt x="1052" y="618"/>
                  </a:lnTo>
                  <a:lnTo>
                    <a:pt x="1052" y="616"/>
                  </a:lnTo>
                  <a:lnTo>
                    <a:pt x="1052" y="616"/>
                  </a:lnTo>
                  <a:lnTo>
                    <a:pt x="1050" y="614"/>
                  </a:lnTo>
                  <a:lnTo>
                    <a:pt x="1050" y="614"/>
                  </a:lnTo>
                  <a:lnTo>
                    <a:pt x="1050" y="614"/>
                  </a:lnTo>
                  <a:lnTo>
                    <a:pt x="1048" y="612"/>
                  </a:lnTo>
                  <a:lnTo>
                    <a:pt x="1046" y="612"/>
                  </a:lnTo>
                  <a:lnTo>
                    <a:pt x="1046" y="612"/>
                  </a:lnTo>
                  <a:lnTo>
                    <a:pt x="1046" y="612"/>
                  </a:lnTo>
                  <a:lnTo>
                    <a:pt x="1042" y="612"/>
                  </a:lnTo>
                  <a:lnTo>
                    <a:pt x="1040" y="612"/>
                  </a:lnTo>
                  <a:lnTo>
                    <a:pt x="1040" y="610"/>
                  </a:lnTo>
                  <a:lnTo>
                    <a:pt x="1044" y="610"/>
                  </a:lnTo>
                  <a:lnTo>
                    <a:pt x="1046" y="608"/>
                  </a:lnTo>
                  <a:lnTo>
                    <a:pt x="1046" y="608"/>
                  </a:lnTo>
                  <a:lnTo>
                    <a:pt x="1046" y="608"/>
                  </a:lnTo>
                  <a:lnTo>
                    <a:pt x="1048" y="608"/>
                  </a:lnTo>
                  <a:lnTo>
                    <a:pt x="1048" y="608"/>
                  </a:lnTo>
                  <a:lnTo>
                    <a:pt x="1048" y="606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52" y="600"/>
                  </a:lnTo>
                  <a:lnTo>
                    <a:pt x="1052" y="600"/>
                  </a:lnTo>
                  <a:lnTo>
                    <a:pt x="1052" y="600"/>
                  </a:lnTo>
                  <a:lnTo>
                    <a:pt x="1052" y="596"/>
                  </a:lnTo>
                  <a:lnTo>
                    <a:pt x="1052" y="596"/>
                  </a:lnTo>
                  <a:lnTo>
                    <a:pt x="1050" y="596"/>
                  </a:lnTo>
                  <a:lnTo>
                    <a:pt x="1050" y="594"/>
                  </a:lnTo>
                  <a:lnTo>
                    <a:pt x="1050" y="594"/>
                  </a:lnTo>
                  <a:lnTo>
                    <a:pt x="1048" y="592"/>
                  </a:lnTo>
                  <a:lnTo>
                    <a:pt x="1048" y="592"/>
                  </a:lnTo>
                  <a:lnTo>
                    <a:pt x="1046" y="592"/>
                  </a:lnTo>
                  <a:lnTo>
                    <a:pt x="1042" y="592"/>
                  </a:lnTo>
                  <a:lnTo>
                    <a:pt x="1036" y="590"/>
                  </a:lnTo>
                  <a:lnTo>
                    <a:pt x="1032" y="590"/>
                  </a:lnTo>
                  <a:lnTo>
                    <a:pt x="1030" y="590"/>
                  </a:lnTo>
                  <a:lnTo>
                    <a:pt x="1026" y="588"/>
                  </a:lnTo>
                  <a:lnTo>
                    <a:pt x="1022" y="588"/>
                  </a:lnTo>
                  <a:lnTo>
                    <a:pt x="1020" y="586"/>
                  </a:lnTo>
                  <a:lnTo>
                    <a:pt x="1018" y="584"/>
                  </a:lnTo>
                  <a:lnTo>
                    <a:pt x="1016" y="582"/>
                  </a:lnTo>
                  <a:lnTo>
                    <a:pt x="1014" y="580"/>
                  </a:lnTo>
                  <a:lnTo>
                    <a:pt x="1012" y="576"/>
                  </a:lnTo>
                  <a:lnTo>
                    <a:pt x="1008" y="572"/>
                  </a:lnTo>
                  <a:lnTo>
                    <a:pt x="1006" y="568"/>
                  </a:lnTo>
                  <a:lnTo>
                    <a:pt x="1004" y="564"/>
                  </a:lnTo>
                  <a:lnTo>
                    <a:pt x="1002" y="562"/>
                  </a:lnTo>
                  <a:lnTo>
                    <a:pt x="1000" y="558"/>
                  </a:lnTo>
                  <a:lnTo>
                    <a:pt x="998" y="556"/>
                  </a:lnTo>
                  <a:lnTo>
                    <a:pt x="996" y="554"/>
                  </a:lnTo>
                  <a:lnTo>
                    <a:pt x="994" y="552"/>
                  </a:lnTo>
                  <a:lnTo>
                    <a:pt x="994" y="552"/>
                  </a:lnTo>
                  <a:lnTo>
                    <a:pt x="994" y="552"/>
                  </a:lnTo>
                  <a:lnTo>
                    <a:pt x="990" y="550"/>
                  </a:lnTo>
                  <a:lnTo>
                    <a:pt x="990" y="550"/>
                  </a:lnTo>
                  <a:lnTo>
                    <a:pt x="990" y="550"/>
                  </a:lnTo>
                  <a:lnTo>
                    <a:pt x="988" y="550"/>
                  </a:lnTo>
                  <a:lnTo>
                    <a:pt x="988" y="550"/>
                  </a:lnTo>
                  <a:lnTo>
                    <a:pt x="988" y="550"/>
                  </a:lnTo>
                  <a:lnTo>
                    <a:pt x="986" y="550"/>
                  </a:lnTo>
                  <a:lnTo>
                    <a:pt x="986" y="550"/>
                  </a:lnTo>
                  <a:lnTo>
                    <a:pt x="986" y="550"/>
                  </a:lnTo>
                  <a:lnTo>
                    <a:pt x="984" y="550"/>
                  </a:lnTo>
                  <a:lnTo>
                    <a:pt x="984" y="550"/>
                  </a:lnTo>
                  <a:lnTo>
                    <a:pt x="984" y="550"/>
                  </a:lnTo>
                  <a:lnTo>
                    <a:pt x="980" y="550"/>
                  </a:lnTo>
                  <a:lnTo>
                    <a:pt x="978" y="552"/>
                  </a:lnTo>
                  <a:lnTo>
                    <a:pt x="976" y="552"/>
                  </a:lnTo>
                  <a:lnTo>
                    <a:pt x="974" y="552"/>
                  </a:lnTo>
                  <a:lnTo>
                    <a:pt x="972" y="552"/>
                  </a:lnTo>
                  <a:lnTo>
                    <a:pt x="966" y="552"/>
                  </a:lnTo>
                  <a:lnTo>
                    <a:pt x="962" y="552"/>
                  </a:lnTo>
                  <a:lnTo>
                    <a:pt x="958" y="552"/>
                  </a:lnTo>
                  <a:lnTo>
                    <a:pt x="956" y="552"/>
                  </a:lnTo>
                  <a:lnTo>
                    <a:pt x="952" y="550"/>
                  </a:lnTo>
                  <a:lnTo>
                    <a:pt x="950" y="548"/>
                  </a:lnTo>
                  <a:lnTo>
                    <a:pt x="946" y="546"/>
                  </a:lnTo>
                  <a:lnTo>
                    <a:pt x="944" y="546"/>
                  </a:lnTo>
                  <a:lnTo>
                    <a:pt x="940" y="544"/>
                  </a:lnTo>
                  <a:lnTo>
                    <a:pt x="940" y="544"/>
                  </a:lnTo>
                  <a:lnTo>
                    <a:pt x="940" y="544"/>
                  </a:lnTo>
                  <a:lnTo>
                    <a:pt x="938" y="544"/>
                  </a:lnTo>
                  <a:lnTo>
                    <a:pt x="938" y="544"/>
                  </a:lnTo>
                  <a:lnTo>
                    <a:pt x="936" y="544"/>
                  </a:lnTo>
                  <a:lnTo>
                    <a:pt x="934" y="544"/>
                  </a:lnTo>
                  <a:lnTo>
                    <a:pt x="934" y="544"/>
                  </a:lnTo>
                  <a:lnTo>
                    <a:pt x="932" y="544"/>
                  </a:lnTo>
                  <a:lnTo>
                    <a:pt x="930" y="546"/>
                  </a:lnTo>
                  <a:lnTo>
                    <a:pt x="930" y="546"/>
                  </a:lnTo>
                  <a:lnTo>
                    <a:pt x="930" y="546"/>
                  </a:lnTo>
                  <a:lnTo>
                    <a:pt x="928" y="550"/>
                  </a:lnTo>
                  <a:lnTo>
                    <a:pt x="928" y="552"/>
                  </a:lnTo>
                  <a:lnTo>
                    <a:pt x="926" y="556"/>
                  </a:lnTo>
                  <a:lnTo>
                    <a:pt x="924" y="564"/>
                  </a:lnTo>
                  <a:lnTo>
                    <a:pt x="924" y="568"/>
                  </a:lnTo>
                  <a:lnTo>
                    <a:pt x="922" y="572"/>
                  </a:lnTo>
                  <a:lnTo>
                    <a:pt x="924" y="576"/>
                  </a:lnTo>
                  <a:lnTo>
                    <a:pt x="924" y="576"/>
                  </a:lnTo>
                  <a:lnTo>
                    <a:pt x="924" y="576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6" y="584"/>
                  </a:lnTo>
                  <a:lnTo>
                    <a:pt x="928" y="590"/>
                  </a:lnTo>
                  <a:lnTo>
                    <a:pt x="930" y="592"/>
                  </a:lnTo>
                  <a:lnTo>
                    <a:pt x="930" y="594"/>
                  </a:lnTo>
                  <a:lnTo>
                    <a:pt x="932" y="600"/>
                  </a:lnTo>
                  <a:lnTo>
                    <a:pt x="934" y="606"/>
                  </a:lnTo>
                  <a:lnTo>
                    <a:pt x="934" y="612"/>
                  </a:lnTo>
                  <a:lnTo>
                    <a:pt x="934" y="618"/>
                  </a:lnTo>
                  <a:lnTo>
                    <a:pt x="934" y="624"/>
                  </a:lnTo>
                  <a:lnTo>
                    <a:pt x="932" y="630"/>
                  </a:lnTo>
                  <a:lnTo>
                    <a:pt x="930" y="636"/>
                  </a:lnTo>
                  <a:lnTo>
                    <a:pt x="928" y="642"/>
                  </a:lnTo>
                  <a:lnTo>
                    <a:pt x="928" y="644"/>
                  </a:lnTo>
                  <a:lnTo>
                    <a:pt x="926" y="646"/>
                  </a:lnTo>
                  <a:lnTo>
                    <a:pt x="924" y="650"/>
                  </a:lnTo>
                  <a:lnTo>
                    <a:pt x="922" y="652"/>
                  </a:lnTo>
                  <a:lnTo>
                    <a:pt x="922" y="652"/>
                  </a:lnTo>
                  <a:lnTo>
                    <a:pt x="922" y="654"/>
                  </a:lnTo>
                  <a:lnTo>
                    <a:pt x="922" y="656"/>
                  </a:lnTo>
                  <a:lnTo>
                    <a:pt x="922" y="656"/>
                  </a:lnTo>
                  <a:lnTo>
                    <a:pt x="920" y="656"/>
                  </a:lnTo>
                  <a:lnTo>
                    <a:pt x="920" y="660"/>
                  </a:lnTo>
                  <a:lnTo>
                    <a:pt x="920" y="660"/>
                  </a:lnTo>
                  <a:lnTo>
                    <a:pt x="922" y="660"/>
                  </a:lnTo>
                  <a:lnTo>
                    <a:pt x="922" y="664"/>
                  </a:lnTo>
                  <a:lnTo>
                    <a:pt x="922" y="664"/>
                  </a:lnTo>
                  <a:lnTo>
                    <a:pt x="922" y="664"/>
                  </a:lnTo>
                  <a:lnTo>
                    <a:pt x="924" y="666"/>
                  </a:lnTo>
                  <a:lnTo>
                    <a:pt x="924" y="666"/>
                  </a:lnTo>
                  <a:lnTo>
                    <a:pt x="924" y="666"/>
                  </a:lnTo>
                  <a:lnTo>
                    <a:pt x="924" y="668"/>
                  </a:lnTo>
                  <a:lnTo>
                    <a:pt x="924" y="668"/>
                  </a:lnTo>
                  <a:lnTo>
                    <a:pt x="926" y="668"/>
                  </a:lnTo>
                  <a:lnTo>
                    <a:pt x="928" y="670"/>
                  </a:lnTo>
                  <a:lnTo>
                    <a:pt x="934" y="674"/>
                  </a:lnTo>
                  <a:lnTo>
                    <a:pt x="938" y="676"/>
                  </a:lnTo>
                  <a:lnTo>
                    <a:pt x="944" y="680"/>
                  </a:lnTo>
                  <a:lnTo>
                    <a:pt x="948" y="682"/>
                  </a:lnTo>
                  <a:lnTo>
                    <a:pt x="950" y="686"/>
                  </a:lnTo>
                  <a:lnTo>
                    <a:pt x="950" y="688"/>
                  </a:lnTo>
                  <a:lnTo>
                    <a:pt x="952" y="690"/>
                  </a:lnTo>
                  <a:lnTo>
                    <a:pt x="952" y="692"/>
                  </a:lnTo>
                  <a:lnTo>
                    <a:pt x="952" y="694"/>
                  </a:lnTo>
                  <a:lnTo>
                    <a:pt x="952" y="702"/>
                  </a:lnTo>
                  <a:lnTo>
                    <a:pt x="952" y="708"/>
                  </a:lnTo>
                  <a:lnTo>
                    <a:pt x="950" y="716"/>
                  </a:lnTo>
                  <a:lnTo>
                    <a:pt x="948" y="724"/>
                  </a:lnTo>
                  <a:lnTo>
                    <a:pt x="946" y="730"/>
                  </a:lnTo>
                  <a:lnTo>
                    <a:pt x="944" y="736"/>
                  </a:lnTo>
                  <a:lnTo>
                    <a:pt x="944" y="738"/>
                  </a:lnTo>
                  <a:lnTo>
                    <a:pt x="942" y="740"/>
                  </a:lnTo>
                  <a:lnTo>
                    <a:pt x="942" y="744"/>
                  </a:lnTo>
                  <a:lnTo>
                    <a:pt x="940" y="746"/>
                  </a:lnTo>
                  <a:lnTo>
                    <a:pt x="936" y="748"/>
                  </a:lnTo>
                  <a:lnTo>
                    <a:pt x="934" y="748"/>
                  </a:lnTo>
                  <a:lnTo>
                    <a:pt x="932" y="750"/>
                  </a:lnTo>
                  <a:lnTo>
                    <a:pt x="930" y="750"/>
                  </a:lnTo>
                  <a:lnTo>
                    <a:pt x="926" y="750"/>
                  </a:lnTo>
                  <a:lnTo>
                    <a:pt x="924" y="750"/>
                  </a:lnTo>
                  <a:lnTo>
                    <a:pt x="922" y="752"/>
                  </a:lnTo>
                  <a:lnTo>
                    <a:pt x="920" y="750"/>
                  </a:lnTo>
                  <a:lnTo>
                    <a:pt x="920" y="750"/>
                  </a:lnTo>
                  <a:lnTo>
                    <a:pt x="916" y="750"/>
                  </a:lnTo>
                  <a:lnTo>
                    <a:pt x="914" y="750"/>
                  </a:lnTo>
                  <a:lnTo>
                    <a:pt x="914" y="750"/>
                  </a:lnTo>
                  <a:lnTo>
                    <a:pt x="914" y="750"/>
                  </a:lnTo>
                  <a:lnTo>
                    <a:pt x="912" y="750"/>
                  </a:lnTo>
                  <a:lnTo>
                    <a:pt x="912" y="750"/>
                  </a:lnTo>
                  <a:lnTo>
                    <a:pt x="912" y="750"/>
                  </a:lnTo>
                  <a:lnTo>
                    <a:pt x="910" y="750"/>
                  </a:lnTo>
                  <a:lnTo>
                    <a:pt x="910" y="750"/>
                  </a:lnTo>
                  <a:lnTo>
                    <a:pt x="908" y="752"/>
                  </a:lnTo>
                  <a:lnTo>
                    <a:pt x="908" y="752"/>
                  </a:lnTo>
                  <a:lnTo>
                    <a:pt x="908" y="752"/>
                  </a:lnTo>
                  <a:lnTo>
                    <a:pt x="908" y="754"/>
                  </a:lnTo>
                  <a:lnTo>
                    <a:pt x="906" y="756"/>
                  </a:lnTo>
                  <a:lnTo>
                    <a:pt x="906" y="756"/>
                  </a:lnTo>
                  <a:lnTo>
                    <a:pt x="906" y="756"/>
                  </a:lnTo>
                  <a:lnTo>
                    <a:pt x="906" y="758"/>
                  </a:lnTo>
                  <a:lnTo>
                    <a:pt x="906" y="762"/>
                  </a:lnTo>
                  <a:lnTo>
                    <a:pt x="908" y="766"/>
                  </a:lnTo>
                  <a:lnTo>
                    <a:pt x="908" y="774"/>
                  </a:lnTo>
                  <a:lnTo>
                    <a:pt x="910" y="778"/>
                  </a:lnTo>
                  <a:lnTo>
                    <a:pt x="910" y="782"/>
                  </a:lnTo>
                  <a:lnTo>
                    <a:pt x="912" y="786"/>
                  </a:lnTo>
                  <a:lnTo>
                    <a:pt x="912" y="790"/>
                  </a:lnTo>
                  <a:lnTo>
                    <a:pt x="916" y="798"/>
                  </a:lnTo>
                  <a:lnTo>
                    <a:pt x="918" y="806"/>
                  </a:lnTo>
                  <a:lnTo>
                    <a:pt x="920" y="810"/>
                  </a:lnTo>
                  <a:lnTo>
                    <a:pt x="920" y="812"/>
                  </a:lnTo>
                  <a:lnTo>
                    <a:pt x="920" y="816"/>
                  </a:lnTo>
                  <a:lnTo>
                    <a:pt x="920" y="818"/>
                  </a:lnTo>
                  <a:lnTo>
                    <a:pt x="920" y="824"/>
                  </a:lnTo>
                  <a:lnTo>
                    <a:pt x="918" y="828"/>
                  </a:lnTo>
                  <a:lnTo>
                    <a:pt x="916" y="832"/>
                  </a:lnTo>
                  <a:lnTo>
                    <a:pt x="914" y="836"/>
                  </a:lnTo>
                  <a:lnTo>
                    <a:pt x="914" y="840"/>
                  </a:lnTo>
                  <a:lnTo>
                    <a:pt x="912" y="842"/>
                  </a:lnTo>
                  <a:lnTo>
                    <a:pt x="912" y="844"/>
                  </a:lnTo>
                  <a:lnTo>
                    <a:pt x="912" y="844"/>
                  </a:lnTo>
                  <a:lnTo>
                    <a:pt x="910" y="844"/>
                  </a:lnTo>
                  <a:lnTo>
                    <a:pt x="908" y="846"/>
                  </a:lnTo>
                  <a:lnTo>
                    <a:pt x="904" y="846"/>
                  </a:lnTo>
                  <a:lnTo>
                    <a:pt x="900" y="846"/>
                  </a:lnTo>
                  <a:lnTo>
                    <a:pt x="900" y="844"/>
                  </a:lnTo>
                  <a:lnTo>
                    <a:pt x="898" y="844"/>
                  </a:lnTo>
                  <a:lnTo>
                    <a:pt x="894" y="842"/>
                  </a:lnTo>
                  <a:lnTo>
                    <a:pt x="892" y="838"/>
                  </a:lnTo>
                  <a:lnTo>
                    <a:pt x="888" y="834"/>
                  </a:lnTo>
                  <a:lnTo>
                    <a:pt x="886" y="830"/>
                  </a:lnTo>
                  <a:lnTo>
                    <a:pt x="884" y="828"/>
                  </a:lnTo>
                  <a:lnTo>
                    <a:pt x="880" y="826"/>
                  </a:lnTo>
                  <a:lnTo>
                    <a:pt x="876" y="820"/>
                  </a:lnTo>
                  <a:lnTo>
                    <a:pt x="874" y="818"/>
                  </a:lnTo>
                  <a:lnTo>
                    <a:pt x="872" y="816"/>
                  </a:lnTo>
                  <a:lnTo>
                    <a:pt x="870" y="812"/>
                  </a:lnTo>
                  <a:lnTo>
                    <a:pt x="870" y="810"/>
                  </a:lnTo>
                  <a:lnTo>
                    <a:pt x="868" y="804"/>
                  </a:lnTo>
                  <a:lnTo>
                    <a:pt x="868" y="798"/>
                  </a:lnTo>
                  <a:lnTo>
                    <a:pt x="868" y="792"/>
                  </a:lnTo>
                  <a:lnTo>
                    <a:pt x="866" y="786"/>
                  </a:lnTo>
                  <a:lnTo>
                    <a:pt x="866" y="778"/>
                  </a:lnTo>
                  <a:lnTo>
                    <a:pt x="866" y="772"/>
                  </a:lnTo>
                  <a:lnTo>
                    <a:pt x="866" y="766"/>
                  </a:lnTo>
                  <a:lnTo>
                    <a:pt x="866" y="762"/>
                  </a:lnTo>
                  <a:lnTo>
                    <a:pt x="864" y="758"/>
                  </a:lnTo>
                  <a:lnTo>
                    <a:pt x="864" y="756"/>
                  </a:lnTo>
                  <a:lnTo>
                    <a:pt x="864" y="754"/>
                  </a:lnTo>
                  <a:lnTo>
                    <a:pt x="864" y="752"/>
                  </a:lnTo>
                  <a:lnTo>
                    <a:pt x="864" y="752"/>
                  </a:lnTo>
                  <a:lnTo>
                    <a:pt x="864" y="752"/>
                  </a:lnTo>
                  <a:lnTo>
                    <a:pt x="864" y="750"/>
                  </a:lnTo>
                  <a:lnTo>
                    <a:pt x="864" y="750"/>
                  </a:lnTo>
                  <a:lnTo>
                    <a:pt x="864" y="750"/>
                  </a:lnTo>
                  <a:lnTo>
                    <a:pt x="862" y="748"/>
                  </a:lnTo>
                  <a:lnTo>
                    <a:pt x="862" y="748"/>
                  </a:lnTo>
                  <a:lnTo>
                    <a:pt x="862" y="748"/>
                  </a:lnTo>
                  <a:lnTo>
                    <a:pt x="860" y="746"/>
                  </a:lnTo>
                  <a:lnTo>
                    <a:pt x="858" y="746"/>
                  </a:lnTo>
                  <a:lnTo>
                    <a:pt x="858" y="746"/>
                  </a:lnTo>
                  <a:lnTo>
                    <a:pt x="858" y="744"/>
                  </a:lnTo>
                  <a:lnTo>
                    <a:pt x="854" y="744"/>
                  </a:lnTo>
                  <a:lnTo>
                    <a:pt x="854" y="744"/>
                  </a:lnTo>
                  <a:lnTo>
                    <a:pt x="854" y="744"/>
                  </a:lnTo>
                  <a:lnTo>
                    <a:pt x="848" y="742"/>
                  </a:lnTo>
                  <a:lnTo>
                    <a:pt x="844" y="742"/>
                  </a:lnTo>
                  <a:lnTo>
                    <a:pt x="838" y="742"/>
                  </a:lnTo>
                  <a:lnTo>
                    <a:pt x="832" y="740"/>
                  </a:lnTo>
                  <a:lnTo>
                    <a:pt x="824" y="740"/>
                  </a:lnTo>
                  <a:lnTo>
                    <a:pt x="820" y="738"/>
                  </a:lnTo>
                  <a:lnTo>
                    <a:pt x="814" y="738"/>
                  </a:lnTo>
                  <a:lnTo>
                    <a:pt x="810" y="734"/>
                  </a:lnTo>
                  <a:lnTo>
                    <a:pt x="804" y="730"/>
                  </a:lnTo>
                  <a:lnTo>
                    <a:pt x="798" y="726"/>
                  </a:lnTo>
                  <a:lnTo>
                    <a:pt x="794" y="722"/>
                  </a:lnTo>
                  <a:lnTo>
                    <a:pt x="788" y="718"/>
                  </a:lnTo>
                  <a:lnTo>
                    <a:pt x="784" y="714"/>
                  </a:lnTo>
                  <a:lnTo>
                    <a:pt x="780" y="710"/>
                  </a:lnTo>
                  <a:lnTo>
                    <a:pt x="776" y="708"/>
                  </a:lnTo>
                  <a:lnTo>
                    <a:pt x="772" y="706"/>
                  </a:lnTo>
                  <a:lnTo>
                    <a:pt x="768" y="704"/>
                  </a:lnTo>
                  <a:lnTo>
                    <a:pt x="764" y="704"/>
                  </a:lnTo>
                  <a:lnTo>
                    <a:pt x="762" y="702"/>
                  </a:lnTo>
                  <a:lnTo>
                    <a:pt x="756" y="702"/>
                  </a:lnTo>
                  <a:lnTo>
                    <a:pt x="754" y="702"/>
                  </a:lnTo>
                  <a:lnTo>
                    <a:pt x="752" y="700"/>
                  </a:lnTo>
                  <a:lnTo>
                    <a:pt x="750" y="700"/>
                  </a:lnTo>
                  <a:lnTo>
                    <a:pt x="748" y="698"/>
                  </a:lnTo>
                  <a:lnTo>
                    <a:pt x="746" y="696"/>
                  </a:lnTo>
                  <a:lnTo>
                    <a:pt x="744" y="694"/>
                  </a:lnTo>
                  <a:lnTo>
                    <a:pt x="744" y="694"/>
                  </a:lnTo>
                  <a:lnTo>
                    <a:pt x="744" y="694"/>
                  </a:lnTo>
                  <a:lnTo>
                    <a:pt x="742" y="694"/>
                  </a:lnTo>
                  <a:lnTo>
                    <a:pt x="742" y="694"/>
                  </a:lnTo>
                  <a:lnTo>
                    <a:pt x="742" y="692"/>
                  </a:lnTo>
                  <a:lnTo>
                    <a:pt x="740" y="692"/>
                  </a:lnTo>
                  <a:lnTo>
                    <a:pt x="740" y="692"/>
                  </a:lnTo>
                  <a:lnTo>
                    <a:pt x="738" y="692"/>
                  </a:lnTo>
                  <a:lnTo>
                    <a:pt x="736" y="692"/>
                  </a:lnTo>
                  <a:lnTo>
                    <a:pt x="736" y="692"/>
                  </a:lnTo>
                  <a:lnTo>
                    <a:pt x="736" y="692"/>
                  </a:lnTo>
                  <a:lnTo>
                    <a:pt x="734" y="694"/>
                  </a:lnTo>
                  <a:lnTo>
                    <a:pt x="734" y="694"/>
                  </a:lnTo>
                  <a:lnTo>
                    <a:pt x="734" y="694"/>
                  </a:lnTo>
                  <a:lnTo>
                    <a:pt x="732" y="694"/>
                  </a:lnTo>
                  <a:lnTo>
                    <a:pt x="730" y="696"/>
                  </a:lnTo>
                  <a:lnTo>
                    <a:pt x="726" y="698"/>
                  </a:lnTo>
                  <a:lnTo>
                    <a:pt x="726" y="698"/>
                  </a:lnTo>
                  <a:lnTo>
                    <a:pt x="724" y="698"/>
                  </a:lnTo>
                  <a:lnTo>
                    <a:pt x="724" y="698"/>
                  </a:lnTo>
                  <a:lnTo>
                    <a:pt x="724" y="698"/>
                  </a:lnTo>
                  <a:lnTo>
                    <a:pt x="722" y="696"/>
                  </a:lnTo>
                  <a:lnTo>
                    <a:pt x="722" y="692"/>
                  </a:lnTo>
                  <a:lnTo>
                    <a:pt x="720" y="690"/>
                  </a:lnTo>
                  <a:lnTo>
                    <a:pt x="718" y="682"/>
                  </a:lnTo>
                  <a:lnTo>
                    <a:pt x="716" y="680"/>
                  </a:lnTo>
                  <a:lnTo>
                    <a:pt x="714" y="676"/>
                  </a:lnTo>
                  <a:lnTo>
                    <a:pt x="714" y="674"/>
                  </a:lnTo>
                  <a:lnTo>
                    <a:pt x="714" y="670"/>
                  </a:lnTo>
                  <a:lnTo>
                    <a:pt x="712" y="664"/>
                  </a:lnTo>
                  <a:lnTo>
                    <a:pt x="712" y="660"/>
                  </a:lnTo>
                  <a:lnTo>
                    <a:pt x="710" y="658"/>
                  </a:lnTo>
                  <a:lnTo>
                    <a:pt x="710" y="658"/>
                  </a:lnTo>
                  <a:lnTo>
                    <a:pt x="710" y="658"/>
                  </a:lnTo>
                  <a:lnTo>
                    <a:pt x="710" y="654"/>
                  </a:lnTo>
                  <a:lnTo>
                    <a:pt x="710" y="654"/>
                  </a:lnTo>
                  <a:lnTo>
                    <a:pt x="710" y="654"/>
                  </a:lnTo>
                  <a:lnTo>
                    <a:pt x="708" y="652"/>
                  </a:lnTo>
                  <a:lnTo>
                    <a:pt x="708" y="652"/>
                  </a:lnTo>
                  <a:lnTo>
                    <a:pt x="706" y="652"/>
                  </a:lnTo>
                  <a:lnTo>
                    <a:pt x="704" y="650"/>
                  </a:lnTo>
                  <a:lnTo>
                    <a:pt x="704" y="650"/>
                  </a:lnTo>
                  <a:lnTo>
                    <a:pt x="704" y="650"/>
                  </a:lnTo>
                  <a:lnTo>
                    <a:pt x="700" y="650"/>
                  </a:lnTo>
                  <a:lnTo>
                    <a:pt x="700" y="650"/>
                  </a:lnTo>
                  <a:lnTo>
                    <a:pt x="700" y="650"/>
                  </a:lnTo>
                  <a:lnTo>
                    <a:pt x="698" y="650"/>
                  </a:lnTo>
                  <a:lnTo>
                    <a:pt x="694" y="652"/>
                  </a:lnTo>
                  <a:lnTo>
                    <a:pt x="692" y="652"/>
                  </a:lnTo>
                  <a:lnTo>
                    <a:pt x="690" y="652"/>
                  </a:lnTo>
                  <a:lnTo>
                    <a:pt x="688" y="650"/>
                  </a:lnTo>
                  <a:lnTo>
                    <a:pt x="688" y="650"/>
                  </a:lnTo>
                  <a:lnTo>
                    <a:pt x="688" y="650"/>
                  </a:lnTo>
                  <a:lnTo>
                    <a:pt x="686" y="646"/>
                  </a:lnTo>
                  <a:lnTo>
                    <a:pt x="686" y="642"/>
                  </a:lnTo>
                  <a:lnTo>
                    <a:pt x="686" y="638"/>
                  </a:lnTo>
                  <a:lnTo>
                    <a:pt x="686" y="632"/>
                  </a:lnTo>
                  <a:lnTo>
                    <a:pt x="686" y="626"/>
                  </a:lnTo>
                  <a:lnTo>
                    <a:pt x="686" y="620"/>
                  </a:lnTo>
                  <a:lnTo>
                    <a:pt x="686" y="614"/>
                  </a:lnTo>
                  <a:lnTo>
                    <a:pt x="688" y="608"/>
                  </a:lnTo>
                  <a:lnTo>
                    <a:pt x="688" y="602"/>
                  </a:lnTo>
                  <a:lnTo>
                    <a:pt x="690" y="596"/>
                  </a:lnTo>
                  <a:lnTo>
                    <a:pt x="694" y="590"/>
                  </a:lnTo>
                  <a:lnTo>
                    <a:pt x="696" y="584"/>
                  </a:lnTo>
                  <a:lnTo>
                    <a:pt x="702" y="572"/>
                  </a:lnTo>
                  <a:lnTo>
                    <a:pt x="704" y="566"/>
                  </a:lnTo>
                  <a:lnTo>
                    <a:pt x="708" y="562"/>
                  </a:lnTo>
                  <a:lnTo>
                    <a:pt x="710" y="558"/>
                  </a:lnTo>
                  <a:lnTo>
                    <a:pt x="714" y="554"/>
                  </a:lnTo>
                  <a:lnTo>
                    <a:pt x="722" y="546"/>
                  </a:lnTo>
                  <a:lnTo>
                    <a:pt x="728" y="538"/>
                  </a:lnTo>
                  <a:lnTo>
                    <a:pt x="732" y="536"/>
                  </a:lnTo>
                  <a:lnTo>
                    <a:pt x="734" y="534"/>
                  </a:lnTo>
                  <a:lnTo>
                    <a:pt x="738" y="532"/>
                  </a:lnTo>
                  <a:lnTo>
                    <a:pt x="740" y="530"/>
                  </a:lnTo>
                  <a:lnTo>
                    <a:pt x="742" y="530"/>
                  </a:lnTo>
                  <a:lnTo>
                    <a:pt x="744" y="530"/>
                  </a:lnTo>
                  <a:lnTo>
                    <a:pt x="744" y="528"/>
                  </a:lnTo>
                  <a:lnTo>
                    <a:pt x="746" y="528"/>
                  </a:lnTo>
                  <a:lnTo>
                    <a:pt x="746" y="528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50" y="524"/>
                  </a:lnTo>
                  <a:lnTo>
                    <a:pt x="750" y="524"/>
                  </a:lnTo>
                  <a:lnTo>
                    <a:pt x="750" y="522"/>
                  </a:lnTo>
                  <a:lnTo>
                    <a:pt x="750" y="520"/>
                  </a:lnTo>
                  <a:lnTo>
                    <a:pt x="750" y="520"/>
                  </a:lnTo>
                  <a:lnTo>
                    <a:pt x="750" y="518"/>
                  </a:lnTo>
                  <a:lnTo>
                    <a:pt x="750" y="516"/>
                  </a:lnTo>
                  <a:lnTo>
                    <a:pt x="750" y="514"/>
                  </a:lnTo>
                  <a:lnTo>
                    <a:pt x="750" y="514"/>
                  </a:lnTo>
                  <a:lnTo>
                    <a:pt x="748" y="514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0"/>
                  </a:lnTo>
                  <a:lnTo>
                    <a:pt x="748" y="510"/>
                  </a:lnTo>
                  <a:lnTo>
                    <a:pt x="748" y="510"/>
                  </a:lnTo>
                  <a:lnTo>
                    <a:pt x="750" y="510"/>
                  </a:lnTo>
                  <a:lnTo>
                    <a:pt x="750" y="508"/>
                  </a:lnTo>
                  <a:lnTo>
                    <a:pt x="750" y="508"/>
                  </a:lnTo>
                  <a:lnTo>
                    <a:pt x="752" y="506"/>
                  </a:lnTo>
                  <a:lnTo>
                    <a:pt x="752" y="504"/>
                  </a:lnTo>
                  <a:lnTo>
                    <a:pt x="754" y="500"/>
                  </a:lnTo>
                  <a:lnTo>
                    <a:pt x="754" y="496"/>
                  </a:lnTo>
                  <a:lnTo>
                    <a:pt x="756" y="494"/>
                  </a:lnTo>
                  <a:lnTo>
                    <a:pt x="756" y="492"/>
                  </a:lnTo>
                  <a:lnTo>
                    <a:pt x="756" y="492"/>
                  </a:lnTo>
                  <a:lnTo>
                    <a:pt x="758" y="492"/>
                  </a:lnTo>
                  <a:lnTo>
                    <a:pt x="760" y="494"/>
                  </a:lnTo>
                  <a:lnTo>
                    <a:pt x="760" y="496"/>
                  </a:lnTo>
                  <a:lnTo>
                    <a:pt x="760" y="496"/>
                  </a:lnTo>
                  <a:lnTo>
                    <a:pt x="762" y="496"/>
                  </a:lnTo>
                  <a:lnTo>
                    <a:pt x="764" y="496"/>
                  </a:lnTo>
                  <a:lnTo>
                    <a:pt x="764" y="496"/>
                  </a:lnTo>
                  <a:lnTo>
                    <a:pt x="764" y="496"/>
                  </a:lnTo>
                  <a:lnTo>
                    <a:pt x="766" y="496"/>
                  </a:lnTo>
                  <a:lnTo>
                    <a:pt x="766" y="496"/>
                  </a:lnTo>
                  <a:lnTo>
                    <a:pt x="768" y="496"/>
                  </a:lnTo>
                  <a:lnTo>
                    <a:pt x="768" y="496"/>
                  </a:lnTo>
                  <a:lnTo>
                    <a:pt x="768" y="496"/>
                  </a:lnTo>
                  <a:lnTo>
                    <a:pt x="770" y="496"/>
                  </a:lnTo>
                  <a:lnTo>
                    <a:pt x="770" y="496"/>
                  </a:lnTo>
                  <a:lnTo>
                    <a:pt x="774" y="492"/>
                  </a:lnTo>
                  <a:lnTo>
                    <a:pt x="778" y="490"/>
                  </a:lnTo>
                  <a:lnTo>
                    <a:pt x="782" y="484"/>
                  </a:lnTo>
                  <a:lnTo>
                    <a:pt x="786" y="480"/>
                  </a:lnTo>
                  <a:lnTo>
                    <a:pt x="790" y="476"/>
                  </a:lnTo>
                  <a:lnTo>
                    <a:pt x="794" y="470"/>
                  </a:lnTo>
                  <a:lnTo>
                    <a:pt x="794" y="468"/>
                  </a:lnTo>
                  <a:lnTo>
                    <a:pt x="796" y="466"/>
                  </a:lnTo>
                  <a:lnTo>
                    <a:pt x="796" y="466"/>
                  </a:lnTo>
                  <a:lnTo>
                    <a:pt x="796" y="466"/>
                  </a:lnTo>
                  <a:lnTo>
                    <a:pt x="796" y="464"/>
                  </a:lnTo>
                  <a:lnTo>
                    <a:pt x="796" y="464"/>
                  </a:lnTo>
                  <a:lnTo>
                    <a:pt x="796" y="464"/>
                  </a:lnTo>
                  <a:lnTo>
                    <a:pt x="798" y="462"/>
                  </a:lnTo>
                  <a:lnTo>
                    <a:pt x="798" y="462"/>
                  </a:lnTo>
                  <a:lnTo>
                    <a:pt x="798" y="460"/>
                  </a:lnTo>
                  <a:lnTo>
                    <a:pt x="796" y="460"/>
                  </a:lnTo>
                  <a:lnTo>
                    <a:pt x="796" y="460"/>
                  </a:lnTo>
                  <a:lnTo>
                    <a:pt x="796" y="458"/>
                  </a:lnTo>
                  <a:lnTo>
                    <a:pt x="796" y="458"/>
                  </a:lnTo>
                  <a:lnTo>
                    <a:pt x="796" y="458"/>
                  </a:lnTo>
                  <a:lnTo>
                    <a:pt x="796" y="456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2" y="454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6" y="452"/>
                  </a:lnTo>
                  <a:lnTo>
                    <a:pt x="796" y="452"/>
                  </a:lnTo>
                  <a:lnTo>
                    <a:pt x="796" y="450"/>
                  </a:lnTo>
                  <a:lnTo>
                    <a:pt x="798" y="448"/>
                  </a:lnTo>
                  <a:lnTo>
                    <a:pt x="798" y="446"/>
                  </a:lnTo>
                  <a:lnTo>
                    <a:pt x="800" y="442"/>
                  </a:lnTo>
                  <a:lnTo>
                    <a:pt x="802" y="440"/>
                  </a:lnTo>
                  <a:lnTo>
                    <a:pt x="802" y="442"/>
                  </a:lnTo>
                  <a:lnTo>
                    <a:pt x="802" y="442"/>
                  </a:lnTo>
                  <a:lnTo>
                    <a:pt x="802" y="444"/>
                  </a:lnTo>
                  <a:lnTo>
                    <a:pt x="802" y="444"/>
                  </a:lnTo>
                  <a:lnTo>
                    <a:pt x="802" y="446"/>
                  </a:lnTo>
                  <a:lnTo>
                    <a:pt x="802" y="452"/>
                  </a:lnTo>
                  <a:lnTo>
                    <a:pt x="804" y="460"/>
                  </a:lnTo>
                  <a:lnTo>
                    <a:pt x="804" y="468"/>
                  </a:lnTo>
                  <a:lnTo>
                    <a:pt x="804" y="474"/>
                  </a:lnTo>
                  <a:lnTo>
                    <a:pt x="804" y="482"/>
                  </a:lnTo>
                  <a:lnTo>
                    <a:pt x="804" y="484"/>
                  </a:lnTo>
                  <a:lnTo>
                    <a:pt x="802" y="488"/>
                  </a:lnTo>
                  <a:lnTo>
                    <a:pt x="800" y="490"/>
                  </a:lnTo>
                  <a:lnTo>
                    <a:pt x="798" y="494"/>
                  </a:lnTo>
                  <a:lnTo>
                    <a:pt x="796" y="496"/>
                  </a:lnTo>
                  <a:lnTo>
                    <a:pt x="794" y="498"/>
                  </a:lnTo>
                  <a:lnTo>
                    <a:pt x="794" y="498"/>
                  </a:lnTo>
                  <a:lnTo>
                    <a:pt x="794" y="498"/>
                  </a:lnTo>
                  <a:lnTo>
                    <a:pt x="792" y="502"/>
                  </a:lnTo>
                  <a:lnTo>
                    <a:pt x="792" y="502"/>
                  </a:lnTo>
                  <a:lnTo>
                    <a:pt x="790" y="504"/>
                  </a:lnTo>
                  <a:lnTo>
                    <a:pt x="790" y="506"/>
                  </a:lnTo>
                  <a:lnTo>
                    <a:pt x="790" y="506"/>
                  </a:lnTo>
                  <a:lnTo>
                    <a:pt x="790" y="506"/>
                  </a:lnTo>
                  <a:lnTo>
                    <a:pt x="788" y="508"/>
                  </a:lnTo>
                  <a:lnTo>
                    <a:pt x="788" y="508"/>
                  </a:lnTo>
                  <a:lnTo>
                    <a:pt x="790" y="510"/>
                  </a:lnTo>
                  <a:lnTo>
                    <a:pt x="790" y="510"/>
                  </a:lnTo>
                  <a:lnTo>
                    <a:pt x="790" y="510"/>
                  </a:lnTo>
                  <a:lnTo>
                    <a:pt x="790" y="512"/>
                  </a:lnTo>
                  <a:lnTo>
                    <a:pt x="792" y="512"/>
                  </a:lnTo>
                  <a:lnTo>
                    <a:pt x="792" y="512"/>
                  </a:lnTo>
                  <a:lnTo>
                    <a:pt x="792" y="512"/>
                  </a:lnTo>
                  <a:lnTo>
                    <a:pt x="794" y="514"/>
                  </a:lnTo>
                  <a:lnTo>
                    <a:pt x="794" y="514"/>
                  </a:lnTo>
                  <a:lnTo>
                    <a:pt x="796" y="514"/>
                  </a:lnTo>
                  <a:lnTo>
                    <a:pt x="800" y="514"/>
                  </a:lnTo>
                  <a:lnTo>
                    <a:pt x="802" y="512"/>
                  </a:lnTo>
                  <a:lnTo>
                    <a:pt x="806" y="512"/>
                  </a:lnTo>
                  <a:lnTo>
                    <a:pt x="808" y="512"/>
                  </a:lnTo>
                  <a:lnTo>
                    <a:pt x="810" y="512"/>
                  </a:lnTo>
                  <a:lnTo>
                    <a:pt x="810" y="512"/>
                  </a:lnTo>
                  <a:lnTo>
                    <a:pt x="812" y="512"/>
                  </a:lnTo>
                  <a:lnTo>
                    <a:pt x="812" y="514"/>
                  </a:lnTo>
                  <a:lnTo>
                    <a:pt x="812" y="516"/>
                  </a:lnTo>
                  <a:lnTo>
                    <a:pt x="814" y="518"/>
                  </a:lnTo>
                  <a:lnTo>
                    <a:pt x="814" y="520"/>
                  </a:lnTo>
                  <a:lnTo>
                    <a:pt x="814" y="524"/>
                  </a:lnTo>
                  <a:lnTo>
                    <a:pt x="814" y="524"/>
                  </a:lnTo>
                  <a:lnTo>
                    <a:pt x="816" y="526"/>
                  </a:lnTo>
                  <a:lnTo>
                    <a:pt x="818" y="526"/>
                  </a:lnTo>
                  <a:lnTo>
                    <a:pt x="820" y="526"/>
                  </a:lnTo>
                  <a:lnTo>
                    <a:pt x="824" y="526"/>
                  </a:lnTo>
                  <a:lnTo>
                    <a:pt x="828" y="524"/>
                  </a:lnTo>
                  <a:lnTo>
                    <a:pt x="834" y="522"/>
                  </a:lnTo>
                  <a:lnTo>
                    <a:pt x="836" y="522"/>
                  </a:lnTo>
                  <a:lnTo>
                    <a:pt x="840" y="520"/>
                  </a:lnTo>
                  <a:lnTo>
                    <a:pt x="840" y="520"/>
                  </a:lnTo>
                  <a:lnTo>
                    <a:pt x="840" y="520"/>
                  </a:lnTo>
                  <a:lnTo>
                    <a:pt x="844" y="514"/>
                  </a:lnTo>
                  <a:lnTo>
                    <a:pt x="850" y="506"/>
                  </a:lnTo>
                  <a:lnTo>
                    <a:pt x="850" y="506"/>
                  </a:lnTo>
                  <a:lnTo>
                    <a:pt x="850" y="504"/>
                  </a:lnTo>
                  <a:lnTo>
                    <a:pt x="850" y="502"/>
                  </a:lnTo>
                  <a:lnTo>
                    <a:pt x="850" y="500"/>
                  </a:lnTo>
                  <a:lnTo>
                    <a:pt x="850" y="500"/>
                  </a:lnTo>
                  <a:lnTo>
                    <a:pt x="850" y="500"/>
                  </a:lnTo>
                  <a:lnTo>
                    <a:pt x="852" y="502"/>
                  </a:lnTo>
                  <a:lnTo>
                    <a:pt x="854" y="504"/>
                  </a:lnTo>
                  <a:lnTo>
                    <a:pt x="856" y="504"/>
                  </a:lnTo>
                  <a:lnTo>
                    <a:pt x="860" y="508"/>
                  </a:lnTo>
                  <a:lnTo>
                    <a:pt x="862" y="510"/>
                  </a:lnTo>
                  <a:lnTo>
                    <a:pt x="866" y="512"/>
                  </a:lnTo>
                  <a:lnTo>
                    <a:pt x="868" y="514"/>
                  </a:lnTo>
                  <a:lnTo>
                    <a:pt x="868" y="514"/>
                  </a:lnTo>
                  <a:lnTo>
                    <a:pt x="870" y="514"/>
                  </a:lnTo>
                  <a:lnTo>
                    <a:pt x="872" y="514"/>
                  </a:lnTo>
                  <a:lnTo>
                    <a:pt x="872" y="514"/>
                  </a:lnTo>
                  <a:lnTo>
                    <a:pt x="874" y="514"/>
                  </a:lnTo>
                  <a:lnTo>
                    <a:pt x="878" y="514"/>
                  </a:lnTo>
                  <a:lnTo>
                    <a:pt x="882" y="514"/>
                  </a:lnTo>
                  <a:lnTo>
                    <a:pt x="886" y="514"/>
                  </a:lnTo>
                  <a:lnTo>
                    <a:pt x="886" y="514"/>
                  </a:lnTo>
                  <a:lnTo>
                    <a:pt x="886" y="514"/>
                  </a:lnTo>
                  <a:lnTo>
                    <a:pt x="890" y="514"/>
                  </a:lnTo>
                  <a:lnTo>
                    <a:pt x="890" y="514"/>
                  </a:lnTo>
                  <a:lnTo>
                    <a:pt x="890" y="514"/>
                  </a:lnTo>
                  <a:lnTo>
                    <a:pt x="892" y="512"/>
                  </a:lnTo>
                  <a:lnTo>
                    <a:pt x="892" y="512"/>
                  </a:lnTo>
                  <a:lnTo>
                    <a:pt x="894" y="512"/>
                  </a:lnTo>
                  <a:lnTo>
                    <a:pt x="894" y="510"/>
                  </a:lnTo>
                  <a:lnTo>
                    <a:pt x="894" y="510"/>
                  </a:lnTo>
                  <a:lnTo>
                    <a:pt x="896" y="510"/>
                  </a:lnTo>
                  <a:lnTo>
                    <a:pt x="896" y="508"/>
                  </a:lnTo>
                  <a:lnTo>
                    <a:pt x="896" y="508"/>
                  </a:lnTo>
                  <a:lnTo>
                    <a:pt x="896" y="506"/>
                  </a:lnTo>
                  <a:lnTo>
                    <a:pt x="894" y="506"/>
                  </a:lnTo>
                  <a:lnTo>
                    <a:pt x="894" y="506"/>
                  </a:lnTo>
                  <a:lnTo>
                    <a:pt x="894" y="504"/>
                  </a:lnTo>
                  <a:lnTo>
                    <a:pt x="894" y="504"/>
                  </a:lnTo>
                  <a:lnTo>
                    <a:pt x="894" y="504"/>
                  </a:lnTo>
                  <a:lnTo>
                    <a:pt x="892" y="502"/>
                  </a:lnTo>
                  <a:lnTo>
                    <a:pt x="892" y="502"/>
                  </a:lnTo>
                  <a:lnTo>
                    <a:pt x="890" y="500"/>
                  </a:lnTo>
                  <a:lnTo>
                    <a:pt x="886" y="498"/>
                  </a:lnTo>
                  <a:lnTo>
                    <a:pt x="882" y="494"/>
                  </a:lnTo>
                  <a:lnTo>
                    <a:pt x="878" y="492"/>
                  </a:lnTo>
                  <a:lnTo>
                    <a:pt x="876" y="490"/>
                  </a:lnTo>
                  <a:lnTo>
                    <a:pt x="874" y="490"/>
                  </a:lnTo>
                  <a:lnTo>
                    <a:pt x="872" y="490"/>
                  </a:lnTo>
                  <a:lnTo>
                    <a:pt x="872" y="488"/>
                  </a:lnTo>
                  <a:lnTo>
                    <a:pt x="870" y="486"/>
                  </a:lnTo>
                  <a:lnTo>
                    <a:pt x="870" y="486"/>
                  </a:lnTo>
                  <a:lnTo>
                    <a:pt x="870" y="484"/>
                  </a:lnTo>
                  <a:lnTo>
                    <a:pt x="870" y="482"/>
                  </a:lnTo>
                  <a:lnTo>
                    <a:pt x="868" y="478"/>
                  </a:lnTo>
                  <a:lnTo>
                    <a:pt x="868" y="476"/>
                  </a:lnTo>
                  <a:lnTo>
                    <a:pt x="868" y="472"/>
                  </a:lnTo>
                  <a:lnTo>
                    <a:pt x="868" y="472"/>
                  </a:lnTo>
                  <a:lnTo>
                    <a:pt x="866" y="472"/>
                  </a:lnTo>
                  <a:lnTo>
                    <a:pt x="864" y="470"/>
                  </a:lnTo>
                  <a:lnTo>
                    <a:pt x="864" y="470"/>
                  </a:lnTo>
                  <a:lnTo>
                    <a:pt x="864" y="470"/>
                  </a:lnTo>
                  <a:lnTo>
                    <a:pt x="862" y="468"/>
                  </a:lnTo>
                  <a:lnTo>
                    <a:pt x="860" y="468"/>
                  </a:lnTo>
                  <a:lnTo>
                    <a:pt x="858" y="466"/>
                  </a:lnTo>
                  <a:lnTo>
                    <a:pt x="856" y="464"/>
                  </a:lnTo>
                  <a:lnTo>
                    <a:pt x="854" y="460"/>
                  </a:lnTo>
                  <a:lnTo>
                    <a:pt x="852" y="456"/>
                  </a:lnTo>
                  <a:lnTo>
                    <a:pt x="852" y="456"/>
                  </a:lnTo>
                  <a:lnTo>
                    <a:pt x="852" y="456"/>
                  </a:lnTo>
                  <a:lnTo>
                    <a:pt x="848" y="454"/>
                  </a:lnTo>
                  <a:lnTo>
                    <a:pt x="848" y="454"/>
                  </a:lnTo>
                  <a:lnTo>
                    <a:pt x="848" y="454"/>
                  </a:lnTo>
                  <a:lnTo>
                    <a:pt x="844" y="450"/>
                  </a:lnTo>
                  <a:lnTo>
                    <a:pt x="840" y="448"/>
                  </a:lnTo>
                  <a:lnTo>
                    <a:pt x="840" y="448"/>
                  </a:lnTo>
                  <a:lnTo>
                    <a:pt x="840" y="448"/>
                  </a:lnTo>
                  <a:lnTo>
                    <a:pt x="842" y="448"/>
                  </a:lnTo>
                  <a:lnTo>
                    <a:pt x="844" y="446"/>
                  </a:lnTo>
                  <a:lnTo>
                    <a:pt x="844" y="446"/>
                  </a:lnTo>
                  <a:lnTo>
                    <a:pt x="846" y="446"/>
                  </a:lnTo>
                  <a:lnTo>
                    <a:pt x="848" y="446"/>
                  </a:lnTo>
                  <a:lnTo>
                    <a:pt x="848" y="446"/>
                  </a:lnTo>
                  <a:lnTo>
                    <a:pt x="848" y="444"/>
                  </a:lnTo>
                  <a:lnTo>
                    <a:pt x="850" y="442"/>
                  </a:lnTo>
                  <a:lnTo>
                    <a:pt x="850" y="442"/>
                  </a:lnTo>
                  <a:lnTo>
                    <a:pt x="850" y="442"/>
                  </a:lnTo>
                  <a:lnTo>
                    <a:pt x="852" y="440"/>
                  </a:lnTo>
                  <a:lnTo>
                    <a:pt x="852" y="440"/>
                  </a:lnTo>
                  <a:lnTo>
                    <a:pt x="852" y="438"/>
                  </a:lnTo>
                  <a:lnTo>
                    <a:pt x="854" y="430"/>
                  </a:lnTo>
                  <a:lnTo>
                    <a:pt x="854" y="422"/>
                  </a:lnTo>
                  <a:lnTo>
                    <a:pt x="854" y="414"/>
                  </a:lnTo>
                  <a:lnTo>
                    <a:pt x="854" y="414"/>
                  </a:lnTo>
                  <a:lnTo>
                    <a:pt x="854" y="414"/>
                  </a:lnTo>
                  <a:lnTo>
                    <a:pt x="852" y="410"/>
                  </a:lnTo>
                  <a:lnTo>
                    <a:pt x="852" y="410"/>
                  </a:lnTo>
                  <a:lnTo>
                    <a:pt x="852" y="410"/>
                  </a:lnTo>
                  <a:lnTo>
                    <a:pt x="854" y="408"/>
                  </a:lnTo>
                  <a:lnTo>
                    <a:pt x="854" y="408"/>
                  </a:lnTo>
                  <a:lnTo>
                    <a:pt x="856" y="408"/>
                  </a:lnTo>
                  <a:lnTo>
                    <a:pt x="858" y="406"/>
                  </a:lnTo>
                  <a:lnTo>
                    <a:pt x="862" y="404"/>
                  </a:lnTo>
                  <a:lnTo>
                    <a:pt x="866" y="400"/>
                  </a:lnTo>
                  <a:lnTo>
                    <a:pt x="870" y="396"/>
                  </a:lnTo>
                  <a:lnTo>
                    <a:pt x="874" y="392"/>
                  </a:lnTo>
                  <a:lnTo>
                    <a:pt x="878" y="388"/>
                  </a:lnTo>
                  <a:lnTo>
                    <a:pt x="882" y="384"/>
                  </a:lnTo>
                  <a:lnTo>
                    <a:pt x="882" y="384"/>
                  </a:lnTo>
                  <a:lnTo>
                    <a:pt x="882" y="384"/>
                  </a:lnTo>
                  <a:lnTo>
                    <a:pt x="882" y="382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78"/>
                  </a:lnTo>
                  <a:lnTo>
                    <a:pt x="884" y="378"/>
                  </a:lnTo>
                  <a:lnTo>
                    <a:pt x="884" y="378"/>
                  </a:lnTo>
                  <a:lnTo>
                    <a:pt x="884" y="376"/>
                  </a:lnTo>
                  <a:lnTo>
                    <a:pt x="882" y="374"/>
                  </a:lnTo>
                  <a:lnTo>
                    <a:pt x="882" y="374"/>
                  </a:lnTo>
                  <a:lnTo>
                    <a:pt x="882" y="372"/>
                  </a:lnTo>
                  <a:lnTo>
                    <a:pt x="880" y="370"/>
                  </a:lnTo>
                  <a:lnTo>
                    <a:pt x="878" y="366"/>
                  </a:lnTo>
                  <a:lnTo>
                    <a:pt x="874" y="364"/>
                  </a:lnTo>
                  <a:lnTo>
                    <a:pt x="872" y="360"/>
                  </a:lnTo>
                  <a:lnTo>
                    <a:pt x="872" y="358"/>
                  </a:lnTo>
                  <a:lnTo>
                    <a:pt x="872" y="356"/>
                  </a:lnTo>
                  <a:lnTo>
                    <a:pt x="872" y="354"/>
                  </a:lnTo>
                  <a:lnTo>
                    <a:pt x="872" y="350"/>
                  </a:lnTo>
                  <a:lnTo>
                    <a:pt x="874" y="348"/>
                  </a:lnTo>
                  <a:lnTo>
                    <a:pt x="876" y="344"/>
                  </a:lnTo>
                  <a:lnTo>
                    <a:pt x="878" y="338"/>
                  </a:lnTo>
                  <a:lnTo>
                    <a:pt x="880" y="334"/>
                  </a:lnTo>
                  <a:lnTo>
                    <a:pt x="880" y="332"/>
                  </a:lnTo>
                  <a:lnTo>
                    <a:pt x="880" y="328"/>
                  </a:lnTo>
                  <a:lnTo>
                    <a:pt x="880" y="324"/>
                  </a:lnTo>
                  <a:lnTo>
                    <a:pt x="880" y="316"/>
                  </a:lnTo>
                  <a:lnTo>
                    <a:pt x="880" y="310"/>
                  </a:lnTo>
                  <a:lnTo>
                    <a:pt x="880" y="306"/>
                  </a:lnTo>
                  <a:lnTo>
                    <a:pt x="878" y="302"/>
                  </a:lnTo>
                  <a:lnTo>
                    <a:pt x="876" y="298"/>
                  </a:lnTo>
                  <a:lnTo>
                    <a:pt x="876" y="298"/>
                  </a:lnTo>
                  <a:lnTo>
                    <a:pt x="876" y="298"/>
                  </a:lnTo>
                  <a:lnTo>
                    <a:pt x="872" y="294"/>
                  </a:lnTo>
                  <a:lnTo>
                    <a:pt x="872" y="294"/>
                  </a:lnTo>
                  <a:lnTo>
                    <a:pt x="872" y="294"/>
                  </a:lnTo>
                  <a:lnTo>
                    <a:pt x="870" y="292"/>
                  </a:lnTo>
                  <a:lnTo>
                    <a:pt x="868" y="290"/>
                  </a:lnTo>
                  <a:lnTo>
                    <a:pt x="864" y="288"/>
                  </a:lnTo>
                  <a:lnTo>
                    <a:pt x="862" y="286"/>
                  </a:lnTo>
                  <a:lnTo>
                    <a:pt x="858" y="284"/>
                  </a:lnTo>
                  <a:lnTo>
                    <a:pt x="854" y="282"/>
                  </a:lnTo>
                  <a:lnTo>
                    <a:pt x="848" y="280"/>
                  </a:lnTo>
                  <a:lnTo>
                    <a:pt x="842" y="278"/>
                  </a:lnTo>
                  <a:lnTo>
                    <a:pt x="848" y="278"/>
                  </a:lnTo>
                  <a:lnTo>
                    <a:pt x="856" y="278"/>
                  </a:lnTo>
                  <a:lnTo>
                    <a:pt x="856" y="278"/>
                  </a:lnTo>
                  <a:lnTo>
                    <a:pt x="860" y="276"/>
                  </a:lnTo>
                  <a:lnTo>
                    <a:pt x="860" y="276"/>
                  </a:lnTo>
                  <a:lnTo>
                    <a:pt x="858" y="272"/>
                  </a:lnTo>
                  <a:lnTo>
                    <a:pt x="854" y="270"/>
                  </a:lnTo>
                  <a:lnTo>
                    <a:pt x="852" y="270"/>
                  </a:lnTo>
                  <a:lnTo>
                    <a:pt x="852" y="268"/>
                  </a:lnTo>
                  <a:lnTo>
                    <a:pt x="850" y="266"/>
                  </a:lnTo>
                  <a:lnTo>
                    <a:pt x="850" y="266"/>
                  </a:lnTo>
                  <a:lnTo>
                    <a:pt x="852" y="266"/>
                  </a:lnTo>
                  <a:lnTo>
                    <a:pt x="852" y="264"/>
                  </a:lnTo>
                  <a:lnTo>
                    <a:pt x="854" y="264"/>
                  </a:lnTo>
                  <a:lnTo>
                    <a:pt x="858" y="264"/>
                  </a:lnTo>
                  <a:lnTo>
                    <a:pt x="864" y="266"/>
                  </a:lnTo>
                  <a:lnTo>
                    <a:pt x="874" y="268"/>
                  </a:lnTo>
                  <a:lnTo>
                    <a:pt x="876" y="268"/>
                  </a:lnTo>
                  <a:lnTo>
                    <a:pt x="876" y="268"/>
                  </a:lnTo>
                  <a:lnTo>
                    <a:pt x="876" y="268"/>
                  </a:lnTo>
                  <a:lnTo>
                    <a:pt x="880" y="270"/>
                  </a:lnTo>
                  <a:lnTo>
                    <a:pt x="880" y="270"/>
                  </a:lnTo>
                  <a:lnTo>
                    <a:pt x="880" y="270"/>
                  </a:lnTo>
                  <a:lnTo>
                    <a:pt x="884" y="270"/>
                  </a:lnTo>
                  <a:lnTo>
                    <a:pt x="886" y="270"/>
                  </a:lnTo>
                  <a:lnTo>
                    <a:pt x="894" y="270"/>
                  </a:lnTo>
                  <a:lnTo>
                    <a:pt x="896" y="270"/>
                  </a:lnTo>
                  <a:lnTo>
                    <a:pt x="898" y="270"/>
                  </a:lnTo>
                  <a:lnTo>
                    <a:pt x="898" y="270"/>
                  </a:lnTo>
                  <a:lnTo>
                    <a:pt x="900" y="274"/>
                  </a:lnTo>
                  <a:lnTo>
                    <a:pt x="902" y="278"/>
                  </a:lnTo>
                  <a:lnTo>
                    <a:pt x="902" y="278"/>
                  </a:lnTo>
                  <a:lnTo>
                    <a:pt x="902" y="280"/>
                  </a:lnTo>
                  <a:lnTo>
                    <a:pt x="902" y="282"/>
                  </a:lnTo>
                  <a:lnTo>
                    <a:pt x="902" y="282"/>
                  </a:lnTo>
                  <a:lnTo>
                    <a:pt x="904" y="282"/>
                  </a:lnTo>
                  <a:lnTo>
                    <a:pt x="906" y="284"/>
                  </a:lnTo>
                  <a:lnTo>
                    <a:pt x="906" y="284"/>
                  </a:lnTo>
                  <a:lnTo>
                    <a:pt x="906" y="284"/>
                  </a:lnTo>
                  <a:lnTo>
                    <a:pt x="908" y="286"/>
                  </a:lnTo>
                  <a:lnTo>
                    <a:pt x="908" y="286"/>
                  </a:lnTo>
                  <a:lnTo>
                    <a:pt x="908" y="286"/>
                  </a:lnTo>
                  <a:lnTo>
                    <a:pt x="912" y="286"/>
                  </a:lnTo>
                  <a:lnTo>
                    <a:pt x="912" y="286"/>
                  </a:lnTo>
                  <a:lnTo>
                    <a:pt x="914" y="286"/>
                  </a:lnTo>
                  <a:lnTo>
                    <a:pt x="914" y="286"/>
                  </a:lnTo>
                  <a:lnTo>
                    <a:pt x="916" y="286"/>
                  </a:lnTo>
                  <a:lnTo>
                    <a:pt x="918" y="286"/>
                  </a:lnTo>
                  <a:lnTo>
                    <a:pt x="918" y="286"/>
                  </a:lnTo>
                  <a:lnTo>
                    <a:pt x="920" y="286"/>
                  </a:lnTo>
                  <a:lnTo>
                    <a:pt x="922" y="284"/>
                  </a:lnTo>
                  <a:lnTo>
                    <a:pt x="922" y="284"/>
                  </a:lnTo>
                  <a:lnTo>
                    <a:pt x="922" y="284"/>
                  </a:lnTo>
                  <a:lnTo>
                    <a:pt x="922" y="282"/>
                  </a:lnTo>
                  <a:lnTo>
                    <a:pt x="922" y="282"/>
                  </a:lnTo>
                  <a:lnTo>
                    <a:pt x="924" y="282"/>
                  </a:lnTo>
                  <a:lnTo>
                    <a:pt x="924" y="280"/>
                  </a:lnTo>
                  <a:lnTo>
                    <a:pt x="924" y="280"/>
                  </a:lnTo>
                  <a:lnTo>
                    <a:pt x="924" y="278"/>
                  </a:lnTo>
                  <a:lnTo>
                    <a:pt x="924" y="278"/>
                  </a:lnTo>
                  <a:lnTo>
                    <a:pt x="924" y="278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22" y="274"/>
                  </a:lnTo>
                  <a:lnTo>
                    <a:pt x="920" y="274"/>
                  </a:lnTo>
                  <a:lnTo>
                    <a:pt x="920" y="274"/>
                  </a:lnTo>
                  <a:lnTo>
                    <a:pt x="918" y="272"/>
                  </a:lnTo>
                  <a:lnTo>
                    <a:pt x="916" y="272"/>
                  </a:lnTo>
                  <a:lnTo>
                    <a:pt x="912" y="270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06" y="266"/>
                  </a:lnTo>
                  <a:lnTo>
                    <a:pt x="906" y="262"/>
                  </a:lnTo>
                  <a:lnTo>
                    <a:pt x="906" y="258"/>
                  </a:lnTo>
                  <a:lnTo>
                    <a:pt x="906" y="256"/>
                  </a:lnTo>
                  <a:lnTo>
                    <a:pt x="906" y="254"/>
                  </a:lnTo>
                  <a:lnTo>
                    <a:pt x="908" y="252"/>
                  </a:lnTo>
                  <a:lnTo>
                    <a:pt x="910" y="250"/>
                  </a:lnTo>
                  <a:lnTo>
                    <a:pt x="912" y="250"/>
                  </a:lnTo>
                  <a:lnTo>
                    <a:pt x="914" y="250"/>
                  </a:lnTo>
                  <a:lnTo>
                    <a:pt x="916" y="252"/>
                  </a:lnTo>
                  <a:lnTo>
                    <a:pt x="916" y="252"/>
                  </a:lnTo>
                  <a:lnTo>
                    <a:pt x="918" y="254"/>
                  </a:lnTo>
                  <a:lnTo>
                    <a:pt x="918" y="256"/>
                  </a:lnTo>
                  <a:lnTo>
                    <a:pt x="920" y="260"/>
                  </a:lnTo>
                  <a:lnTo>
                    <a:pt x="922" y="262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8" y="268"/>
                  </a:lnTo>
                  <a:lnTo>
                    <a:pt x="930" y="272"/>
                  </a:lnTo>
                  <a:lnTo>
                    <a:pt x="932" y="274"/>
                  </a:lnTo>
                  <a:lnTo>
                    <a:pt x="934" y="276"/>
                  </a:lnTo>
                  <a:lnTo>
                    <a:pt x="934" y="276"/>
                  </a:lnTo>
                  <a:lnTo>
                    <a:pt x="934" y="276"/>
                  </a:lnTo>
                  <a:lnTo>
                    <a:pt x="936" y="278"/>
                  </a:lnTo>
                  <a:lnTo>
                    <a:pt x="936" y="278"/>
                  </a:lnTo>
                  <a:lnTo>
                    <a:pt x="936" y="278"/>
                  </a:lnTo>
                  <a:lnTo>
                    <a:pt x="938" y="278"/>
                  </a:lnTo>
                  <a:lnTo>
                    <a:pt x="938" y="278"/>
                  </a:lnTo>
                  <a:lnTo>
                    <a:pt x="938" y="278"/>
                  </a:lnTo>
                  <a:lnTo>
                    <a:pt x="942" y="278"/>
                  </a:lnTo>
                  <a:lnTo>
                    <a:pt x="944" y="278"/>
                  </a:lnTo>
                  <a:lnTo>
                    <a:pt x="946" y="278"/>
                  </a:lnTo>
                  <a:lnTo>
                    <a:pt x="948" y="278"/>
                  </a:lnTo>
                  <a:lnTo>
                    <a:pt x="948" y="278"/>
                  </a:lnTo>
                  <a:lnTo>
                    <a:pt x="950" y="286"/>
                  </a:lnTo>
                  <a:lnTo>
                    <a:pt x="954" y="296"/>
                  </a:lnTo>
                  <a:lnTo>
                    <a:pt x="956" y="302"/>
                  </a:lnTo>
                  <a:lnTo>
                    <a:pt x="958" y="306"/>
                  </a:lnTo>
                  <a:lnTo>
                    <a:pt x="960" y="312"/>
                  </a:lnTo>
                  <a:lnTo>
                    <a:pt x="964" y="316"/>
                  </a:lnTo>
                  <a:lnTo>
                    <a:pt x="964" y="318"/>
                  </a:lnTo>
                  <a:lnTo>
                    <a:pt x="964" y="318"/>
                  </a:lnTo>
                  <a:lnTo>
                    <a:pt x="964" y="318"/>
                  </a:lnTo>
                  <a:lnTo>
                    <a:pt x="966" y="320"/>
                  </a:lnTo>
                  <a:lnTo>
                    <a:pt x="966" y="320"/>
                  </a:lnTo>
                  <a:lnTo>
                    <a:pt x="966" y="320"/>
                  </a:lnTo>
                  <a:lnTo>
                    <a:pt x="966" y="322"/>
                  </a:lnTo>
                  <a:lnTo>
                    <a:pt x="966" y="322"/>
                  </a:lnTo>
                  <a:lnTo>
                    <a:pt x="966" y="322"/>
                  </a:lnTo>
                  <a:lnTo>
                    <a:pt x="968" y="324"/>
                  </a:lnTo>
                  <a:lnTo>
                    <a:pt x="968" y="324"/>
                  </a:lnTo>
                  <a:lnTo>
                    <a:pt x="968" y="324"/>
                  </a:lnTo>
                  <a:lnTo>
                    <a:pt x="972" y="324"/>
                  </a:lnTo>
                  <a:lnTo>
                    <a:pt x="972" y="324"/>
                  </a:lnTo>
                  <a:lnTo>
                    <a:pt x="972" y="324"/>
                  </a:lnTo>
                  <a:lnTo>
                    <a:pt x="974" y="326"/>
                  </a:lnTo>
                  <a:lnTo>
                    <a:pt x="978" y="326"/>
                  </a:lnTo>
                  <a:lnTo>
                    <a:pt x="980" y="326"/>
                  </a:lnTo>
                  <a:lnTo>
                    <a:pt x="982" y="326"/>
                  </a:lnTo>
                  <a:lnTo>
                    <a:pt x="986" y="328"/>
                  </a:lnTo>
                  <a:lnTo>
                    <a:pt x="988" y="328"/>
                  </a:lnTo>
                  <a:lnTo>
                    <a:pt x="990" y="328"/>
                  </a:lnTo>
                  <a:lnTo>
                    <a:pt x="990" y="328"/>
                  </a:lnTo>
                  <a:lnTo>
                    <a:pt x="992" y="332"/>
                  </a:lnTo>
                  <a:lnTo>
                    <a:pt x="994" y="338"/>
                  </a:lnTo>
                  <a:lnTo>
                    <a:pt x="996" y="344"/>
                  </a:lnTo>
                  <a:lnTo>
                    <a:pt x="998" y="348"/>
                  </a:lnTo>
                  <a:lnTo>
                    <a:pt x="1000" y="352"/>
                  </a:lnTo>
                  <a:lnTo>
                    <a:pt x="1000" y="352"/>
                  </a:lnTo>
                  <a:lnTo>
                    <a:pt x="1000" y="352"/>
                  </a:lnTo>
                  <a:lnTo>
                    <a:pt x="1000" y="354"/>
                  </a:lnTo>
                  <a:lnTo>
                    <a:pt x="1000" y="354"/>
                  </a:lnTo>
                  <a:lnTo>
                    <a:pt x="1000" y="354"/>
                  </a:lnTo>
                  <a:lnTo>
                    <a:pt x="1002" y="356"/>
                  </a:lnTo>
                  <a:lnTo>
                    <a:pt x="1004" y="358"/>
                  </a:lnTo>
                  <a:lnTo>
                    <a:pt x="1006" y="360"/>
                  </a:lnTo>
                  <a:lnTo>
                    <a:pt x="1008" y="362"/>
                  </a:lnTo>
                  <a:lnTo>
                    <a:pt x="1010" y="362"/>
                  </a:lnTo>
                  <a:lnTo>
                    <a:pt x="1010" y="364"/>
                  </a:lnTo>
                  <a:lnTo>
                    <a:pt x="1010" y="374"/>
                  </a:lnTo>
                  <a:lnTo>
                    <a:pt x="1010" y="380"/>
                  </a:lnTo>
                  <a:lnTo>
                    <a:pt x="1008" y="384"/>
                  </a:lnTo>
                  <a:lnTo>
                    <a:pt x="1006" y="388"/>
                  </a:lnTo>
                  <a:lnTo>
                    <a:pt x="1004" y="392"/>
                  </a:lnTo>
                  <a:lnTo>
                    <a:pt x="1002" y="396"/>
                  </a:lnTo>
                  <a:lnTo>
                    <a:pt x="998" y="400"/>
                  </a:lnTo>
                  <a:lnTo>
                    <a:pt x="998" y="400"/>
                  </a:lnTo>
                  <a:lnTo>
                    <a:pt x="998" y="400"/>
                  </a:lnTo>
                  <a:lnTo>
                    <a:pt x="996" y="402"/>
                  </a:lnTo>
                  <a:lnTo>
                    <a:pt x="994" y="404"/>
                  </a:lnTo>
                  <a:lnTo>
                    <a:pt x="992" y="406"/>
                  </a:lnTo>
                  <a:lnTo>
                    <a:pt x="992" y="406"/>
                  </a:lnTo>
                  <a:lnTo>
                    <a:pt x="992" y="408"/>
                  </a:lnTo>
                  <a:lnTo>
                    <a:pt x="990" y="408"/>
                  </a:lnTo>
                  <a:lnTo>
                    <a:pt x="990" y="410"/>
                  </a:lnTo>
                  <a:lnTo>
                    <a:pt x="988" y="412"/>
                  </a:lnTo>
                  <a:lnTo>
                    <a:pt x="988" y="414"/>
                  </a:lnTo>
                  <a:lnTo>
                    <a:pt x="988" y="414"/>
                  </a:lnTo>
                  <a:lnTo>
                    <a:pt x="986" y="414"/>
                  </a:lnTo>
                  <a:lnTo>
                    <a:pt x="986" y="418"/>
                  </a:lnTo>
                  <a:lnTo>
                    <a:pt x="986" y="420"/>
                  </a:lnTo>
                  <a:lnTo>
                    <a:pt x="986" y="422"/>
                  </a:lnTo>
                  <a:lnTo>
                    <a:pt x="984" y="424"/>
                  </a:lnTo>
                  <a:lnTo>
                    <a:pt x="984" y="426"/>
                  </a:lnTo>
                  <a:lnTo>
                    <a:pt x="984" y="428"/>
                  </a:lnTo>
                  <a:lnTo>
                    <a:pt x="984" y="428"/>
                  </a:lnTo>
                  <a:lnTo>
                    <a:pt x="984" y="428"/>
                  </a:lnTo>
                  <a:lnTo>
                    <a:pt x="984" y="430"/>
                  </a:lnTo>
                  <a:lnTo>
                    <a:pt x="984" y="430"/>
                  </a:lnTo>
                  <a:lnTo>
                    <a:pt x="984" y="432"/>
                  </a:lnTo>
                  <a:lnTo>
                    <a:pt x="984" y="436"/>
                  </a:lnTo>
                  <a:lnTo>
                    <a:pt x="984" y="436"/>
                  </a:lnTo>
                  <a:lnTo>
                    <a:pt x="984" y="438"/>
                  </a:lnTo>
                  <a:lnTo>
                    <a:pt x="984" y="442"/>
                  </a:lnTo>
                  <a:lnTo>
                    <a:pt x="984" y="444"/>
                  </a:lnTo>
                  <a:lnTo>
                    <a:pt x="984" y="446"/>
                  </a:lnTo>
                  <a:lnTo>
                    <a:pt x="984" y="448"/>
                  </a:lnTo>
                  <a:lnTo>
                    <a:pt x="984" y="450"/>
                  </a:lnTo>
                  <a:lnTo>
                    <a:pt x="984" y="450"/>
                  </a:lnTo>
                  <a:lnTo>
                    <a:pt x="984" y="450"/>
                  </a:lnTo>
                  <a:lnTo>
                    <a:pt x="982" y="450"/>
                  </a:lnTo>
                  <a:lnTo>
                    <a:pt x="980" y="452"/>
                  </a:lnTo>
                  <a:lnTo>
                    <a:pt x="978" y="452"/>
                  </a:lnTo>
                  <a:lnTo>
                    <a:pt x="974" y="452"/>
                  </a:lnTo>
                  <a:lnTo>
                    <a:pt x="972" y="454"/>
                  </a:lnTo>
                  <a:lnTo>
                    <a:pt x="964" y="452"/>
                  </a:lnTo>
                  <a:lnTo>
                    <a:pt x="956" y="452"/>
                  </a:lnTo>
                  <a:lnTo>
                    <a:pt x="954" y="452"/>
                  </a:lnTo>
                  <a:lnTo>
                    <a:pt x="950" y="452"/>
                  </a:lnTo>
                  <a:lnTo>
                    <a:pt x="946" y="450"/>
                  </a:lnTo>
                  <a:lnTo>
                    <a:pt x="944" y="448"/>
                  </a:lnTo>
                  <a:lnTo>
                    <a:pt x="944" y="448"/>
                  </a:lnTo>
                  <a:lnTo>
                    <a:pt x="940" y="448"/>
                  </a:lnTo>
                  <a:lnTo>
                    <a:pt x="938" y="450"/>
                  </a:lnTo>
                  <a:lnTo>
                    <a:pt x="934" y="452"/>
                  </a:lnTo>
                  <a:lnTo>
                    <a:pt x="932" y="454"/>
                  </a:lnTo>
                  <a:lnTo>
                    <a:pt x="928" y="454"/>
                  </a:lnTo>
                  <a:lnTo>
                    <a:pt x="926" y="456"/>
                  </a:lnTo>
                  <a:lnTo>
                    <a:pt x="924" y="456"/>
                  </a:lnTo>
                  <a:lnTo>
                    <a:pt x="920" y="456"/>
                  </a:lnTo>
                  <a:lnTo>
                    <a:pt x="920" y="456"/>
                  </a:lnTo>
                  <a:lnTo>
                    <a:pt x="920" y="456"/>
                  </a:lnTo>
                  <a:lnTo>
                    <a:pt x="918" y="458"/>
                  </a:lnTo>
                  <a:lnTo>
                    <a:pt x="918" y="458"/>
                  </a:lnTo>
                  <a:lnTo>
                    <a:pt x="918" y="458"/>
                  </a:lnTo>
                  <a:lnTo>
                    <a:pt x="918" y="460"/>
                  </a:lnTo>
                  <a:lnTo>
                    <a:pt x="918" y="460"/>
                  </a:lnTo>
                  <a:lnTo>
                    <a:pt x="916" y="460"/>
                  </a:lnTo>
                  <a:lnTo>
                    <a:pt x="916" y="462"/>
                  </a:lnTo>
                  <a:lnTo>
                    <a:pt x="916" y="462"/>
                  </a:lnTo>
                  <a:lnTo>
                    <a:pt x="916" y="462"/>
                  </a:lnTo>
                  <a:lnTo>
                    <a:pt x="916" y="464"/>
                  </a:lnTo>
                  <a:lnTo>
                    <a:pt x="916" y="464"/>
                  </a:lnTo>
                  <a:lnTo>
                    <a:pt x="916" y="464"/>
                  </a:lnTo>
                  <a:lnTo>
                    <a:pt x="916" y="468"/>
                  </a:lnTo>
                  <a:lnTo>
                    <a:pt x="916" y="470"/>
                  </a:lnTo>
                  <a:lnTo>
                    <a:pt x="916" y="470"/>
                  </a:lnTo>
                  <a:lnTo>
                    <a:pt x="916" y="472"/>
                  </a:lnTo>
                  <a:lnTo>
                    <a:pt x="916" y="472"/>
                  </a:lnTo>
                  <a:lnTo>
                    <a:pt x="916" y="472"/>
                  </a:lnTo>
                  <a:lnTo>
                    <a:pt x="918" y="474"/>
                  </a:lnTo>
                  <a:lnTo>
                    <a:pt x="918" y="474"/>
                  </a:lnTo>
                  <a:lnTo>
                    <a:pt x="918" y="476"/>
                  </a:lnTo>
                  <a:lnTo>
                    <a:pt x="918" y="476"/>
                  </a:lnTo>
                  <a:lnTo>
                    <a:pt x="918" y="476"/>
                  </a:lnTo>
                  <a:lnTo>
                    <a:pt x="920" y="476"/>
                  </a:lnTo>
                  <a:lnTo>
                    <a:pt x="922" y="476"/>
                  </a:lnTo>
                  <a:lnTo>
                    <a:pt x="924" y="476"/>
                  </a:lnTo>
                  <a:lnTo>
                    <a:pt x="926" y="476"/>
                  </a:lnTo>
                  <a:lnTo>
                    <a:pt x="928" y="476"/>
                  </a:lnTo>
                  <a:lnTo>
                    <a:pt x="928" y="478"/>
                  </a:lnTo>
                  <a:lnTo>
                    <a:pt x="928" y="480"/>
                  </a:lnTo>
                  <a:lnTo>
                    <a:pt x="928" y="480"/>
                  </a:lnTo>
                  <a:lnTo>
                    <a:pt x="928" y="482"/>
                  </a:lnTo>
                  <a:lnTo>
                    <a:pt x="930" y="482"/>
                  </a:lnTo>
                  <a:lnTo>
                    <a:pt x="930" y="482"/>
                  </a:lnTo>
                  <a:lnTo>
                    <a:pt x="930" y="484"/>
                  </a:lnTo>
                  <a:lnTo>
                    <a:pt x="932" y="484"/>
                  </a:lnTo>
                  <a:lnTo>
                    <a:pt x="932" y="484"/>
                  </a:lnTo>
                  <a:lnTo>
                    <a:pt x="932" y="486"/>
                  </a:lnTo>
                  <a:lnTo>
                    <a:pt x="934" y="486"/>
                  </a:lnTo>
                  <a:lnTo>
                    <a:pt x="934" y="486"/>
                  </a:lnTo>
                  <a:lnTo>
                    <a:pt x="934" y="486"/>
                  </a:lnTo>
                  <a:lnTo>
                    <a:pt x="936" y="486"/>
                  </a:lnTo>
                  <a:lnTo>
                    <a:pt x="938" y="488"/>
                  </a:lnTo>
                  <a:lnTo>
                    <a:pt x="942" y="488"/>
                  </a:lnTo>
                  <a:lnTo>
                    <a:pt x="942" y="488"/>
                  </a:lnTo>
                  <a:lnTo>
                    <a:pt x="944" y="488"/>
                  </a:lnTo>
                  <a:lnTo>
                    <a:pt x="948" y="488"/>
                  </a:lnTo>
                  <a:lnTo>
                    <a:pt x="952" y="488"/>
                  </a:lnTo>
                  <a:lnTo>
                    <a:pt x="956" y="486"/>
                  </a:lnTo>
                  <a:lnTo>
                    <a:pt x="956" y="486"/>
                  </a:lnTo>
                  <a:lnTo>
                    <a:pt x="956" y="486"/>
                  </a:lnTo>
                  <a:lnTo>
                    <a:pt x="960" y="486"/>
                  </a:lnTo>
                  <a:lnTo>
                    <a:pt x="964" y="484"/>
                  </a:lnTo>
                  <a:lnTo>
                    <a:pt x="964" y="484"/>
                  </a:lnTo>
                  <a:lnTo>
                    <a:pt x="964" y="484"/>
                  </a:lnTo>
                  <a:lnTo>
                    <a:pt x="966" y="484"/>
                  </a:lnTo>
                  <a:lnTo>
                    <a:pt x="966" y="484"/>
                  </a:lnTo>
                  <a:lnTo>
                    <a:pt x="966" y="482"/>
                  </a:lnTo>
                  <a:lnTo>
                    <a:pt x="966" y="482"/>
                  </a:lnTo>
                  <a:lnTo>
                    <a:pt x="966" y="482"/>
                  </a:lnTo>
                  <a:lnTo>
                    <a:pt x="968" y="480"/>
                  </a:lnTo>
                  <a:lnTo>
                    <a:pt x="968" y="480"/>
                  </a:lnTo>
                  <a:lnTo>
                    <a:pt x="968" y="478"/>
                  </a:lnTo>
                  <a:lnTo>
                    <a:pt x="968" y="478"/>
                  </a:lnTo>
                  <a:lnTo>
                    <a:pt x="970" y="476"/>
                  </a:lnTo>
                  <a:lnTo>
                    <a:pt x="972" y="476"/>
                  </a:lnTo>
                  <a:lnTo>
                    <a:pt x="972" y="476"/>
                  </a:lnTo>
                  <a:lnTo>
                    <a:pt x="976" y="476"/>
                  </a:lnTo>
                  <a:lnTo>
                    <a:pt x="980" y="476"/>
                  </a:lnTo>
                  <a:lnTo>
                    <a:pt x="982" y="476"/>
                  </a:lnTo>
                  <a:lnTo>
                    <a:pt x="986" y="476"/>
                  </a:lnTo>
                  <a:lnTo>
                    <a:pt x="988" y="476"/>
                  </a:lnTo>
                  <a:lnTo>
                    <a:pt x="990" y="478"/>
                  </a:lnTo>
                  <a:lnTo>
                    <a:pt x="992" y="480"/>
                  </a:lnTo>
                  <a:lnTo>
                    <a:pt x="992" y="482"/>
                  </a:lnTo>
                  <a:lnTo>
                    <a:pt x="994" y="484"/>
                  </a:lnTo>
                  <a:lnTo>
                    <a:pt x="994" y="488"/>
                  </a:lnTo>
                  <a:lnTo>
                    <a:pt x="994" y="488"/>
                  </a:lnTo>
                  <a:lnTo>
                    <a:pt x="994" y="488"/>
                  </a:lnTo>
                  <a:lnTo>
                    <a:pt x="996" y="490"/>
                  </a:lnTo>
                  <a:lnTo>
                    <a:pt x="996" y="490"/>
                  </a:lnTo>
                  <a:lnTo>
                    <a:pt x="996" y="490"/>
                  </a:lnTo>
                  <a:lnTo>
                    <a:pt x="996" y="492"/>
                  </a:lnTo>
                  <a:lnTo>
                    <a:pt x="996" y="492"/>
                  </a:lnTo>
                  <a:lnTo>
                    <a:pt x="998" y="494"/>
                  </a:lnTo>
                  <a:lnTo>
                    <a:pt x="1002" y="496"/>
                  </a:lnTo>
                  <a:lnTo>
                    <a:pt x="1004" y="498"/>
                  </a:lnTo>
                  <a:lnTo>
                    <a:pt x="1006" y="500"/>
                  </a:lnTo>
                  <a:lnTo>
                    <a:pt x="1008" y="502"/>
                  </a:lnTo>
                  <a:lnTo>
                    <a:pt x="1010" y="506"/>
                  </a:lnTo>
                  <a:lnTo>
                    <a:pt x="1012" y="508"/>
                  </a:lnTo>
                  <a:lnTo>
                    <a:pt x="1014" y="510"/>
                  </a:lnTo>
                  <a:lnTo>
                    <a:pt x="1018" y="516"/>
                  </a:lnTo>
                  <a:lnTo>
                    <a:pt x="1024" y="518"/>
                  </a:lnTo>
                  <a:lnTo>
                    <a:pt x="1024" y="520"/>
                  </a:lnTo>
                  <a:lnTo>
                    <a:pt x="1024" y="522"/>
                  </a:lnTo>
                  <a:lnTo>
                    <a:pt x="1024" y="522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6"/>
                  </a:lnTo>
                  <a:lnTo>
                    <a:pt x="1024" y="528"/>
                  </a:lnTo>
                  <a:lnTo>
                    <a:pt x="1024" y="528"/>
                  </a:lnTo>
                  <a:lnTo>
                    <a:pt x="1026" y="528"/>
                  </a:lnTo>
                  <a:lnTo>
                    <a:pt x="1028" y="528"/>
                  </a:lnTo>
                  <a:lnTo>
                    <a:pt x="1028" y="528"/>
                  </a:lnTo>
                  <a:lnTo>
                    <a:pt x="1028" y="530"/>
                  </a:lnTo>
                  <a:lnTo>
                    <a:pt x="1028" y="530"/>
                  </a:lnTo>
                  <a:lnTo>
                    <a:pt x="1030" y="530"/>
                  </a:lnTo>
                  <a:lnTo>
                    <a:pt x="1034" y="532"/>
                  </a:lnTo>
                  <a:lnTo>
                    <a:pt x="1038" y="534"/>
                  </a:lnTo>
                  <a:lnTo>
                    <a:pt x="1044" y="534"/>
                  </a:lnTo>
                  <a:lnTo>
                    <a:pt x="1046" y="536"/>
                  </a:lnTo>
                  <a:lnTo>
                    <a:pt x="1050" y="540"/>
                  </a:lnTo>
                  <a:lnTo>
                    <a:pt x="1050" y="540"/>
                  </a:lnTo>
                  <a:lnTo>
                    <a:pt x="1050" y="540"/>
                  </a:lnTo>
                  <a:lnTo>
                    <a:pt x="1052" y="542"/>
                  </a:lnTo>
                  <a:lnTo>
                    <a:pt x="1052" y="542"/>
                  </a:lnTo>
                  <a:lnTo>
                    <a:pt x="1052" y="542"/>
                  </a:lnTo>
                  <a:lnTo>
                    <a:pt x="1056" y="544"/>
                  </a:lnTo>
                  <a:lnTo>
                    <a:pt x="1056" y="544"/>
                  </a:lnTo>
                  <a:lnTo>
                    <a:pt x="1056" y="544"/>
                  </a:lnTo>
                  <a:lnTo>
                    <a:pt x="1058" y="544"/>
                  </a:lnTo>
                  <a:lnTo>
                    <a:pt x="1058" y="544"/>
                  </a:lnTo>
                  <a:lnTo>
                    <a:pt x="1060" y="546"/>
                  </a:lnTo>
                  <a:lnTo>
                    <a:pt x="1060" y="548"/>
                  </a:lnTo>
                  <a:lnTo>
                    <a:pt x="1062" y="548"/>
                  </a:lnTo>
                  <a:lnTo>
                    <a:pt x="1062" y="548"/>
                  </a:lnTo>
                  <a:lnTo>
                    <a:pt x="1062" y="550"/>
                  </a:lnTo>
                  <a:lnTo>
                    <a:pt x="1064" y="550"/>
                  </a:lnTo>
                  <a:lnTo>
                    <a:pt x="1064" y="550"/>
                  </a:lnTo>
                  <a:lnTo>
                    <a:pt x="1064" y="550"/>
                  </a:lnTo>
                  <a:lnTo>
                    <a:pt x="1066" y="552"/>
                  </a:lnTo>
                  <a:lnTo>
                    <a:pt x="1066" y="552"/>
                  </a:lnTo>
                  <a:lnTo>
                    <a:pt x="1066" y="552"/>
                  </a:lnTo>
                  <a:lnTo>
                    <a:pt x="1068" y="552"/>
                  </a:lnTo>
                  <a:lnTo>
                    <a:pt x="1070" y="552"/>
                  </a:lnTo>
                  <a:lnTo>
                    <a:pt x="1072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6" y="554"/>
                  </a:lnTo>
                  <a:lnTo>
                    <a:pt x="1076" y="554"/>
                  </a:lnTo>
                  <a:lnTo>
                    <a:pt x="1076" y="554"/>
                  </a:lnTo>
                  <a:lnTo>
                    <a:pt x="1078" y="556"/>
                  </a:lnTo>
                  <a:lnTo>
                    <a:pt x="1082" y="556"/>
                  </a:lnTo>
                  <a:lnTo>
                    <a:pt x="1086" y="556"/>
                  </a:lnTo>
                  <a:lnTo>
                    <a:pt x="1088" y="556"/>
                  </a:lnTo>
                  <a:lnTo>
                    <a:pt x="1090" y="558"/>
                  </a:lnTo>
                  <a:lnTo>
                    <a:pt x="1092" y="558"/>
                  </a:lnTo>
                  <a:lnTo>
                    <a:pt x="1094" y="558"/>
                  </a:lnTo>
                  <a:lnTo>
                    <a:pt x="1094" y="558"/>
                  </a:lnTo>
                  <a:lnTo>
                    <a:pt x="1094" y="558"/>
                  </a:lnTo>
                  <a:lnTo>
                    <a:pt x="1096" y="558"/>
                  </a:lnTo>
                  <a:lnTo>
                    <a:pt x="1096" y="558"/>
                  </a:lnTo>
                  <a:lnTo>
                    <a:pt x="1096" y="558"/>
                  </a:lnTo>
                  <a:lnTo>
                    <a:pt x="1098" y="556"/>
                  </a:lnTo>
                  <a:lnTo>
                    <a:pt x="1098" y="556"/>
                  </a:lnTo>
                  <a:lnTo>
                    <a:pt x="1098" y="554"/>
                  </a:lnTo>
                  <a:lnTo>
                    <a:pt x="1098" y="554"/>
                  </a:lnTo>
                  <a:lnTo>
                    <a:pt x="1098" y="554"/>
                  </a:lnTo>
                  <a:lnTo>
                    <a:pt x="1098" y="552"/>
                  </a:lnTo>
                  <a:lnTo>
                    <a:pt x="1096" y="550"/>
                  </a:lnTo>
                  <a:lnTo>
                    <a:pt x="1094" y="550"/>
                  </a:lnTo>
                  <a:lnTo>
                    <a:pt x="1092" y="548"/>
                  </a:lnTo>
                  <a:lnTo>
                    <a:pt x="1088" y="544"/>
                  </a:lnTo>
                  <a:lnTo>
                    <a:pt x="1084" y="540"/>
                  </a:lnTo>
                  <a:lnTo>
                    <a:pt x="1080" y="536"/>
                  </a:lnTo>
                  <a:lnTo>
                    <a:pt x="1076" y="534"/>
                  </a:lnTo>
                  <a:lnTo>
                    <a:pt x="1074" y="532"/>
                  </a:lnTo>
                  <a:lnTo>
                    <a:pt x="1074" y="530"/>
                  </a:lnTo>
                  <a:lnTo>
                    <a:pt x="1072" y="528"/>
                  </a:lnTo>
                  <a:lnTo>
                    <a:pt x="1072" y="526"/>
                  </a:lnTo>
                  <a:lnTo>
                    <a:pt x="1070" y="524"/>
                  </a:lnTo>
                  <a:lnTo>
                    <a:pt x="1070" y="524"/>
                  </a:lnTo>
                  <a:lnTo>
                    <a:pt x="1070" y="524"/>
                  </a:lnTo>
                  <a:lnTo>
                    <a:pt x="1068" y="522"/>
                  </a:lnTo>
                  <a:lnTo>
                    <a:pt x="1066" y="522"/>
                  </a:lnTo>
                  <a:lnTo>
                    <a:pt x="1066" y="518"/>
                  </a:lnTo>
                  <a:lnTo>
                    <a:pt x="1064" y="516"/>
                  </a:lnTo>
                  <a:lnTo>
                    <a:pt x="1062" y="514"/>
                  </a:lnTo>
                  <a:lnTo>
                    <a:pt x="1062" y="512"/>
                  </a:lnTo>
                  <a:lnTo>
                    <a:pt x="1062" y="512"/>
                  </a:lnTo>
                  <a:lnTo>
                    <a:pt x="1062" y="512"/>
                  </a:lnTo>
                  <a:lnTo>
                    <a:pt x="1064" y="512"/>
                  </a:lnTo>
                  <a:lnTo>
                    <a:pt x="1068" y="512"/>
                  </a:lnTo>
                  <a:lnTo>
                    <a:pt x="1074" y="514"/>
                  </a:lnTo>
                  <a:lnTo>
                    <a:pt x="1080" y="514"/>
                  </a:lnTo>
                  <a:lnTo>
                    <a:pt x="1080" y="516"/>
                  </a:lnTo>
                  <a:lnTo>
                    <a:pt x="1082" y="518"/>
                  </a:lnTo>
                  <a:lnTo>
                    <a:pt x="1086" y="522"/>
                  </a:lnTo>
                  <a:lnTo>
                    <a:pt x="1088" y="524"/>
                  </a:lnTo>
                  <a:lnTo>
                    <a:pt x="1090" y="526"/>
                  </a:lnTo>
                  <a:lnTo>
                    <a:pt x="1090" y="526"/>
                  </a:lnTo>
                  <a:lnTo>
                    <a:pt x="1092" y="528"/>
                  </a:lnTo>
                  <a:lnTo>
                    <a:pt x="1092" y="528"/>
                  </a:lnTo>
                  <a:lnTo>
                    <a:pt x="1092" y="528"/>
                  </a:lnTo>
                  <a:lnTo>
                    <a:pt x="1094" y="530"/>
                  </a:lnTo>
                  <a:lnTo>
                    <a:pt x="1094" y="530"/>
                  </a:lnTo>
                  <a:lnTo>
                    <a:pt x="1096" y="530"/>
                  </a:lnTo>
                  <a:lnTo>
                    <a:pt x="1098" y="532"/>
                  </a:lnTo>
                  <a:lnTo>
                    <a:pt x="1098" y="532"/>
                  </a:lnTo>
                  <a:lnTo>
                    <a:pt x="1098" y="532"/>
                  </a:lnTo>
                  <a:lnTo>
                    <a:pt x="1100" y="532"/>
                  </a:lnTo>
                  <a:lnTo>
                    <a:pt x="1100" y="532"/>
                  </a:lnTo>
                  <a:lnTo>
                    <a:pt x="1102" y="532"/>
                  </a:lnTo>
                  <a:lnTo>
                    <a:pt x="1104" y="532"/>
                  </a:lnTo>
                  <a:lnTo>
                    <a:pt x="1104" y="532"/>
                  </a:lnTo>
                  <a:lnTo>
                    <a:pt x="1104" y="532"/>
                  </a:lnTo>
                  <a:lnTo>
                    <a:pt x="1106" y="530"/>
                  </a:lnTo>
                  <a:lnTo>
                    <a:pt x="1106" y="530"/>
                  </a:lnTo>
                  <a:lnTo>
                    <a:pt x="1106" y="530"/>
                  </a:lnTo>
                  <a:lnTo>
                    <a:pt x="1108" y="528"/>
                  </a:lnTo>
                  <a:lnTo>
                    <a:pt x="1108" y="528"/>
                  </a:lnTo>
                  <a:lnTo>
                    <a:pt x="1108" y="528"/>
                  </a:lnTo>
                  <a:lnTo>
                    <a:pt x="1110" y="524"/>
                  </a:lnTo>
                  <a:lnTo>
                    <a:pt x="1110" y="524"/>
                  </a:lnTo>
                  <a:lnTo>
                    <a:pt x="1110" y="524"/>
                  </a:lnTo>
                  <a:lnTo>
                    <a:pt x="1112" y="520"/>
                  </a:lnTo>
                  <a:lnTo>
                    <a:pt x="1112" y="518"/>
                  </a:lnTo>
                  <a:lnTo>
                    <a:pt x="1114" y="514"/>
                  </a:lnTo>
                  <a:lnTo>
                    <a:pt x="1114" y="512"/>
                  </a:lnTo>
                  <a:lnTo>
                    <a:pt x="1116" y="508"/>
                  </a:lnTo>
                  <a:lnTo>
                    <a:pt x="1116" y="508"/>
                  </a:lnTo>
                  <a:lnTo>
                    <a:pt x="1116" y="506"/>
                  </a:lnTo>
                  <a:lnTo>
                    <a:pt x="1114" y="504"/>
                  </a:lnTo>
                  <a:lnTo>
                    <a:pt x="1114" y="504"/>
                  </a:lnTo>
                  <a:lnTo>
                    <a:pt x="1114" y="502"/>
                  </a:lnTo>
                  <a:lnTo>
                    <a:pt x="1114" y="500"/>
                  </a:lnTo>
                  <a:lnTo>
                    <a:pt x="1114" y="500"/>
                  </a:lnTo>
                  <a:lnTo>
                    <a:pt x="1114" y="498"/>
                  </a:lnTo>
                  <a:lnTo>
                    <a:pt x="1112" y="496"/>
                  </a:lnTo>
                  <a:lnTo>
                    <a:pt x="1110" y="494"/>
                  </a:lnTo>
                  <a:lnTo>
                    <a:pt x="1108" y="490"/>
                  </a:lnTo>
                  <a:lnTo>
                    <a:pt x="1104" y="486"/>
                  </a:lnTo>
                  <a:lnTo>
                    <a:pt x="1102" y="486"/>
                  </a:lnTo>
                  <a:lnTo>
                    <a:pt x="1100" y="484"/>
                  </a:lnTo>
                  <a:lnTo>
                    <a:pt x="1098" y="484"/>
                  </a:lnTo>
                  <a:lnTo>
                    <a:pt x="1096" y="476"/>
                  </a:lnTo>
                  <a:lnTo>
                    <a:pt x="1094" y="472"/>
                  </a:lnTo>
                  <a:lnTo>
                    <a:pt x="1090" y="470"/>
                  </a:lnTo>
                  <a:lnTo>
                    <a:pt x="1090" y="464"/>
                  </a:lnTo>
                  <a:lnTo>
                    <a:pt x="1090" y="460"/>
                  </a:lnTo>
                  <a:lnTo>
                    <a:pt x="1088" y="458"/>
                  </a:lnTo>
                  <a:lnTo>
                    <a:pt x="1088" y="458"/>
                  </a:lnTo>
                  <a:lnTo>
                    <a:pt x="1088" y="456"/>
                  </a:lnTo>
                  <a:lnTo>
                    <a:pt x="1086" y="454"/>
                  </a:lnTo>
                  <a:lnTo>
                    <a:pt x="1086" y="454"/>
                  </a:lnTo>
                  <a:lnTo>
                    <a:pt x="1086" y="454"/>
                  </a:lnTo>
                  <a:lnTo>
                    <a:pt x="1084" y="452"/>
                  </a:lnTo>
                  <a:lnTo>
                    <a:pt x="1084" y="452"/>
                  </a:lnTo>
                  <a:lnTo>
                    <a:pt x="1084" y="452"/>
                  </a:lnTo>
                  <a:lnTo>
                    <a:pt x="1082" y="450"/>
                  </a:lnTo>
                  <a:lnTo>
                    <a:pt x="1078" y="448"/>
                  </a:lnTo>
                  <a:lnTo>
                    <a:pt x="1076" y="446"/>
                  </a:lnTo>
                  <a:lnTo>
                    <a:pt x="1074" y="442"/>
                  </a:lnTo>
                  <a:lnTo>
                    <a:pt x="1072" y="440"/>
                  </a:lnTo>
                  <a:lnTo>
                    <a:pt x="1070" y="438"/>
                  </a:lnTo>
                  <a:lnTo>
                    <a:pt x="1070" y="434"/>
                  </a:lnTo>
                  <a:lnTo>
                    <a:pt x="1070" y="432"/>
                  </a:lnTo>
                  <a:lnTo>
                    <a:pt x="1070" y="428"/>
                  </a:lnTo>
                  <a:lnTo>
                    <a:pt x="1072" y="428"/>
                  </a:lnTo>
                  <a:lnTo>
                    <a:pt x="1072" y="426"/>
                  </a:lnTo>
                  <a:lnTo>
                    <a:pt x="1072" y="426"/>
                  </a:lnTo>
                  <a:lnTo>
                    <a:pt x="1074" y="424"/>
                  </a:lnTo>
                  <a:lnTo>
                    <a:pt x="1074" y="422"/>
                  </a:lnTo>
                  <a:lnTo>
                    <a:pt x="1074" y="418"/>
                  </a:lnTo>
                  <a:lnTo>
                    <a:pt x="1074" y="414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6" y="410"/>
                  </a:lnTo>
                  <a:lnTo>
                    <a:pt x="1078" y="410"/>
                  </a:lnTo>
                  <a:lnTo>
                    <a:pt x="1082" y="412"/>
                  </a:lnTo>
                  <a:lnTo>
                    <a:pt x="1084" y="412"/>
                  </a:lnTo>
                  <a:lnTo>
                    <a:pt x="1086" y="412"/>
                  </a:lnTo>
                  <a:lnTo>
                    <a:pt x="1088" y="414"/>
                  </a:lnTo>
                  <a:lnTo>
                    <a:pt x="1090" y="416"/>
                  </a:lnTo>
                  <a:lnTo>
                    <a:pt x="1094" y="418"/>
                  </a:lnTo>
                  <a:lnTo>
                    <a:pt x="1096" y="420"/>
                  </a:lnTo>
                  <a:lnTo>
                    <a:pt x="1098" y="422"/>
                  </a:lnTo>
                  <a:lnTo>
                    <a:pt x="1100" y="422"/>
                  </a:lnTo>
                  <a:lnTo>
                    <a:pt x="1104" y="424"/>
                  </a:lnTo>
                  <a:lnTo>
                    <a:pt x="1106" y="426"/>
                  </a:lnTo>
                  <a:lnTo>
                    <a:pt x="1106" y="428"/>
                  </a:lnTo>
                  <a:lnTo>
                    <a:pt x="1108" y="432"/>
                  </a:lnTo>
                  <a:lnTo>
                    <a:pt x="1108" y="432"/>
                  </a:lnTo>
                  <a:lnTo>
                    <a:pt x="1110" y="432"/>
                  </a:lnTo>
                  <a:lnTo>
                    <a:pt x="1112" y="436"/>
                  </a:lnTo>
                  <a:lnTo>
                    <a:pt x="1112" y="436"/>
                  </a:lnTo>
                  <a:lnTo>
                    <a:pt x="1112" y="436"/>
                  </a:lnTo>
                  <a:lnTo>
                    <a:pt x="1114" y="438"/>
                  </a:lnTo>
                  <a:lnTo>
                    <a:pt x="1118" y="440"/>
                  </a:lnTo>
                  <a:lnTo>
                    <a:pt x="1122" y="442"/>
                  </a:lnTo>
                  <a:lnTo>
                    <a:pt x="1124" y="444"/>
                  </a:lnTo>
                  <a:lnTo>
                    <a:pt x="1126" y="446"/>
                  </a:lnTo>
                  <a:lnTo>
                    <a:pt x="1128" y="448"/>
                  </a:lnTo>
                  <a:lnTo>
                    <a:pt x="1128" y="452"/>
                  </a:lnTo>
                  <a:lnTo>
                    <a:pt x="1128" y="452"/>
                  </a:lnTo>
                  <a:lnTo>
                    <a:pt x="1132" y="452"/>
                  </a:lnTo>
                  <a:lnTo>
                    <a:pt x="1132" y="452"/>
                  </a:lnTo>
                  <a:lnTo>
                    <a:pt x="1134" y="452"/>
                  </a:lnTo>
                  <a:lnTo>
                    <a:pt x="1136" y="448"/>
                  </a:lnTo>
                  <a:lnTo>
                    <a:pt x="1138" y="444"/>
                  </a:lnTo>
                  <a:lnTo>
                    <a:pt x="1142" y="438"/>
                  </a:lnTo>
                  <a:lnTo>
                    <a:pt x="1142" y="438"/>
                  </a:lnTo>
                  <a:lnTo>
                    <a:pt x="1144" y="436"/>
                  </a:lnTo>
                  <a:lnTo>
                    <a:pt x="1144" y="430"/>
                  </a:lnTo>
                  <a:lnTo>
                    <a:pt x="1144" y="422"/>
                  </a:lnTo>
                  <a:lnTo>
                    <a:pt x="1142" y="414"/>
                  </a:lnTo>
                  <a:lnTo>
                    <a:pt x="1142" y="408"/>
                  </a:lnTo>
                  <a:lnTo>
                    <a:pt x="1142" y="408"/>
                  </a:lnTo>
                  <a:lnTo>
                    <a:pt x="1142" y="406"/>
                  </a:lnTo>
                  <a:lnTo>
                    <a:pt x="1140" y="400"/>
                  </a:lnTo>
                  <a:lnTo>
                    <a:pt x="1140" y="400"/>
                  </a:lnTo>
                  <a:lnTo>
                    <a:pt x="1138" y="400"/>
                  </a:lnTo>
                  <a:lnTo>
                    <a:pt x="1138" y="396"/>
                  </a:lnTo>
                  <a:lnTo>
                    <a:pt x="1136" y="394"/>
                  </a:lnTo>
                  <a:lnTo>
                    <a:pt x="1136" y="394"/>
                  </a:lnTo>
                  <a:lnTo>
                    <a:pt x="1134" y="394"/>
                  </a:lnTo>
                  <a:lnTo>
                    <a:pt x="1132" y="392"/>
                  </a:lnTo>
                  <a:lnTo>
                    <a:pt x="1132" y="392"/>
                  </a:lnTo>
                  <a:lnTo>
                    <a:pt x="1132" y="390"/>
                  </a:lnTo>
                  <a:lnTo>
                    <a:pt x="1130" y="388"/>
                  </a:lnTo>
                  <a:lnTo>
                    <a:pt x="1130" y="388"/>
                  </a:lnTo>
                  <a:lnTo>
                    <a:pt x="1128" y="388"/>
                  </a:lnTo>
                  <a:lnTo>
                    <a:pt x="1126" y="388"/>
                  </a:lnTo>
                  <a:lnTo>
                    <a:pt x="1126" y="388"/>
                  </a:lnTo>
                  <a:lnTo>
                    <a:pt x="1126" y="388"/>
                  </a:lnTo>
                  <a:lnTo>
                    <a:pt x="1122" y="386"/>
                  </a:lnTo>
                  <a:lnTo>
                    <a:pt x="1122" y="386"/>
                  </a:lnTo>
                  <a:lnTo>
                    <a:pt x="1120" y="382"/>
                  </a:lnTo>
                  <a:lnTo>
                    <a:pt x="1118" y="380"/>
                  </a:lnTo>
                  <a:lnTo>
                    <a:pt x="1118" y="378"/>
                  </a:lnTo>
                  <a:lnTo>
                    <a:pt x="1118" y="378"/>
                  </a:lnTo>
                  <a:lnTo>
                    <a:pt x="1118" y="378"/>
                  </a:lnTo>
                  <a:lnTo>
                    <a:pt x="1116" y="378"/>
                  </a:lnTo>
                  <a:lnTo>
                    <a:pt x="1116" y="376"/>
                  </a:lnTo>
                  <a:lnTo>
                    <a:pt x="1114" y="376"/>
                  </a:lnTo>
                  <a:lnTo>
                    <a:pt x="1110" y="374"/>
                  </a:lnTo>
                  <a:lnTo>
                    <a:pt x="1108" y="374"/>
                  </a:lnTo>
                  <a:lnTo>
                    <a:pt x="1108" y="374"/>
                  </a:lnTo>
                  <a:lnTo>
                    <a:pt x="1106" y="372"/>
                  </a:lnTo>
                  <a:lnTo>
                    <a:pt x="1100" y="364"/>
                  </a:lnTo>
                  <a:lnTo>
                    <a:pt x="1094" y="356"/>
                  </a:lnTo>
                  <a:lnTo>
                    <a:pt x="1086" y="348"/>
                  </a:lnTo>
                  <a:lnTo>
                    <a:pt x="1082" y="344"/>
                  </a:lnTo>
                  <a:lnTo>
                    <a:pt x="1078" y="340"/>
                  </a:lnTo>
                  <a:lnTo>
                    <a:pt x="1072" y="336"/>
                  </a:lnTo>
                  <a:lnTo>
                    <a:pt x="1068" y="334"/>
                  </a:lnTo>
                  <a:lnTo>
                    <a:pt x="1062" y="328"/>
                  </a:lnTo>
                  <a:lnTo>
                    <a:pt x="1058" y="326"/>
                  </a:lnTo>
                  <a:lnTo>
                    <a:pt x="1054" y="322"/>
                  </a:lnTo>
                  <a:lnTo>
                    <a:pt x="1052" y="318"/>
                  </a:lnTo>
                  <a:lnTo>
                    <a:pt x="1050" y="316"/>
                  </a:lnTo>
                  <a:lnTo>
                    <a:pt x="1050" y="314"/>
                  </a:lnTo>
                  <a:lnTo>
                    <a:pt x="1050" y="314"/>
                  </a:lnTo>
                  <a:lnTo>
                    <a:pt x="1050" y="314"/>
                  </a:lnTo>
                  <a:lnTo>
                    <a:pt x="1050" y="312"/>
                  </a:lnTo>
                  <a:lnTo>
                    <a:pt x="1050" y="312"/>
                  </a:lnTo>
                  <a:lnTo>
                    <a:pt x="1050" y="312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50" y="308"/>
                  </a:lnTo>
                  <a:lnTo>
                    <a:pt x="1050" y="306"/>
                  </a:lnTo>
                  <a:lnTo>
                    <a:pt x="1050" y="306"/>
                  </a:lnTo>
                  <a:lnTo>
                    <a:pt x="1050" y="306"/>
                  </a:lnTo>
                  <a:lnTo>
                    <a:pt x="1048" y="304"/>
                  </a:lnTo>
                  <a:lnTo>
                    <a:pt x="1048" y="304"/>
                  </a:lnTo>
                  <a:lnTo>
                    <a:pt x="1048" y="304"/>
                  </a:lnTo>
                  <a:lnTo>
                    <a:pt x="1048" y="302"/>
                  </a:lnTo>
                  <a:lnTo>
                    <a:pt x="1048" y="302"/>
                  </a:lnTo>
                  <a:lnTo>
                    <a:pt x="1046" y="302"/>
                  </a:lnTo>
                  <a:lnTo>
                    <a:pt x="1044" y="300"/>
                  </a:lnTo>
                  <a:lnTo>
                    <a:pt x="1044" y="300"/>
                  </a:lnTo>
                  <a:lnTo>
                    <a:pt x="1044" y="300"/>
                  </a:lnTo>
                  <a:lnTo>
                    <a:pt x="1042" y="300"/>
                  </a:lnTo>
                  <a:lnTo>
                    <a:pt x="1040" y="298"/>
                  </a:lnTo>
                  <a:lnTo>
                    <a:pt x="1040" y="294"/>
                  </a:lnTo>
                  <a:lnTo>
                    <a:pt x="1038" y="292"/>
                  </a:lnTo>
                  <a:lnTo>
                    <a:pt x="1038" y="288"/>
                  </a:lnTo>
                  <a:lnTo>
                    <a:pt x="1038" y="286"/>
                  </a:lnTo>
                  <a:lnTo>
                    <a:pt x="1040" y="284"/>
                  </a:lnTo>
                  <a:lnTo>
                    <a:pt x="1040" y="280"/>
                  </a:lnTo>
                  <a:lnTo>
                    <a:pt x="1042" y="278"/>
                  </a:lnTo>
                  <a:lnTo>
                    <a:pt x="1046" y="272"/>
                  </a:lnTo>
                  <a:lnTo>
                    <a:pt x="1050" y="268"/>
                  </a:lnTo>
                  <a:lnTo>
                    <a:pt x="1054" y="262"/>
                  </a:lnTo>
                  <a:lnTo>
                    <a:pt x="1058" y="256"/>
                  </a:lnTo>
                  <a:lnTo>
                    <a:pt x="1058" y="256"/>
                  </a:lnTo>
                  <a:lnTo>
                    <a:pt x="1058" y="252"/>
                  </a:lnTo>
                  <a:lnTo>
                    <a:pt x="1056" y="250"/>
                  </a:lnTo>
                  <a:lnTo>
                    <a:pt x="1056" y="250"/>
                  </a:lnTo>
                  <a:lnTo>
                    <a:pt x="1054" y="250"/>
                  </a:lnTo>
                  <a:lnTo>
                    <a:pt x="1052" y="248"/>
                  </a:lnTo>
                  <a:lnTo>
                    <a:pt x="1052" y="248"/>
                  </a:lnTo>
                  <a:lnTo>
                    <a:pt x="1052" y="248"/>
                  </a:lnTo>
                  <a:lnTo>
                    <a:pt x="1050" y="246"/>
                  </a:lnTo>
                  <a:lnTo>
                    <a:pt x="1050" y="246"/>
                  </a:lnTo>
                  <a:lnTo>
                    <a:pt x="1048" y="246"/>
                  </a:lnTo>
                  <a:lnTo>
                    <a:pt x="1046" y="246"/>
                  </a:lnTo>
                  <a:lnTo>
                    <a:pt x="1046" y="246"/>
                  </a:lnTo>
                  <a:lnTo>
                    <a:pt x="1046" y="246"/>
                  </a:lnTo>
                  <a:lnTo>
                    <a:pt x="1044" y="248"/>
                  </a:lnTo>
                  <a:lnTo>
                    <a:pt x="1040" y="248"/>
                  </a:lnTo>
                  <a:lnTo>
                    <a:pt x="1034" y="250"/>
                  </a:lnTo>
                  <a:lnTo>
                    <a:pt x="1034" y="250"/>
                  </a:lnTo>
                  <a:lnTo>
                    <a:pt x="1034" y="250"/>
                  </a:lnTo>
                  <a:lnTo>
                    <a:pt x="1030" y="252"/>
                  </a:lnTo>
                  <a:lnTo>
                    <a:pt x="1030" y="252"/>
                  </a:lnTo>
                  <a:lnTo>
                    <a:pt x="1030" y="252"/>
                  </a:lnTo>
                  <a:lnTo>
                    <a:pt x="1028" y="254"/>
                  </a:lnTo>
                  <a:lnTo>
                    <a:pt x="1028" y="254"/>
                  </a:lnTo>
                  <a:lnTo>
                    <a:pt x="1028" y="256"/>
                  </a:lnTo>
                  <a:lnTo>
                    <a:pt x="1028" y="258"/>
                  </a:lnTo>
                  <a:lnTo>
                    <a:pt x="1026" y="260"/>
                  </a:lnTo>
                  <a:lnTo>
                    <a:pt x="1024" y="264"/>
                  </a:lnTo>
                  <a:lnTo>
                    <a:pt x="1022" y="266"/>
                  </a:lnTo>
                  <a:lnTo>
                    <a:pt x="1020" y="268"/>
                  </a:lnTo>
                  <a:lnTo>
                    <a:pt x="1020" y="268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18" y="268"/>
                  </a:lnTo>
                  <a:lnTo>
                    <a:pt x="1018" y="264"/>
                  </a:lnTo>
                  <a:lnTo>
                    <a:pt x="1016" y="260"/>
                  </a:lnTo>
                  <a:lnTo>
                    <a:pt x="1016" y="258"/>
                  </a:lnTo>
                  <a:lnTo>
                    <a:pt x="1016" y="258"/>
                  </a:lnTo>
                  <a:lnTo>
                    <a:pt x="1016" y="256"/>
                  </a:lnTo>
                  <a:lnTo>
                    <a:pt x="1014" y="254"/>
                  </a:lnTo>
                  <a:lnTo>
                    <a:pt x="1014" y="254"/>
                  </a:lnTo>
                  <a:lnTo>
                    <a:pt x="1014" y="252"/>
                  </a:lnTo>
                  <a:lnTo>
                    <a:pt x="1014" y="248"/>
                  </a:lnTo>
                  <a:lnTo>
                    <a:pt x="1014" y="246"/>
                  </a:lnTo>
                  <a:lnTo>
                    <a:pt x="1014" y="244"/>
                  </a:lnTo>
                  <a:lnTo>
                    <a:pt x="1014" y="242"/>
                  </a:lnTo>
                  <a:lnTo>
                    <a:pt x="1014" y="240"/>
                  </a:lnTo>
                  <a:lnTo>
                    <a:pt x="1016" y="238"/>
                  </a:lnTo>
                  <a:lnTo>
                    <a:pt x="1018" y="238"/>
                  </a:lnTo>
                  <a:lnTo>
                    <a:pt x="1018" y="238"/>
                  </a:lnTo>
                  <a:lnTo>
                    <a:pt x="1020" y="236"/>
                  </a:lnTo>
                  <a:lnTo>
                    <a:pt x="1022" y="234"/>
                  </a:lnTo>
                  <a:lnTo>
                    <a:pt x="1022" y="234"/>
                  </a:lnTo>
                  <a:lnTo>
                    <a:pt x="1022" y="232"/>
                  </a:lnTo>
                  <a:lnTo>
                    <a:pt x="1024" y="230"/>
                  </a:lnTo>
                  <a:lnTo>
                    <a:pt x="1024" y="230"/>
                  </a:lnTo>
                  <a:lnTo>
                    <a:pt x="1024" y="230"/>
                  </a:lnTo>
                  <a:lnTo>
                    <a:pt x="1026" y="226"/>
                  </a:lnTo>
                  <a:lnTo>
                    <a:pt x="1026" y="222"/>
                  </a:lnTo>
                  <a:lnTo>
                    <a:pt x="1026" y="222"/>
                  </a:lnTo>
                  <a:lnTo>
                    <a:pt x="1026" y="218"/>
                  </a:lnTo>
                  <a:lnTo>
                    <a:pt x="1024" y="216"/>
                  </a:lnTo>
                  <a:lnTo>
                    <a:pt x="1022" y="216"/>
                  </a:lnTo>
                  <a:lnTo>
                    <a:pt x="1022" y="214"/>
                  </a:lnTo>
                  <a:lnTo>
                    <a:pt x="1020" y="212"/>
                  </a:lnTo>
                  <a:lnTo>
                    <a:pt x="1020" y="212"/>
                  </a:lnTo>
                  <a:lnTo>
                    <a:pt x="1020" y="212"/>
                  </a:lnTo>
                  <a:lnTo>
                    <a:pt x="1020" y="210"/>
                  </a:lnTo>
                  <a:lnTo>
                    <a:pt x="1020" y="210"/>
                  </a:lnTo>
                  <a:lnTo>
                    <a:pt x="1018" y="210"/>
                  </a:lnTo>
                  <a:lnTo>
                    <a:pt x="1016" y="210"/>
                  </a:lnTo>
                  <a:lnTo>
                    <a:pt x="1016" y="210"/>
                  </a:lnTo>
                  <a:lnTo>
                    <a:pt x="1016" y="210"/>
                  </a:lnTo>
                  <a:lnTo>
                    <a:pt x="1014" y="210"/>
                  </a:lnTo>
                  <a:lnTo>
                    <a:pt x="1014" y="210"/>
                  </a:lnTo>
                  <a:lnTo>
                    <a:pt x="1014" y="210"/>
                  </a:lnTo>
                  <a:lnTo>
                    <a:pt x="1010" y="210"/>
                  </a:lnTo>
                  <a:lnTo>
                    <a:pt x="1010" y="210"/>
                  </a:lnTo>
                  <a:lnTo>
                    <a:pt x="1010" y="212"/>
                  </a:lnTo>
                  <a:lnTo>
                    <a:pt x="1006" y="214"/>
                  </a:lnTo>
                  <a:lnTo>
                    <a:pt x="1004" y="216"/>
                  </a:lnTo>
                  <a:lnTo>
                    <a:pt x="1000" y="222"/>
                  </a:lnTo>
                  <a:lnTo>
                    <a:pt x="996" y="226"/>
                  </a:lnTo>
                  <a:lnTo>
                    <a:pt x="994" y="228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0" y="232"/>
                  </a:lnTo>
                  <a:lnTo>
                    <a:pt x="990" y="234"/>
                  </a:lnTo>
                  <a:lnTo>
                    <a:pt x="990" y="234"/>
                  </a:lnTo>
                  <a:lnTo>
                    <a:pt x="990" y="234"/>
                  </a:lnTo>
                  <a:lnTo>
                    <a:pt x="988" y="234"/>
                  </a:lnTo>
                  <a:lnTo>
                    <a:pt x="986" y="234"/>
                  </a:lnTo>
                  <a:lnTo>
                    <a:pt x="984" y="232"/>
                  </a:lnTo>
                  <a:lnTo>
                    <a:pt x="982" y="232"/>
                  </a:lnTo>
                  <a:lnTo>
                    <a:pt x="980" y="230"/>
                  </a:lnTo>
                  <a:lnTo>
                    <a:pt x="980" y="228"/>
                  </a:lnTo>
                  <a:lnTo>
                    <a:pt x="978" y="226"/>
                  </a:lnTo>
                  <a:lnTo>
                    <a:pt x="978" y="226"/>
                  </a:lnTo>
                  <a:lnTo>
                    <a:pt x="976" y="224"/>
                  </a:lnTo>
                  <a:lnTo>
                    <a:pt x="972" y="220"/>
                  </a:lnTo>
                  <a:lnTo>
                    <a:pt x="970" y="218"/>
                  </a:lnTo>
                  <a:lnTo>
                    <a:pt x="970" y="216"/>
                  </a:lnTo>
                  <a:lnTo>
                    <a:pt x="970" y="214"/>
                  </a:lnTo>
                  <a:lnTo>
                    <a:pt x="968" y="210"/>
                  </a:lnTo>
                  <a:lnTo>
                    <a:pt x="968" y="210"/>
                  </a:lnTo>
                  <a:lnTo>
                    <a:pt x="968" y="210"/>
                  </a:lnTo>
                  <a:lnTo>
                    <a:pt x="968" y="208"/>
                  </a:lnTo>
                  <a:lnTo>
                    <a:pt x="968" y="208"/>
                  </a:lnTo>
                  <a:lnTo>
                    <a:pt x="968" y="208"/>
                  </a:lnTo>
                  <a:lnTo>
                    <a:pt x="966" y="206"/>
                  </a:lnTo>
                  <a:lnTo>
                    <a:pt x="966" y="206"/>
                  </a:lnTo>
                  <a:lnTo>
                    <a:pt x="966" y="206"/>
                  </a:lnTo>
                  <a:lnTo>
                    <a:pt x="964" y="204"/>
                  </a:lnTo>
                  <a:lnTo>
                    <a:pt x="962" y="202"/>
                  </a:lnTo>
                  <a:lnTo>
                    <a:pt x="962" y="202"/>
                  </a:lnTo>
                  <a:lnTo>
                    <a:pt x="962" y="198"/>
                  </a:lnTo>
                  <a:lnTo>
                    <a:pt x="964" y="196"/>
                  </a:lnTo>
                  <a:lnTo>
                    <a:pt x="964" y="194"/>
                  </a:lnTo>
                  <a:lnTo>
                    <a:pt x="964" y="192"/>
                  </a:lnTo>
                  <a:lnTo>
                    <a:pt x="966" y="192"/>
                  </a:lnTo>
                  <a:lnTo>
                    <a:pt x="968" y="190"/>
                  </a:lnTo>
                  <a:lnTo>
                    <a:pt x="968" y="190"/>
                  </a:lnTo>
                  <a:lnTo>
                    <a:pt x="968" y="188"/>
                  </a:lnTo>
                  <a:lnTo>
                    <a:pt x="970" y="186"/>
                  </a:lnTo>
                  <a:lnTo>
                    <a:pt x="970" y="186"/>
                  </a:lnTo>
                  <a:lnTo>
                    <a:pt x="970" y="184"/>
                  </a:lnTo>
                  <a:lnTo>
                    <a:pt x="972" y="182"/>
                  </a:lnTo>
                  <a:lnTo>
                    <a:pt x="972" y="182"/>
                  </a:lnTo>
                  <a:lnTo>
                    <a:pt x="972" y="180"/>
                  </a:lnTo>
                  <a:lnTo>
                    <a:pt x="972" y="178"/>
                  </a:lnTo>
                  <a:lnTo>
                    <a:pt x="972" y="178"/>
                  </a:lnTo>
                  <a:lnTo>
                    <a:pt x="972" y="176"/>
                  </a:lnTo>
                  <a:lnTo>
                    <a:pt x="970" y="174"/>
                  </a:lnTo>
                  <a:lnTo>
                    <a:pt x="970" y="174"/>
                  </a:lnTo>
                  <a:lnTo>
                    <a:pt x="970" y="174"/>
                  </a:lnTo>
                  <a:lnTo>
                    <a:pt x="968" y="170"/>
                  </a:lnTo>
                  <a:lnTo>
                    <a:pt x="968" y="170"/>
                  </a:lnTo>
                  <a:lnTo>
                    <a:pt x="968" y="170"/>
                  </a:lnTo>
                  <a:lnTo>
                    <a:pt x="966" y="168"/>
                  </a:lnTo>
                  <a:lnTo>
                    <a:pt x="966" y="168"/>
                  </a:lnTo>
                  <a:lnTo>
                    <a:pt x="966" y="168"/>
                  </a:lnTo>
                  <a:lnTo>
                    <a:pt x="962" y="164"/>
                  </a:lnTo>
                  <a:lnTo>
                    <a:pt x="960" y="162"/>
                  </a:lnTo>
                  <a:lnTo>
                    <a:pt x="958" y="160"/>
                  </a:lnTo>
                  <a:lnTo>
                    <a:pt x="954" y="156"/>
                  </a:lnTo>
                  <a:lnTo>
                    <a:pt x="950" y="152"/>
                  </a:lnTo>
                  <a:lnTo>
                    <a:pt x="950" y="152"/>
                  </a:lnTo>
                  <a:lnTo>
                    <a:pt x="948" y="152"/>
                  </a:lnTo>
                  <a:lnTo>
                    <a:pt x="946" y="150"/>
                  </a:lnTo>
                  <a:lnTo>
                    <a:pt x="946" y="150"/>
                  </a:lnTo>
                  <a:lnTo>
                    <a:pt x="946" y="150"/>
                  </a:lnTo>
                  <a:lnTo>
                    <a:pt x="944" y="150"/>
                  </a:lnTo>
                  <a:lnTo>
                    <a:pt x="942" y="148"/>
                  </a:lnTo>
                  <a:lnTo>
                    <a:pt x="942" y="148"/>
                  </a:lnTo>
                  <a:lnTo>
                    <a:pt x="942" y="148"/>
                  </a:lnTo>
                  <a:lnTo>
                    <a:pt x="940" y="148"/>
                  </a:lnTo>
                  <a:lnTo>
                    <a:pt x="940" y="148"/>
                  </a:lnTo>
                  <a:lnTo>
                    <a:pt x="938" y="148"/>
                  </a:lnTo>
                  <a:lnTo>
                    <a:pt x="936" y="148"/>
                  </a:lnTo>
                  <a:lnTo>
                    <a:pt x="936" y="148"/>
                  </a:lnTo>
                  <a:lnTo>
                    <a:pt x="936" y="148"/>
                  </a:lnTo>
                  <a:lnTo>
                    <a:pt x="934" y="148"/>
                  </a:lnTo>
                  <a:lnTo>
                    <a:pt x="934" y="148"/>
                  </a:lnTo>
                  <a:lnTo>
                    <a:pt x="934" y="148"/>
                  </a:lnTo>
                  <a:lnTo>
                    <a:pt x="930" y="150"/>
                  </a:lnTo>
                  <a:lnTo>
                    <a:pt x="930" y="150"/>
                  </a:lnTo>
                  <a:lnTo>
                    <a:pt x="930" y="150"/>
                  </a:lnTo>
                  <a:lnTo>
                    <a:pt x="926" y="152"/>
                  </a:lnTo>
                  <a:lnTo>
                    <a:pt x="926" y="152"/>
                  </a:lnTo>
                  <a:lnTo>
                    <a:pt x="924" y="154"/>
                  </a:lnTo>
                  <a:lnTo>
                    <a:pt x="924" y="156"/>
                  </a:lnTo>
                  <a:lnTo>
                    <a:pt x="922" y="160"/>
                  </a:lnTo>
                  <a:lnTo>
                    <a:pt x="922" y="160"/>
                  </a:lnTo>
                  <a:lnTo>
                    <a:pt x="922" y="160"/>
                  </a:lnTo>
                  <a:lnTo>
                    <a:pt x="922" y="162"/>
                  </a:lnTo>
                  <a:lnTo>
                    <a:pt x="922" y="162"/>
                  </a:lnTo>
                  <a:lnTo>
                    <a:pt x="922" y="162"/>
                  </a:lnTo>
                  <a:lnTo>
                    <a:pt x="922" y="164"/>
                  </a:lnTo>
                  <a:lnTo>
                    <a:pt x="922" y="164"/>
                  </a:lnTo>
                  <a:lnTo>
                    <a:pt x="922" y="166"/>
                  </a:lnTo>
                  <a:lnTo>
                    <a:pt x="922" y="168"/>
                  </a:lnTo>
                  <a:lnTo>
                    <a:pt x="922" y="168"/>
                  </a:lnTo>
                  <a:lnTo>
                    <a:pt x="922" y="168"/>
                  </a:lnTo>
                  <a:lnTo>
                    <a:pt x="924" y="170"/>
                  </a:lnTo>
                  <a:lnTo>
                    <a:pt x="924" y="170"/>
                  </a:lnTo>
                  <a:lnTo>
                    <a:pt x="924" y="172"/>
                  </a:lnTo>
                  <a:lnTo>
                    <a:pt x="926" y="172"/>
                  </a:lnTo>
                  <a:lnTo>
                    <a:pt x="926" y="172"/>
                  </a:lnTo>
                  <a:lnTo>
                    <a:pt x="928" y="172"/>
                  </a:lnTo>
                  <a:lnTo>
                    <a:pt x="930" y="174"/>
                  </a:lnTo>
                  <a:lnTo>
                    <a:pt x="932" y="174"/>
                  </a:lnTo>
                  <a:lnTo>
                    <a:pt x="932" y="174"/>
                  </a:lnTo>
                  <a:lnTo>
                    <a:pt x="932" y="174"/>
                  </a:lnTo>
                  <a:lnTo>
                    <a:pt x="932" y="176"/>
                  </a:lnTo>
                  <a:lnTo>
                    <a:pt x="932" y="176"/>
                  </a:lnTo>
                  <a:lnTo>
                    <a:pt x="932" y="178"/>
                  </a:lnTo>
                  <a:lnTo>
                    <a:pt x="930" y="180"/>
                  </a:lnTo>
                  <a:lnTo>
                    <a:pt x="928" y="182"/>
                  </a:lnTo>
                  <a:lnTo>
                    <a:pt x="926" y="184"/>
                  </a:lnTo>
                  <a:lnTo>
                    <a:pt x="926" y="184"/>
                  </a:lnTo>
                  <a:lnTo>
                    <a:pt x="924" y="186"/>
                  </a:lnTo>
                  <a:lnTo>
                    <a:pt x="924" y="190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2" y="192"/>
                  </a:lnTo>
                  <a:lnTo>
                    <a:pt x="920" y="192"/>
                  </a:lnTo>
                  <a:lnTo>
                    <a:pt x="918" y="188"/>
                  </a:lnTo>
                  <a:lnTo>
                    <a:pt x="918" y="188"/>
                  </a:lnTo>
                  <a:lnTo>
                    <a:pt x="918" y="188"/>
                  </a:lnTo>
                  <a:lnTo>
                    <a:pt x="914" y="184"/>
                  </a:lnTo>
                  <a:lnTo>
                    <a:pt x="914" y="184"/>
                  </a:lnTo>
                  <a:lnTo>
                    <a:pt x="914" y="184"/>
                  </a:lnTo>
                  <a:lnTo>
                    <a:pt x="910" y="180"/>
                  </a:lnTo>
                  <a:lnTo>
                    <a:pt x="906" y="178"/>
                  </a:lnTo>
                  <a:lnTo>
                    <a:pt x="906" y="176"/>
                  </a:lnTo>
                  <a:lnTo>
                    <a:pt x="904" y="176"/>
                  </a:lnTo>
                  <a:lnTo>
                    <a:pt x="904" y="176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0" y="174"/>
                  </a:lnTo>
                  <a:lnTo>
                    <a:pt x="898" y="174"/>
                  </a:lnTo>
                  <a:lnTo>
                    <a:pt x="898" y="174"/>
                  </a:lnTo>
                  <a:lnTo>
                    <a:pt x="898" y="174"/>
                  </a:lnTo>
                  <a:lnTo>
                    <a:pt x="896" y="176"/>
                  </a:lnTo>
                  <a:lnTo>
                    <a:pt x="896" y="176"/>
                  </a:lnTo>
                  <a:lnTo>
                    <a:pt x="896" y="176"/>
                  </a:lnTo>
                  <a:lnTo>
                    <a:pt x="892" y="178"/>
                  </a:lnTo>
                  <a:lnTo>
                    <a:pt x="890" y="180"/>
                  </a:lnTo>
                  <a:lnTo>
                    <a:pt x="888" y="182"/>
                  </a:lnTo>
                  <a:lnTo>
                    <a:pt x="888" y="184"/>
                  </a:lnTo>
                  <a:lnTo>
                    <a:pt x="886" y="184"/>
                  </a:lnTo>
                  <a:lnTo>
                    <a:pt x="886" y="184"/>
                  </a:lnTo>
                  <a:lnTo>
                    <a:pt x="886" y="184"/>
                  </a:lnTo>
                  <a:lnTo>
                    <a:pt x="884" y="190"/>
                  </a:lnTo>
                  <a:lnTo>
                    <a:pt x="884" y="192"/>
                  </a:lnTo>
                  <a:lnTo>
                    <a:pt x="882" y="190"/>
                  </a:lnTo>
                  <a:lnTo>
                    <a:pt x="880" y="186"/>
                  </a:lnTo>
                  <a:lnTo>
                    <a:pt x="880" y="184"/>
                  </a:lnTo>
                  <a:lnTo>
                    <a:pt x="882" y="184"/>
                  </a:lnTo>
                  <a:lnTo>
                    <a:pt x="882" y="182"/>
                  </a:lnTo>
                  <a:lnTo>
                    <a:pt x="884" y="180"/>
                  </a:lnTo>
                  <a:lnTo>
                    <a:pt x="890" y="174"/>
                  </a:lnTo>
                  <a:lnTo>
                    <a:pt x="892" y="172"/>
                  </a:lnTo>
                  <a:lnTo>
                    <a:pt x="892" y="172"/>
                  </a:lnTo>
                  <a:lnTo>
                    <a:pt x="892" y="172"/>
                  </a:lnTo>
                  <a:lnTo>
                    <a:pt x="894" y="168"/>
                  </a:lnTo>
                  <a:lnTo>
                    <a:pt x="894" y="168"/>
                  </a:lnTo>
                  <a:lnTo>
                    <a:pt x="894" y="166"/>
                  </a:lnTo>
                  <a:lnTo>
                    <a:pt x="894" y="158"/>
                  </a:lnTo>
                  <a:lnTo>
                    <a:pt x="894" y="148"/>
                  </a:lnTo>
                  <a:lnTo>
                    <a:pt x="892" y="140"/>
                  </a:lnTo>
                  <a:lnTo>
                    <a:pt x="890" y="13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2" y="112"/>
                  </a:lnTo>
                  <a:lnTo>
                    <a:pt x="882" y="112"/>
                  </a:lnTo>
                  <a:lnTo>
                    <a:pt x="882" y="112"/>
                  </a:lnTo>
                  <a:lnTo>
                    <a:pt x="880" y="108"/>
                  </a:lnTo>
                  <a:lnTo>
                    <a:pt x="878" y="106"/>
                  </a:lnTo>
                  <a:lnTo>
                    <a:pt x="878" y="106"/>
                  </a:lnTo>
                  <a:lnTo>
                    <a:pt x="876" y="106"/>
                  </a:lnTo>
                  <a:lnTo>
                    <a:pt x="874" y="102"/>
                  </a:lnTo>
                  <a:lnTo>
                    <a:pt x="870" y="100"/>
                  </a:lnTo>
                  <a:lnTo>
                    <a:pt x="870" y="100"/>
                  </a:lnTo>
                  <a:lnTo>
                    <a:pt x="868" y="100"/>
                  </a:lnTo>
                  <a:lnTo>
                    <a:pt x="864" y="100"/>
                  </a:lnTo>
                  <a:lnTo>
                    <a:pt x="860" y="102"/>
                  </a:lnTo>
                  <a:lnTo>
                    <a:pt x="858" y="102"/>
                  </a:lnTo>
                  <a:lnTo>
                    <a:pt x="854" y="104"/>
                  </a:lnTo>
                  <a:lnTo>
                    <a:pt x="852" y="104"/>
                  </a:lnTo>
                  <a:lnTo>
                    <a:pt x="850" y="106"/>
                  </a:lnTo>
                  <a:lnTo>
                    <a:pt x="850" y="106"/>
                  </a:lnTo>
                  <a:lnTo>
                    <a:pt x="850" y="106"/>
                  </a:lnTo>
                  <a:lnTo>
                    <a:pt x="848" y="108"/>
                  </a:lnTo>
                  <a:lnTo>
                    <a:pt x="844" y="110"/>
                  </a:lnTo>
                  <a:lnTo>
                    <a:pt x="842" y="112"/>
                  </a:lnTo>
                  <a:lnTo>
                    <a:pt x="840" y="114"/>
                  </a:lnTo>
                  <a:lnTo>
                    <a:pt x="838" y="116"/>
                  </a:lnTo>
                  <a:lnTo>
                    <a:pt x="836" y="116"/>
                  </a:lnTo>
                  <a:lnTo>
                    <a:pt x="836" y="116"/>
                  </a:lnTo>
                  <a:lnTo>
                    <a:pt x="834" y="116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0" y="122"/>
                  </a:lnTo>
                  <a:lnTo>
                    <a:pt x="830" y="122"/>
                  </a:lnTo>
                  <a:lnTo>
                    <a:pt x="830" y="124"/>
                  </a:lnTo>
                  <a:lnTo>
                    <a:pt x="828" y="126"/>
                  </a:lnTo>
                  <a:lnTo>
                    <a:pt x="828" y="130"/>
                  </a:lnTo>
                  <a:lnTo>
                    <a:pt x="826" y="134"/>
                  </a:lnTo>
                  <a:lnTo>
                    <a:pt x="826" y="136"/>
                  </a:lnTo>
                  <a:lnTo>
                    <a:pt x="824" y="140"/>
                  </a:lnTo>
                  <a:lnTo>
                    <a:pt x="824" y="140"/>
                  </a:lnTo>
                  <a:lnTo>
                    <a:pt x="822" y="142"/>
                  </a:lnTo>
                  <a:lnTo>
                    <a:pt x="822" y="142"/>
                  </a:lnTo>
                  <a:lnTo>
                    <a:pt x="820" y="142"/>
                  </a:lnTo>
                  <a:lnTo>
                    <a:pt x="820" y="146"/>
                  </a:lnTo>
                  <a:lnTo>
                    <a:pt x="820" y="146"/>
                  </a:lnTo>
                  <a:lnTo>
                    <a:pt x="820" y="146"/>
                  </a:lnTo>
                  <a:lnTo>
                    <a:pt x="820" y="150"/>
                  </a:lnTo>
                  <a:lnTo>
                    <a:pt x="820" y="150"/>
                  </a:lnTo>
                  <a:lnTo>
                    <a:pt x="820" y="150"/>
                  </a:lnTo>
                  <a:lnTo>
                    <a:pt x="820" y="154"/>
                  </a:lnTo>
                  <a:lnTo>
                    <a:pt x="820" y="158"/>
                  </a:lnTo>
                  <a:lnTo>
                    <a:pt x="820" y="162"/>
                  </a:lnTo>
                  <a:lnTo>
                    <a:pt x="822" y="166"/>
                  </a:lnTo>
                  <a:lnTo>
                    <a:pt x="824" y="168"/>
                  </a:lnTo>
                  <a:lnTo>
                    <a:pt x="824" y="170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4" y="182"/>
                  </a:lnTo>
                  <a:lnTo>
                    <a:pt x="824" y="184"/>
                  </a:lnTo>
                  <a:lnTo>
                    <a:pt x="824" y="184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2" y="186"/>
                  </a:lnTo>
                  <a:lnTo>
                    <a:pt x="822" y="186"/>
                  </a:lnTo>
                  <a:lnTo>
                    <a:pt x="820" y="188"/>
                  </a:lnTo>
                  <a:lnTo>
                    <a:pt x="820" y="188"/>
                  </a:lnTo>
                  <a:lnTo>
                    <a:pt x="820" y="188"/>
                  </a:lnTo>
                  <a:lnTo>
                    <a:pt x="820" y="192"/>
                  </a:lnTo>
                  <a:lnTo>
                    <a:pt x="820" y="192"/>
                  </a:lnTo>
                  <a:lnTo>
                    <a:pt x="820" y="192"/>
                  </a:lnTo>
                  <a:lnTo>
                    <a:pt x="822" y="192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6" y="196"/>
                  </a:lnTo>
                  <a:lnTo>
                    <a:pt x="828" y="198"/>
                  </a:lnTo>
                  <a:lnTo>
                    <a:pt x="830" y="200"/>
                  </a:lnTo>
                  <a:lnTo>
                    <a:pt x="830" y="200"/>
                  </a:lnTo>
                  <a:lnTo>
                    <a:pt x="830" y="200"/>
                  </a:lnTo>
                  <a:lnTo>
                    <a:pt x="830" y="202"/>
                  </a:lnTo>
                  <a:lnTo>
                    <a:pt x="830" y="202"/>
                  </a:lnTo>
                  <a:lnTo>
                    <a:pt x="828" y="204"/>
                  </a:lnTo>
                  <a:lnTo>
                    <a:pt x="828" y="204"/>
                  </a:lnTo>
                  <a:lnTo>
                    <a:pt x="828" y="206"/>
                  </a:lnTo>
                  <a:lnTo>
                    <a:pt x="826" y="210"/>
                  </a:lnTo>
                  <a:lnTo>
                    <a:pt x="826" y="212"/>
                  </a:lnTo>
                  <a:lnTo>
                    <a:pt x="824" y="216"/>
                  </a:lnTo>
                  <a:lnTo>
                    <a:pt x="822" y="220"/>
                  </a:lnTo>
                  <a:lnTo>
                    <a:pt x="822" y="220"/>
                  </a:lnTo>
                  <a:lnTo>
                    <a:pt x="820" y="222"/>
                  </a:lnTo>
                  <a:lnTo>
                    <a:pt x="818" y="224"/>
                  </a:lnTo>
                  <a:lnTo>
                    <a:pt x="816" y="224"/>
                  </a:lnTo>
                  <a:lnTo>
                    <a:pt x="818" y="222"/>
                  </a:lnTo>
                  <a:lnTo>
                    <a:pt x="820" y="220"/>
                  </a:lnTo>
                  <a:lnTo>
                    <a:pt x="822" y="216"/>
                  </a:lnTo>
                  <a:lnTo>
                    <a:pt x="824" y="216"/>
                  </a:lnTo>
                  <a:lnTo>
                    <a:pt x="824" y="216"/>
                  </a:lnTo>
                  <a:lnTo>
                    <a:pt x="824" y="216"/>
                  </a:lnTo>
                  <a:lnTo>
                    <a:pt x="824" y="214"/>
                  </a:lnTo>
                  <a:lnTo>
                    <a:pt x="824" y="214"/>
                  </a:lnTo>
                  <a:lnTo>
                    <a:pt x="824" y="212"/>
                  </a:lnTo>
                  <a:lnTo>
                    <a:pt x="824" y="212"/>
                  </a:lnTo>
                  <a:lnTo>
                    <a:pt x="824" y="212"/>
                  </a:lnTo>
                  <a:lnTo>
                    <a:pt x="824" y="210"/>
                  </a:lnTo>
                  <a:lnTo>
                    <a:pt x="824" y="210"/>
                  </a:lnTo>
                  <a:lnTo>
                    <a:pt x="822" y="208"/>
                  </a:lnTo>
                  <a:lnTo>
                    <a:pt x="822" y="208"/>
                  </a:lnTo>
                  <a:lnTo>
                    <a:pt x="822" y="208"/>
                  </a:lnTo>
                  <a:lnTo>
                    <a:pt x="822" y="206"/>
                  </a:lnTo>
                  <a:lnTo>
                    <a:pt x="820" y="202"/>
                  </a:lnTo>
                  <a:lnTo>
                    <a:pt x="816" y="200"/>
                  </a:lnTo>
                  <a:lnTo>
                    <a:pt x="812" y="194"/>
                  </a:lnTo>
                  <a:lnTo>
                    <a:pt x="810" y="190"/>
                  </a:lnTo>
                  <a:lnTo>
                    <a:pt x="808" y="188"/>
                  </a:lnTo>
                  <a:lnTo>
                    <a:pt x="806" y="182"/>
                  </a:lnTo>
                  <a:lnTo>
                    <a:pt x="806" y="176"/>
                  </a:lnTo>
                  <a:lnTo>
                    <a:pt x="806" y="168"/>
                  </a:lnTo>
                  <a:lnTo>
                    <a:pt x="806" y="162"/>
                  </a:lnTo>
                  <a:lnTo>
                    <a:pt x="806" y="156"/>
                  </a:lnTo>
                  <a:lnTo>
                    <a:pt x="808" y="152"/>
                  </a:lnTo>
                  <a:lnTo>
                    <a:pt x="810" y="142"/>
                  </a:lnTo>
                  <a:lnTo>
                    <a:pt x="812" y="132"/>
                  </a:lnTo>
                  <a:lnTo>
                    <a:pt x="814" y="126"/>
                  </a:lnTo>
                  <a:lnTo>
                    <a:pt x="814" y="122"/>
                  </a:lnTo>
                  <a:lnTo>
                    <a:pt x="816" y="120"/>
                  </a:lnTo>
                  <a:lnTo>
                    <a:pt x="818" y="116"/>
                  </a:lnTo>
                  <a:lnTo>
                    <a:pt x="822" y="110"/>
                  </a:lnTo>
                  <a:lnTo>
                    <a:pt x="826" y="106"/>
                  </a:lnTo>
                  <a:lnTo>
                    <a:pt x="828" y="104"/>
                  </a:lnTo>
                  <a:lnTo>
                    <a:pt x="830" y="102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4" y="98"/>
                  </a:lnTo>
                  <a:lnTo>
                    <a:pt x="824" y="98"/>
                  </a:lnTo>
                  <a:lnTo>
                    <a:pt x="820" y="98"/>
                  </a:lnTo>
                  <a:lnTo>
                    <a:pt x="822" y="96"/>
                  </a:lnTo>
                  <a:lnTo>
                    <a:pt x="820" y="94"/>
                  </a:lnTo>
                  <a:lnTo>
                    <a:pt x="820" y="94"/>
                  </a:lnTo>
                  <a:lnTo>
                    <a:pt x="816" y="92"/>
                  </a:lnTo>
                  <a:lnTo>
                    <a:pt x="814" y="90"/>
                  </a:lnTo>
                  <a:lnTo>
                    <a:pt x="812" y="90"/>
                  </a:lnTo>
                  <a:lnTo>
                    <a:pt x="812" y="90"/>
                  </a:lnTo>
                  <a:lnTo>
                    <a:pt x="810" y="90"/>
                  </a:lnTo>
                  <a:lnTo>
                    <a:pt x="808" y="88"/>
                  </a:lnTo>
                  <a:lnTo>
                    <a:pt x="808" y="88"/>
                  </a:lnTo>
                  <a:lnTo>
                    <a:pt x="808" y="88"/>
                  </a:lnTo>
                  <a:lnTo>
                    <a:pt x="806" y="88"/>
                  </a:lnTo>
                  <a:lnTo>
                    <a:pt x="806" y="88"/>
                  </a:lnTo>
                  <a:lnTo>
                    <a:pt x="806" y="88"/>
                  </a:lnTo>
                  <a:lnTo>
                    <a:pt x="804" y="88"/>
                  </a:lnTo>
                  <a:lnTo>
                    <a:pt x="800" y="90"/>
                  </a:lnTo>
                  <a:lnTo>
                    <a:pt x="796" y="92"/>
                  </a:lnTo>
                  <a:lnTo>
                    <a:pt x="792" y="96"/>
                  </a:lnTo>
                  <a:lnTo>
                    <a:pt x="786" y="100"/>
                  </a:lnTo>
                  <a:lnTo>
                    <a:pt x="784" y="102"/>
                  </a:lnTo>
                  <a:lnTo>
                    <a:pt x="782" y="104"/>
                  </a:lnTo>
                  <a:lnTo>
                    <a:pt x="776" y="110"/>
                  </a:lnTo>
                  <a:lnTo>
                    <a:pt x="770" y="114"/>
                  </a:lnTo>
                  <a:lnTo>
                    <a:pt x="768" y="118"/>
                  </a:lnTo>
                  <a:lnTo>
                    <a:pt x="766" y="120"/>
                  </a:lnTo>
                  <a:lnTo>
                    <a:pt x="766" y="120"/>
                  </a:lnTo>
                  <a:lnTo>
                    <a:pt x="766" y="120"/>
                  </a:lnTo>
                  <a:lnTo>
                    <a:pt x="766" y="124"/>
                  </a:lnTo>
                  <a:lnTo>
                    <a:pt x="764" y="126"/>
                  </a:lnTo>
                  <a:lnTo>
                    <a:pt x="762" y="130"/>
                  </a:lnTo>
                  <a:lnTo>
                    <a:pt x="760" y="132"/>
                  </a:lnTo>
                  <a:lnTo>
                    <a:pt x="758" y="138"/>
                  </a:lnTo>
                  <a:lnTo>
                    <a:pt x="758" y="138"/>
                  </a:lnTo>
                  <a:lnTo>
                    <a:pt x="756" y="138"/>
                  </a:lnTo>
                  <a:lnTo>
                    <a:pt x="756" y="144"/>
                  </a:lnTo>
                  <a:lnTo>
                    <a:pt x="756" y="146"/>
                  </a:lnTo>
                  <a:lnTo>
                    <a:pt x="756" y="150"/>
                  </a:lnTo>
                  <a:lnTo>
                    <a:pt x="756" y="152"/>
                  </a:lnTo>
                  <a:lnTo>
                    <a:pt x="754" y="154"/>
                  </a:lnTo>
                  <a:lnTo>
                    <a:pt x="754" y="156"/>
                  </a:lnTo>
                  <a:lnTo>
                    <a:pt x="752" y="158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0" y="162"/>
                  </a:lnTo>
                  <a:lnTo>
                    <a:pt x="750" y="168"/>
                  </a:lnTo>
                  <a:lnTo>
                    <a:pt x="750" y="176"/>
                  </a:lnTo>
                  <a:lnTo>
                    <a:pt x="748" y="188"/>
                  </a:lnTo>
                  <a:lnTo>
                    <a:pt x="748" y="196"/>
                  </a:lnTo>
                  <a:lnTo>
                    <a:pt x="748" y="202"/>
                  </a:lnTo>
                  <a:lnTo>
                    <a:pt x="750" y="208"/>
                  </a:lnTo>
                  <a:lnTo>
                    <a:pt x="750" y="216"/>
                  </a:lnTo>
                  <a:lnTo>
                    <a:pt x="752" y="218"/>
                  </a:lnTo>
                  <a:lnTo>
                    <a:pt x="752" y="222"/>
                  </a:lnTo>
                  <a:lnTo>
                    <a:pt x="752" y="224"/>
                  </a:lnTo>
                  <a:lnTo>
                    <a:pt x="752" y="224"/>
                  </a:lnTo>
                  <a:lnTo>
                    <a:pt x="752" y="224"/>
                  </a:lnTo>
                  <a:lnTo>
                    <a:pt x="754" y="226"/>
                  </a:lnTo>
                  <a:lnTo>
                    <a:pt x="754" y="228"/>
                  </a:lnTo>
                  <a:lnTo>
                    <a:pt x="756" y="228"/>
                  </a:lnTo>
                  <a:lnTo>
                    <a:pt x="756" y="230"/>
                  </a:lnTo>
                  <a:lnTo>
                    <a:pt x="756" y="232"/>
                  </a:lnTo>
                  <a:lnTo>
                    <a:pt x="758" y="234"/>
                  </a:lnTo>
                  <a:lnTo>
                    <a:pt x="758" y="236"/>
                  </a:lnTo>
                  <a:lnTo>
                    <a:pt x="760" y="238"/>
                  </a:lnTo>
                  <a:lnTo>
                    <a:pt x="760" y="240"/>
                  </a:lnTo>
                  <a:lnTo>
                    <a:pt x="762" y="242"/>
                  </a:lnTo>
                  <a:lnTo>
                    <a:pt x="762" y="244"/>
                  </a:lnTo>
                  <a:lnTo>
                    <a:pt x="762" y="246"/>
                  </a:lnTo>
                  <a:lnTo>
                    <a:pt x="762" y="248"/>
                  </a:lnTo>
                  <a:lnTo>
                    <a:pt x="764" y="250"/>
                  </a:lnTo>
                  <a:lnTo>
                    <a:pt x="764" y="252"/>
                  </a:lnTo>
                  <a:lnTo>
                    <a:pt x="764" y="254"/>
                  </a:lnTo>
                  <a:lnTo>
                    <a:pt x="764" y="258"/>
                  </a:lnTo>
                  <a:lnTo>
                    <a:pt x="764" y="262"/>
                  </a:lnTo>
                  <a:lnTo>
                    <a:pt x="764" y="262"/>
                  </a:lnTo>
                  <a:lnTo>
                    <a:pt x="766" y="264"/>
                  </a:lnTo>
                  <a:lnTo>
                    <a:pt x="768" y="264"/>
                  </a:lnTo>
                  <a:lnTo>
                    <a:pt x="768" y="264"/>
                  </a:lnTo>
                  <a:lnTo>
                    <a:pt x="770" y="264"/>
                  </a:lnTo>
                  <a:lnTo>
                    <a:pt x="776" y="264"/>
                  </a:lnTo>
                  <a:lnTo>
                    <a:pt x="780" y="262"/>
                  </a:lnTo>
                  <a:lnTo>
                    <a:pt x="786" y="262"/>
                  </a:lnTo>
                  <a:lnTo>
                    <a:pt x="792" y="262"/>
                  </a:lnTo>
                  <a:lnTo>
                    <a:pt x="796" y="262"/>
                  </a:lnTo>
                  <a:lnTo>
                    <a:pt x="796" y="262"/>
                  </a:lnTo>
                  <a:lnTo>
                    <a:pt x="798" y="264"/>
                  </a:lnTo>
                  <a:lnTo>
                    <a:pt x="796" y="264"/>
                  </a:lnTo>
                  <a:lnTo>
                    <a:pt x="794" y="268"/>
                  </a:lnTo>
                  <a:lnTo>
                    <a:pt x="794" y="268"/>
                  </a:lnTo>
                  <a:lnTo>
                    <a:pt x="794" y="268"/>
                  </a:lnTo>
                  <a:lnTo>
                    <a:pt x="794" y="270"/>
                  </a:lnTo>
                  <a:lnTo>
                    <a:pt x="794" y="270"/>
                  </a:lnTo>
                  <a:lnTo>
                    <a:pt x="794" y="272"/>
                  </a:lnTo>
                  <a:lnTo>
                    <a:pt x="794" y="272"/>
                  </a:lnTo>
                  <a:lnTo>
                    <a:pt x="794" y="272"/>
                  </a:lnTo>
                  <a:lnTo>
                    <a:pt x="794" y="274"/>
                  </a:lnTo>
                  <a:lnTo>
                    <a:pt x="796" y="276"/>
                  </a:lnTo>
                  <a:lnTo>
                    <a:pt x="796" y="276"/>
                  </a:lnTo>
                  <a:lnTo>
                    <a:pt x="796" y="276"/>
                  </a:lnTo>
                  <a:lnTo>
                    <a:pt x="798" y="276"/>
                  </a:lnTo>
                  <a:lnTo>
                    <a:pt x="798" y="276"/>
                  </a:lnTo>
                  <a:lnTo>
                    <a:pt x="798" y="278"/>
                  </a:lnTo>
                  <a:lnTo>
                    <a:pt x="800" y="278"/>
                  </a:lnTo>
                  <a:lnTo>
                    <a:pt x="800" y="278"/>
                  </a:lnTo>
                  <a:lnTo>
                    <a:pt x="802" y="278"/>
                  </a:lnTo>
                  <a:lnTo>
                    <a:pt x="808" y="278"/>
                  </a:lnTo>
                  <a:lnTo>
                    <a:pt x="814" y="276"/>
                  </a:lnTo>
                  <a:lnTo>
                    <a:pt x="820" y="276"/>
                  </a:lnTo>
                  <a:lnTo>
                    <a:pt x="822" y="276"/>
                  </a:lnTo>
                  <a:lnTo>
                    <a:pt x="822" y="276"/>
                  </a:lnTo>
                  <a:lnTo>
                    <a:pt x="822" y="276"/>
                  </a:lnTo>
                  <a:lnTo>
                    <a:pt x="820" y="278"/>
                  </a:lnTo>
                  <a:lnTo>
                    <a:pt x="820" y="278"/>
                  </a:lnTo>
                  <a:lnTo>
                    <a:pt x="820" y="280"/>
                  </a:lnTo>
                  <a:lnTo>
                    <a:pt x="818" y="282"/>
                  </a:lnTo>
                  <a:lnTo>
                    <a:pt x="818" y="282"/>
                  </a:lnTo>
                  <a:lnTo>
                    <a:pt x="818" y="284"/>
                  </a:lnTo>
                  <a:lnTo>
                    <a:pt x="818" y="288"/>
                  </a:lnTo>
                  <a:lnTo>
                    <a:pt x="820" y="292"/>
                  </a:lnTo>
                  <a:lnTo>
                    <a:pt x="820" y="298"/>
                  </a:lnTo>
                  <a:lnTo>
                    <a:pt x="822" y="302"/>
                  </a:lnTo>
                  <a:lnTo>
                    <a:pt x="822" y="306"/>
                  </a:lnTo>
                  <a:lnTo>
                    <a:pt x="822" y="310"/>
                  </a:lnTo>
                  <a:lnTo>
                    <a:pt x="820" y="314"/>
                  </a:lnTo>
                  <a:lnTo>
                    <a:pt x="818" y="318"/>
                  </a:lnTo>
                  <a:lnTo>
                    <a:pt x="816" y="326"/>
                  </a:lnTo>
                  <a:lnTo>
                    <a:pt x="812" y="334"/>
                  </a:lnTo>
                  <a:lnTo>
                    <a:pt x="810" y="338"/>
                  </a:lnTo>
                  <a:lnTo>
                    <a:pt x="810" y="342"/>
                  </a:lnTo>
                  <a:lnTo>
                    <a:pt x="808" y="350"/>
                  </a:lnTo>
                  <a:lnTo>
                    <a:pt x="806" y="358"/>
                  </a:lnTo>
                  <a:lnTo>
                    <a:pt x="802" y="364"/>
                  </a:lnTo>
                  <a:lnTo>
                    <a:pt x="802" y="368"/>
                  </a:lnTo>
                  <a:lnTo>
                    <a:pt x="800" y="370"/>
                  </a:lnTo>
                  <a:lnTo>
                    <a:pt x="798" y="374"/>
                  </a:lnTo>
                  <a:lnTo>
                    <a:pt x="796" y="376"/>
                  </a:lnTo>
                  <a:lnTo>
                    <a:pt x="794" y="380"/>
                  </a:lnTo>
                  <a:lnTo>
                    <a:pt x="792" y="382"/>
                  </a:lnTo>
                  <a:lnTo>
                    <a:pt x="790" y="384"/>
                  </a:lnTo>
                  <a:lnTo>
                    <a:pt x="788" y="386"/>
                  </a:lnTo>
                  <a:lnTo>
                    <a:pt x="788" y="386"/>
                  </a:lnTo>
                  <a:lnTo>
                    <a:pt x="788" y="386"/>
                  </a:lnTo>
                  <a:lnTo>
                    <a:pt x="788" y="384"/>
                  </a:lnTo>
                  <a:lnTo>
                    <a:pt x="786" y="382"/>
                  </a:lnTo>
                  <a:lnTo>
                    <a:pt x="784" y="378"/>
                  </a:lnTo>
                  <a:lnTo>
                    <a:pt x="784" y="374"/>
                  </a:lnTo>
                  <a:lnTo>
                    <a:pt x="782" y="366"/>
                  </a:lnTo>
                  <a:lnTo>
                    <a:pt x="780" y="360"/>
                  </a:lnTo>
                  <a:lnTo>
                    <a:pt x="780" y="356"/>
                  </a:lnTo>
                  <a:lnTo>
                    <a:pt x="780" y="354"/>
                  </a:lnTo>
                  <a:lnTo>
                    <a:pt x="780" y="354"/>
                  </a:lnTo>
                  <a:lnTo>
                    <a:pt x="782" y="350"/>
                  </a:lnTo>
                  <a:lnTo>
                    <a:pt x="782" y="348"/>
                  </a:lnTo>
                  <a:lnTo>
                    <a:pt x="784" y="344"/>
                  </a:lnTo>
                  <a:lnTo>
                    <a:pt x="784" y="340"/>
                  </a:lnTo>
                  <a:lnTo>
                    <a:pt x="786" y="338"/>
                  </a:lnTo>
                  <a:lnTo>
                    <a:pt x="786" y="334"/>
                  </a:lnTo>
                  <a:lnTo>
                    <a:pt x="786" y="334"/>
                  </a:lnTo>
                  <a:lnTo>
                    <a:pt x="786" y="332"/>
                  </a:lnTo>
                  <a:lnTo>
                    <a:pt x="786" y="330"/>
                  </a:lnTo>
                  <a:lnTo>
                    <a:pt x="786" y="330"/>
                  </a:lnTo>
                  <a:lnTo>
                    <a:pt x="786" y="328"/>
                  </a:lnTo>
                  <a:lnTo>
                    <a:pt x="786" y="326"/>
                  </a:lnTo>
                  <a:lnTo>
                    <a:pt x="784" y="322"/>
                  </a:lnTo>
                  <a:lnTo>
                    <a:pt x="782" y="316"/>
                  </a:lnTo>
                  <a:lnTo>
                    <a:pt x="780" y="312"/>
                  </a:lnTo>
                  <a:lnTo>
                    <a:pt x="776" y="308"/>
                  </a:lnTo>
                  <a:lnTo>
                    <a:pt x="774" y="306"/>
                  </a:lnTo>
                  <a:lnTo>
                    <a:pt x="774" y="306"/>
                  </a:lnTo>
                  <a:lnTo>
                    <a:pt x="774" y="306"/>
                  </a:lnTo>
                  <a:lnTo>
                    <a:pt x="772" y="304"/>
                  </a:lnTo>
                  <a:lnTo>
                    <a:pt x="772" y="304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68" y="302"/>
                  </a:lnTo>
                  <a:lnTo>
                    <a:pt x="768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4" y="302"/>
                  </a:lnTo>
                  <a:lnTo>
                    <a:pt x="764" y="304"/>
                  </a:lnTo>
                  <a:lnTo>
                    <a:pt x="762" y="304"/>
                  </a:lnTo>
                  <a:lnTo>
                    <a:pt x="762" y="304"/>
                  </a:lnTo>
                  <a:lnTo>
                    <a:pt x="762" y="306"/>
                  </a:lnTo>
                  <a:lnTo>
                    <a:pt x="762" y="306"/>
                  </a:lnTo>
                  <a:lnTo>
                    <a:pt x="760" y="310"/>
                  </a:lnTo>
                  <a:lnTo>
                    <a:pt x="758" y="316"/>
                  </a:lnTo>
                  <a:lnTo>
                    <a:pt x="756" y="320"/>
                  </a:lnTo>
                  <a:lnTo>
                    <a:pt x="754" y="324"/>
                  </a:lnTo>
                  <a:lnTo>
                    <a:pt x="752" y="328"/>
                  </a:lnTo>
                  <a:lnTo>
                    <a:pt x="750" y="330"/>
                  </a:lnTo>
                  <a:lnTo>
                    <a:pt x="750" y="330"/>
                  </a:lnTo>
                  <a:lnTo>
                    <a:pt x="748" y="336"/>
                  </a:lnTo>
                  <a:lnTo>
                    <a:pt x="746" y="340"/>
                  </a:lnTo>
                  <a:lnTo>
                    <a:pt x="746" y="336"/>
                  </a:lnTo>
                  <a:lnTo>
                    <a:pt x="746" y="330"/>
                  </a:lnTo>
                  <a:lnTo>
                    <a:pt x="744" y="326"/>
                  </a:lnTo>
                  <a:lnTo>
                    <a:pt x="744" y="320"/>
                  </a:lnTo>
                  <a:lnTo>
                    <a:pt x="742" y="316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38" y="308"/>
                  </a:lnTo>
                  <a:lnTo>
                    <a:pt x="738" y="308"/>
                  </a:lnTo>
                  <a:lnTo>
                    <a:pt x="738" y="308"/>
                  </a:lnTo>
                  <a:lnTo>
                    <a:pt x="736" y="304"/>
                  </a:lnTo>
                  <a:lnTo>
                    <a:pt x="736" y="304"/>
                  </a:lnTo>
                  <a:lnTo>
                    <a:pt x="736" y="304"/>
                  </a:lnTo>
                  <a:lnTo>
                    <a:pt x="730" y="300"/>
                  </a:lnTo>
                  <a:lnTo>
                    <a:pt x="724" y="296"/>
                  </a:lnTo>
                  <a:lnTo>
                    <a:pt x="720" y="294"/>
                  </a:lnTo>
                  <a:lnTo>
                    <a:pt x="720" y="292"/>
                  </a:lnTo>
                  <a:lnTo>
                    <a:pt x="718" y="292"/>
                  </a:lnTo>
                  <a:lnTo>
                    <a:pt x="714" y="290"/>
                  </a:lnTo>
                  <a:lnTo>
                    <a:pt x="712" y="288"/>
                  </a:lnTo>
                  <a:lnTo>
                    <a:pt x="710" y="286"/>
                  </a:lnTo>
                  <a:lnTo>
                    <a:pt x="710" y="286"/>
                  </a:lnTo>
                  <a:lnTo>
                    <a:pt x="710" y="284"/>
                  </a:lnTo>
                  <a:lnTo>
                    <a:pt x="710" y="284"/>
                  </a:lnTo>
                  <a:lnTo>
                    <a:pt x="710" y="280"/>
                  </a:lnTo>
                  <a:lnTo>
                    <a:pt x="710" y="276"/>
                  </a:lnTo>
                  <a:lnTo>
                    <a:pt x="712" y="272"/>
                  </a:lnTo>
                  <a:lnTo>
                    <a:pt x="714" y="266"/>
                  </a:lnTo>
                  <a:lnTo>
                    <a:pt x="716" y="262"/>
                  </a:lnTo>
                  <a:lnTo>
                    <a:pt x="718" y="256"/>
                  </a:lnTo>
                  <a:lnTo>
                    <a:pt x="720" y="252"/>
                  </a:lnTo>
                  <a:lnTo>
                    <a:pt x="720" y="246"/>
                  </a:lnTo>
                  <a:lnTo>
                    <a:pt x="720" y="238"/>
                  </a:lnTo>
                  <a:lnTo>
                    <a:pt x="720" y="234"/>
                  </a:lnTo>
                  <a:lnTo>
                    <a:pt x="720" y="230"/>
                  </a:lnTo>
                  <a:lnTo>
                    <a:pt x="720" y="226"/>
                  </a:lnTo>
                  <a:lnTo>
                    <a:pt x="718" y="222"/>
                  </a:lnTo>
                  <a:lnTo>
                    <a:pt x="716" y="220"/>
                  </a:lnTo>
                  <a:lnTo>
                    <a:pt x="716" y="220"/>
                  </a:lnTo>
                  <a:lnTo>
                    <a:pt x="716" y="218"/>
                  </a:lnTo>
                  <a:lnTo>
                    <a:pt x="714" y="216"/>
                  </a:lnTo>
                  <a:lnTo>
                    <a:pt x="710" y="212"/>
                  </a:lnTo>
                  <a:lnTo>
                    <a:pt x="706" y="208"/>
                  </a:lnTo>
                  <a:lnTo>
                    <a:pt x="700" y="204"/>
                  </a:lnTo>
                  <a:lnTo>
                    <a:pt x="696" y="200"/>
                  </a:lnTo>
                  <a:lnTo>
                    <a:pt x="690" y="196"/>
                  </a:lnTo>
                  <a:lnTo>
                    <a:pt x="684" y="194"/>
                  </a:lnTo>
                  <a:lnTo>
                    <a:pt x="680" y="192"/>
                  </a:lnTo>
                  <a:lnTo>
                    <a:pt x="680" y="192"/>
                  </a:lnTo>
                  <a:lnTo>
                    <a:pt x="680" y="192"/>
                  </a:lnTo>
                  <a:lnTo>
                    <a:pt x="676" y="190"/>
                  </a:lnTo>
                  <a:lnTo>
                    <a:pt x="676" y="190"/>
                  </a:lnTo>
                  <a:lnTo>
                    <a:pt x="676" y="190"/>
                  </a:lnTo>
                  <a:lnTo>
                    <a:pt x="672" y="190"/>
                  </a:lnTo>
                  <a:lnTo>
                    <a:pt x="672" y="190"/>
                  </a:lnTo>
                  <a:lnTo>
                    <a:pt x="672" y="190"/>
                  </a:lnTo>
                  <a:lnTo>
                    <a:pt x="670" y="192"/>
                  </a:lnTo>
                  <a:lnTo>
                    <a:pt x="670" y="192"/>
                  </a:lnTo>
                  <a:lnTo>
                    <a:pt x="668" y="192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6" y="194"/>
                  </a:lnTo>
                  <a:lnTo>
                    <a:pt x="664" y="196"/>
                  </a:lnTo>
                  <a:lnTo>
                    <a:pt x="664" y="196"/>
                  </a:lnTo>
                  <a:lnTo>
                    <a:pt x="664" y="196"/>
                  </a:lnTo>
                  <a:lnTo>
                    <a:pt x="662" y="198"/>
                  </a:lnTo>
                  <a:lnTo>
                    <a:pt x="660" y="202"/>
                  </a:lnTo>
                  <a:lnTo>
                    <a:pt x="658" y="208"/>
                  </a:lnTo>
                  <a:lnTo>
                    <a:pt x="658" y="212"/>
                  </a:lnTo>
                  <a:lnTo>
                    <a:pt x="656" y="216"/>
                  </a:lnTo>
                  <a:lnTo>
                    <a:pt x="656" y="224"/>
                  </a:lnTo>
                  <a:lnTo>
                    <a:pt x="654" y="232"/>
                  </a:lnTo>
                  <a:lnTo>
                    <a:pt x="654" y="236"/>
                  </a:lnTo>
                  <a:lnTo>
                    <a:pt x="654" y="240"/>
                  </a:lnTo>
                  <a:lnTo>
                    <a:pt x="654" y="248"/>
                  </a:lnTo>
                  <a:lnTo>
                    <a:pt x="656" y="256"/>
                  </a:lnTo>
                  <a:lnTo>
                    <a:pt x="656" y="264"/>
                  </a:lnTo>
                  <a:lnTo>
                    <a:pt x="658" y="266"/>
                  </a:lnTo>
                  <a:lnTo>
                    <a:pt x="658" y="270"/>
                  </a:lnTo>
                  <a:lnTo>
                    <a:pt x="658" y="270"/>
                  </a:lnTo>
                  <a:lnTo>
                    <a:pt x="658" y="270"/>
                  </a:lnTo>
                  <a:lnTo>
                    <a:pt x="660" y="272"/>
                  </a:lnTo>
                  <a:lnTo>
                    <a:pt x="660" y="272"/>
                  </a:lnTo>
                  <a:lnTo>
                    <a:pt x="660" y="274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6" y="278"/>
                  </a:lnTo>
                  <a:lnTo>
                    <a:pt x="672" y="282"/>
                  </a:lnTo>
                  <a:lnTo>
                    <a:pt x="676" y="286"/>
                  </a:lnTo>
                  <a:lnTo>
                    <a:pt x="680" y="288"/>
                  </a:lnTo>
                  <a:lnTo>
                    <a:pt x="684" y="290"/>
                  </a:lnTo>
                  <a:lnTo>
                    <a:pt x="690" y="294"/>
                  </a:lnTo>
                  <a:lnTo>
                    <a:pt x="694" y="296"/>
                  </a:lnTo>
                  <a:lnTo>
                    <a:pt x="696" y="298"/>
                  </a:lnTo>
                  <a:lnTo>
                    <a:pt x="698" y="300"/>
                  </a:lnTo>
                  <a:lnTo>
                    <a:pt x="700" y="302"/>
                  </a:lnTo>
                  <a:lnTo>
                    <a:pt x="700" y="306"/>
                  </a:lnTo>
                  <a:lnTo>
                    <a:pt x="700" y="306"/>
                  </a:lnTo>
                  <a:lnTo>
                    <a:pt x="700" y="308"/>
                  </a:lnTo>
                  <a:lnTo>
                    <a:pt x="700" y="312"/>
                  </a:lnTo>
                  <a:lnTo>
                    <a:pt x="700" y="316"/>
                  </a:lnTo>
                  <a:lnTo>
                    <a:pt x="700" y="322"/>
                  </a:lnTo>
                  <a:lnTo>
                    <a:pt x="698" y="326"/>
                  </a:lnTo>
                  <a:lnTo>
                    <a:pt x="696" y="328"/>
                  </a:lnTo>
                  <a:lnTo>
                    <a:pt x="696" y="332"/>
                  </a:lnTo>
                  <a:lnTo>
                    <a:pt x="692" y="334"/>
                  </a:lnTo>
                  <a:lnTo>
                    <a:pt x="690" y="338"/>
                  </a:lnTo>
                  <a:lnTo>
                    <a:pt x="686" y="340"/>
                  </a:lnTo>
                  <a:lnTo>
                    <a:pt x="684" y="344"/>
                  </a:lnTo>
                  <a:lnTo>
                    <a:pt x="680" y="346"/>
                  </a:lnTo>
                  <a:lnTo>
                    <a:pt x="676" y="348"/>
                  </a:lnTo>
                  <a:lnTo>
                    <a:pt x="674" y="352"/>
                  </a:lnTo>
                  <a:lnTo>
                    <a:pt x="672" y="354"/>
                  </a:lnTo>
                  <a:lnTo>
                    <a:pt x="672" y="356"/>
                  </a:lnTo>
                  <a:lnTo>
                    <a:pt x="672" y="356"/>
                  </a:lnTo>
                  <a:lnTo>
                    <a:pt x="672" y="356"/>
                  </a:lnTo>
                  <a:lnTo>
                    <a:pt x="670" y="358"/>
                  </a:lnTo>
                  <a:lnTo>
                    <a:pt x="670" y="358"/>
                  </a:lnTo>
                  <a:lnTo>
                    <a:pt x="670" y="358"/>
                  </a:lnTo>
                  <a:lnTo>
                    <a:pt x="670" y="360"/>
                  </a:lnTo>
                  <a:lnTo>
                    <a:pt x="670" y="362"/>
                  </a:lnTo>
                  <a:lnTo>
                    <a:pt x="670" y="364"/>
                  </a:lnTo>
                  <a:lnTo>
                    <a:pt x="670" y="364"/>
                  </a:lnTo>
                  <a:lnTo>
                    <a:pt x="670" y="368"/>
                  </a:lnTo>
                  <a:lnTo>
                    <a:pt x="670" y="370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68" y="380"/>
                  </a:lnTo>
                  <a:lnTo>
                    <a:pt x="666" y="380"/>
                  </a:lnTo>
                  <a:lnTo>
                    <a:pt x="664" y="380"/>
                  </a:lnTo>
                  <a:lnTo>
                    <a:pt x="664" y="378"/>
                  </a:lnTo>
                  <a:lnTo>
                    <a:pt x="662" y="378"/>
                  </a:lnTo>
                  <a:lnTo>
                    <a:pt x="662" y="376"/>
                  </a:lnTo>
                  <a:lnTo>
                    <a:pt x="662" y="376"/>
                  </a:lnTo>
                  <a:lnTo>
                    <a:pt x="662" y="374"/>
                  </a:lnTo>
                  <a:lnTo>
                    <a:pt x="662" y="370"/>
                  </a:lnTo>
                  <a:lnTo>
                    <a:pt x="662" y="368"/>
                  </a:lnTo>
                  <a:lnTo>
                    <a:pt x="662" y="364"/>
                  </a:lnTo>
                  <a:lnTo>
                    <a:pt x="662" y="360"/>
                  </a:lnTo>
                  <a:lnTo>
                    <a:pt x="662" y="356"/>
                  </a:lnTo>
                  <a:lnTo>
                    <a:pt x="662" y="356"/>
                  </a:lnTo>
                  <a:lnTo>
                    <a:pt x="662" y="356"/>
                  </a:lnTo>
                  <a:lnTo>
                    <a:pt x="662" y="354"/>
                  </a:lnTo>
                  <a:lnTo>
                    <a:pt x="662" y="354"/>
                  </a:lnTo>
                  <a:lnTo>
                    <a:pt x="662" y="352"/>
                  </a:lnTo>
                  <a:lnTo>
                    <a:pt x="660" y="350"/>
                  </a:lnTo>
                  <a:lnTo>
                    <a:pt x="658" y="346"/>
                  </a:lnTo>
                  <a:lnTo>
                    <a:pt x="656" y="344"/>
                  </a:lnTo>
                  <a:lnTo>
                    <a:pt x="652" y="340"/>
                  </a:lnTo>
                  <a:lnTo>
                    <a:pt x="650" y="338"/>
                  </a:lnTo>
                  <a:lnTo>
                    <a:pt x="648" y="334"/>
                  </a:lnTo>
                  <a:lnTo>
                    <a:pt x="644" y="332"/>
                  </a:lnTo>
                  <a:lnTo>
                    <a:pt x="642" y="332"/>
                  </a:lnTo>
                  <a:lnTo>
                    <a:pt x="642" y="332"/>
                  </a:lnTo>
                  <a:lnTo>
                    <a:pt x="640" y="330"/>
                  </a:lnTo>
                  <a:lnTo>
                    <a:pt x="636" y="330"/>
                  </a:lnTo>
                  <a:lnTo>
                    <a:pt x="636" y="330"/>
                  </a:lnTo>
                  <a:lnTo>
                    <a:pt x="636" y="328"/>
                  </a:lnTo>
                  <a:lnTo>
                    <a:pt x="632" y="328"/>
                  </a:lnTo>
                  <a:lnTo>
                    <a:pt x="630" y="328"/>
                  </a:lnTo>
                  <a:lnTo>
                    <a:pt x="630" y="328"/>
                  </a:lnTo>
                  <a:lnTo>
                    <a:pt x="630" y="328"/>
                  </a:lnTo>
                  <a:lnTo>
                    <a:pt x="628" y="330"/>
                  </a:lnTo>
                  <a:lnTo>
                    <a:pt x="628" y="330"/>
                  </a:lnTo>
                  <a:lnTo>
                    <a:pt x="626" y="330"/>
                  </a:lnTo>
                  <a:lnTo>
                    <a:pt x="624" y="330"/>
                  </a:lnTo>
                  <a:lnTo>
                    <a:pt x="624" y="330"/>
                  </a:lnTo>
                  <a:lnTo>
                    <a:pt x="624" y="330"/>
                  </a:lnTo>
                  <a:lnTo>
                    <a:pt x="622" y="332"/>
                  </a:lnTo>
                  <a:lnTo>
                    <a:pt x="622" y="332"/>
                  </a:lnTo>
                  <a:lnTo>
                    <a:pt x="622" y="332"/>
                  </a:lnTo>
                  <a:lnTo>
                    <a:pt x="620" y="334"/>
                  </a:lnTo>
                  <a:lnTo>
                    <a:pt x="620" y="334"/>
                  </a:lnTo>
                  <a:lnTo>
                    <a:pt x="620" y="336"/>
                  </a:lnTo>
                  <a:lnTo>
                    <a:pt x="620" y="338"/>
                  </a:lnTo>
                  <a:lnTo>
                    <a:pt x="620" y="338"/>
                  </a:lnTo>
                  <a:lnTo>
                    <a:pt x="620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4" y="350"/>
                  </a:lnTo>
                  <a:lnTo>
                    <a:pt x="626" y="354"/>
                  </a:lnTo>
                  <a:lnTo>
                    <a:pt x="626" y="358"/>
                  </a:lnTo>
                  <a:lnTo>
                    <a:pt x="626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2"/>
                  </a:lnTo>
                  <a:lnTo>
                    <a:pt x="624" y="362"/>
                  </a:lnTo>
                  <a:lnTo>
                    <a:pt x="622" y="362"/>
                  </a:lnTo>
                  <a:lnTo>
                    <a:pt x="618" y="362"/>
                  </a:lnTo>
                  <a:lnTo>
                    <a:pt x="612" y="364"/>
                  </a:lnTo>
                  <a:lnTo>
                    <a:pt x="606" y="364"/>
                  </a:lnTo>
                  <a:lnTo>
                    <a:pt x="600" y="362"/>
                  </a:lnTo>
                  <a:lnTo>
                    <a:pt x="594" y="362"/>
                  </a:lnTo>
                  <a:lnTo>
                    <a:pt x="588" y="362"/>
                  </a:lnTo>
                  <a:lnTo>
                    <a:pt x="584" y="362"/>
                  </a:lnTo>
                  <a:lnTo>
                    <a:pt x="576" y="362"/>
                  </a:lnTo>
                  <a:lnTo>
                    <a:pt x="568" y="362"/>
                  </a:lnTo>
                  <a:lnTo>
                    <a:pt x="562" y="360"/>
                  </a:lnTo>
                  <a:lnTo>
                    <a:pt x="556" y="358"/>
                  </a:lnTo>
                  <a:lnTo>
                    <a:pt x="554" y="356"/>
                  </a:lnTo>
                  <a:lnTo>
                    <a:pt x="552" y="354"/>
                  </a:lnTo>
                  <a:lnTo>
                    <a:pt x="548" y="350"/>
                  </a:lnTo>
                  <a:lnTo>
                    <a:pt x="544" y="344"/>
                  </a:lnTo>
                  <a:lnTo>
                    <a:pt x="542" y="342"/>
                  </a:lnTo>
                  <a:lnTo>
                    <a:pt x="540" y="340"/>
                  </a:lnTo>
                  <a:lnTo>
                    <a:pt x="536" y="338"/>
                  </a:lnTo>
                  <a:lnTo>
                    <a:pt x="536" y="338"/>
                  </a:lnTo>
                  <a:lnTo>
                    <a:pt x="536" y="338"/>
                  </a:lnTo>
                  <a:lnTo>
                    <a:pt x="532" y="336"/>
                  </a:lnTo>
                  <a:lnTo>
                    <a:pt x="532" y="336"/>
                  </a:lnTo>
                  <a:lnTo>
                    <a:pt x="532" y="336"/>
                  </a:lnTo>
                  <a:lnTo>
                    <a:pt x="528" y="336"/>
                  </a:lnTo>
                  <a:lnTo>
                    <a:pt x="528" y="336"/>
                  </a:lnTo>
                  <a:lnTo>
                    <a:pt x="528" y="336"/>
                  </a:lnTo>
                  <a:lnTo>
                    <a:pt x="524" y="336"/>
                  </a:lnTo>
                  <a:lnTo>
                    <a:pt x="522" y="336"/>
                  </a:lnTo>
                  <a:lnTo>
                    <a:pt x="518" y="336"/>
                  </a:lnTo>
                  <a:lnTo>
                    <a:pt x="514" y="336"/>
                  </a:lnTo>
                  <a:lnTo>
                    <a:pt x="510" y="338"/>
                  </a:lnTo>
                  <a:lnTo>
                    <a:pt x="506" y="338"/>
                  </a:lnTo>
                  <a:lnTo>
                    <a:pt x="500" y="340"/>
                  </a:lnTo>
                  <a:lnTo>
                    <a:pt x="500" y="340"/>
                  </a:lnTo>
                  <a:lnTo>
                    <a:pt x="500" y="340"/>
                  </a:lnTo>
                  <a:lnTo>
                    <a:pt x="496" y="342"/>
                  </a:lnTo>
                  <a:lnTo>
                    <a:pt x="496" y="342"/>
                  </a:lnTo>
                  <a:lnTo>
                    <a:pt x="496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90" y="348"/>
                  </a:lnTo>
                  <a:lnTo>
                    <a:pt x="490" y="348"/>
                  </a:lnTo>
                  <a:lnTo>
                    <a:pt x="488" y="350"/>
                  </a:lnTo>
                  <a:lnTo>
                    <a:pt x="488" y="352"/>
                  </a:lnTo>
                  <a:lnTo>
                    <a:pt x="488" y="352"/>
                  </a:lnTo>
                  <a:lnTo>
                    <a:pt x="488" y="352"/>
                  </a:lnTo>
                  <a:lnTo>
                    <a:pt x="488" y="354"/>
                  </a:lnTo>
                  <a:lnTo>
                    <a:pt x="488" y="354"/>
                  </a:lnTo>
                  <a:lnTo>
                    <a:pt x="488" y="354"/>
                  </a:lnTo>
                  <a:lnTo>
                    <a:pt x="488" y="360"/>
                  </a:lnTo>
                  <a:lnTo>
                    <a:pt x="490" y="368"/>
                  </a:lnTo>
                  <a:lnTo>
                    <a:pt x="492" y="374"/>
                  </a:lnTo>
                  <a:lnTo>
                    <a:pt x="494" y="380"/>
                  </a:lnTo>
                  <a:lnTo>
                    <a:pt x="496" y="388"/>
                  </a:lnTo>
                  <a:lnTo>
                    <a:pt x="498" y="392"/>
                  </a:lnTo>
                  <a:lnTo>
                    <a:pt x="498" y="398"/>
                  </a:lnTo>
                  <a:lnTo>
                    <a:pt x="498" y="406"/>
                  </a:lnTo>
                  <a:lnTo>
                    <a:pt x="498" y="410"/>
                  </a:lnTo>
                  <a:lnTo>
                    <a:pt x="498" y="412"/>
                  </a:lnTo>
                  <a:lnTo>
                    <a:pt x="498" y="414"/>
                  </a:lnTo>
                  <a:lnTo>
                    <a:pt x="498" y="414"/>
                  </a:lnTo>
                  <a:lnTo>
                    <a:pt x="496" y="412"/>
                  </a:lnTo>
                  <a:lnTo>
                    <a:pt x="496" y="410"/>
                  </a:lnTo>
                  <a:lnTo>
                    <a:pt x="492" y="404"/>
                  </a:lnTo>
                  <a:lnTo>
                    <a:pt x="488" y="398"/>
                  </a:lnTo>
                  <a:lnTo>
                    <a:pt x="484" y="392"/>
                  </a:lnTo>
                  <a:lnTo>
                    <a:pt x="480" y="384"/>
                  </a:lnTo>
                  <a:lnTo>
                    <a:pt x="478" y="382"/>
                  </a:lnTo>
                  <a:lnTo>
                    <a:pt x="476" y="380"/>
                  </a:lnTo>
                  <a:lnTo>
                    <a:pt x="474" y="378"/>
                  </a:lnTo>
                  <a:lnTo>
                    <a:pt x="474" y="376"/>
                  </a:lnTo>
                  <a:lnTo>
                    <a:pt x="472" y="372"/>
                  </a:lnTo>
                  <a:lnTo>
                    <a:pt x="470" y="370"/>
                  </a:lnTo>
                  <a:lnTo>
                    <a:pt x="468" y="368"/>
                  </a:lnTo>
                  <a:lnTo>
                    <a:pt x="468" y="368"/>
                  </a:lnTo>
                  <a:lnTo>
                    <a:pt x="468" y="368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4" y="366"/>
                  </a:lnTo>
                  <a:lnTo>
                    <a:pt x="464" y="364"/>
                  </a:lnTo>
                  <a:lnTo>
                    <a:pt x="462" y="364"/>
                  </a:lnTo>
                  <a:lnTo>
                    <a:pt x="462" y="364"/>
                  </a:lnTo>
                  <a:lnTo>
                    <a:pt x="456" y="362"/>
                  </a:lnTo>
                  <a:lnTo>
                    <a:pt x="452" y="362"/>
                  </a:lnTo>
                  <a:lnTo>
                    <a:pt x="446" y="360"/>
                  </a:lnTo>
                  <a:lnTo>
                    <a:pt x="440" y="360"/>
                  </a:lnTo>
                  <a:lnTo>
                    <a:pt x="436" y="360"/>
                  </a:lnTo>
                  <a:lnTo>
                    <a:pt x="432" y="362"/>
                  </a:lnTo>
                  <a:lnTo>
                    <a:pt x="424" y="364"/>
                  </a:lnTo>
                  <a:lnTo>
                    <a:pt x="420" y="364"/>
                  </a:lnTo>
                  <a:lnTo>
                    <a:pt x="418" y="366"/>
                  </a:lnTo>
                  <a:lnTo>
                    <a:pt x="414" y="366"/>
                  </a:lnTo>
                  <a:lnTo>
                    <a:pt x="414" y="366"/>
                  </a:lnTo>
                  <a:lnTo>
                    <a:pt x="410" y="366"/>
                  </a:lnTo>
                  <a:lnTo>
                    <a:pt x="406" y="366"/>
                  </a:lnTo>
                  <a:lnTo>
                    <a:pt x="400" y="366"/>
                  </a:lnTo>
                  <a:lnTo>
                    <a:pt x="394" y="364"/>
                  </a:lnTo>
                  <a:lnTo>
                    <a:pt x="390" y="362"/>
                  </a:lnTo>
                  <a:lnTo>
                    <a:pt x="384" y="362"/>
                  </a:lnTo>
                  <a:lnTo>
                    <a:pt x="380" y="360"/>
                  </a:lnTo>
                  <a:lnTo>
                    <a:pt x="378" y="360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6"/>
                  </a:lnTo>
                  <a:lnTo>
                    <a:pt x="378" y="354"/>
                  </a:lnTo>
                  <a:lnTo>
                    <a:pt x="378" y="354"/>
                  </a:lnTo>
                  <a:lnTo>
                    <a:pt x="380" y="352"/>
                  </a:lnTo>
                  <a:lnTo>
                    <a:pt x="382" y="348"/>
                  </a:lnTo>
                  <a:lnTo>
                    <a:pt x="386" y="346"/>
                  </a:lnTo>
                  <a:lnTo>
                    <a:pt x="388" y="344"/>
                  </a:lnTo>
                  <a:lnTo>
                    <a:pt x="390" y="342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400" y="338"/>
                  </a:lnTo>
                  <a:lnTo>
                    <a:pt x="402" y="336"/>
                  </a:lnTo>
                  <a:lnTo>
                    <a:pt x="402" y="338"/>
                  </a:lnTo>
                  <a:lnTo>
                    <a:pt x="402" y="338"/>
                  </a:lnTo>
                  <a:lnTo>
                    <a:pt x="400" y="338"/>
                  </a:lnTo>
                  <a:lnTo>
                    <a:pt x="398" y="340"/>
                  </a:lnTo>
                  <a:lnTo>
                    <a:pt x="394" y="342"/>
                  </a:lnTo>
                  <a:lnTo>
                    <a:pt x="394" y="342"/>
                  </a:lnTo>
                  <a:lnTo>
                    <a:pt x="394" y="344"/>
                  </a:lnTo>
                  <a:lnTo>
                    <a:pt x="394" y="346"/>
                  </a:lnTo>
                  <a:lnTo>
                    <a:pt x="394" y="346"/>
                  </a:lnTo>
                  <a:lnTo>
                    <a:pt x="394" y="348"/>
                  </a:lnTo>
                  <a:lnTo>
                    <a:pt x="396" y="348"/>
                  </a:lnTo>
                  <a:lnTo>
                    <a:pt x="396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400" y="348"/>
                  </a:lnTo>
                  <a:lnTo>
                    <a:pt x="402" y="348"/>
                  </a:lnTo>
                  <a:lnTo>
                    <a:pt x="404" y="350"/>
                  </a:lnTo>
                  <a:lnTo>
                    <a:pt x="406" y="352"/>
                  </a:lnTo>
                  <a:lnTo>
                    <a:pt x="408" y="354"/>
                  </a:lnTo>
                  <a:lnTo>
                    <a:pt x="410" y="354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4" y="356"/>
                  </a:lnTo>
                  <a:lnTo>
                    <a:pt x="414" y="356"/>
                  </a:lnTo>
                  <a:lnTo>
                    <a:pt x="414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8" y="354"/>
                  </a:lnTo>
                  <a:lnTo>
                    <a:pt x="418" y="352"/>
                  </a:lnTo>
                  <a:lnTo>
                    <a:pt x="420" y="352"/>
                  </a:lnTo>
                  <a:lnTo>
                    <a:pt x="420" y="352"/>
                  </a:lnTo>
                  <a:lnTo>
                    <a:pt x="420" y="352"/>
                  </a:lnTo>
                  <a:lnTo>
                    <a:pt x="420" y="348"/>
                  </a:lnTo>
                  <a:lnTo>
                    <a:pt x="420" y="348"/>
                  </a:lnTo>
                  <a:lnTo>
                    <a:pt x="420" y="348"/>
                  </a:lnTo>
                  <a:lnTo>
                    <a:pt x="418" y="346"/>
                  </a:lnTo>
                  <a:lnTo>
                    <a:pt x="418" y="346"/>
                  </a:lnTo>
                  <a:lnTo>
                    <a:pt x="420" y="344"/>
                  </a:lnTo>
                  <a:lnTo>
                    <a:pt x="420" y="346"/>
                  </a:lnTo>
                  <a:lnTo>
                    <a:pt x="424" y="348"/>
                  </a:lnTo>
                  <a:lnTo>
                    <a:pt x="424" y="348"/>
                  </a:lnTo>
                  <a:lnTo>
                    <a:pt x="424" y="348"/>
                  </a:lnTo>
                  <a:lnTo>
                    <a:pt x="428" y="348"/>
                  </a:lnTo>
                  <a:lnTo>
                    <a:pt x="430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38" y="346"/>
                  </a:lnTo>
                  <a:lnTo>
                    <a:pt x="440" y="346"/>
                  </a:lnTo>
                  <a:lnTo>
                    <a:pt x="442" y="344"/>
                  </a:lnTo>
                  <a:lnTo>
                    <a:pt x="442" y="344"/>
                  </a:lnTo>
                  <a:lnTo>
                    <a:pt x="442" y="344"/>
                  </a:lnTo>
                  <a:lnTo>
                    <a:pt x="444" y="344"/>
                  </a:lnTo>
                  <a:lnTo>
                    <a:pt x="444" y="342"/>
                  </a:lnTo>
                  <a:lnTo>
                    <a:pt x="444" y="342"/>
                  </a:lnTo>
                  <a:lnTo>
                    <a:pt x="446" y="342"/>
                  </a:lnTo>
                  <a:lnTo>
                    <a:pt x="444" y="342"/>
                  </a:lnTo>
                  <a:lnTo>
                    <a:pt x="446" y="342"/>
                  </a:lnTo>
                  <a:lnTo>
                    <a:pt x="448" y="340"/>
                  </a:lnTo>
                  <a:lnTo>
                    <a:pt x="450" y="340"/>
                  </a:lnTo>
                  <a:lnTo>
                    <a:pt x="452" y="340"/>
                  </a:lnTo>
                  <a:lnTo>
                    <a:pt x="454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38"/>
                  </a:lnTo>
                  <a:lnTo>
                    <a:pt x="458" y="338"/>
                  </a:lnTo>
                  <a:lnTo>
                    <a:pt x="460" y="338"/>
                  </a:lnTo>
                  <a:lnTo>
                    <a:pt x="460" y="338"/>
                  </a:lnTo>
                  <a:lnTo>
                    <a:pt x="468" y="336"/>
                  </a:lnTo>
                  <a:lnTo>
                    <a:pt x="470" y="334"/>
                  </a:lnTo>
                  <a:lnTo>
                    <a:pt x="474" y="334"/>
                  </a:lnTo>
                  <a:lnTo>
                    <a:pt x="474" y="334"/>
                  </a:lnTo>
                  <a:lnTo>
                    <a:pt x="476" y="332"/>
                  </a:lnTo>
                  <a:lnTo>
                    <a:pt x="478" y="328"/>
                  </a:lnTo>
                  <a:lnTo>
                    <a:pt x="482" y="326"/>
                  </a:lnTo>
                  <a:lnTo>
                    <a:pt x="484" y="324"/>
                  </a:lnTo>
                  <a:lnTo>
                    <a:pt x="484" y="324"/>
                  </a:lnTo>
                  <a:lnTo>
                    <a:pt x="486" y="322"/>
                  </a:lnTo>
                  <a:lnTo>
                    <a:pt x="488" y="322"/>
                  </a:lnTo>
                  <a:lnTo>
                    <a:pt x="490" y="322"/>
                  </a:lnTo>
                  <a:lnTo>
                    <a:pt x="496" y="322"/>
                  </a:lnTo>
                  <a:lnTo>
                    <a:pt x="498" y="320"/>
                  </a:lnTo>
                  <a:lnTo>
                    <a:pt x="500" y="320"/>
                  </a:lnTo>
                  <a:lnTo>
                    <a:pt x="500" y="320"/>
                  </a:lnTo>
                  <a:lnTo>
                    <a:pt x="504" y="320"/>
                  </a:lnTo>
                  <a:lnTo>
                    <a:pt x="504" y="318"/>
                  </a:lnTo>
                  <a:lnTo>
                    <a:pt x="506" y="316"/>
                  </a:lnTo>
                  <a:lnTo>
                    <a:pt x="506" y="316"/>
                  </a:lnTo>
                  <a:lnTo>
                    <a:pt x="506" y="314"/>
                  </a:lnTo>
                  <a:lnTo>
                    <a:pt x="506" y="312"/>
                  </a:lnTo>
                  <a:lnTo>
                    <a:pt x="506" y="312"/>
                  </a:lnTo>
                  <a:lnTo>
                    <a:pt x="506" y="310"/>
                  </a:lnTo>
                  <a:lnTo>
                    <a:pt x="506" y="308"/>
                  </a:lnTo>
                  <a:lnTo>
                    <a:pt x="506" y="306"/>
                  </a:lnTo>
                  <a:lnTo>
                    <a:pt x="506" y="304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8" y="304"/>
                  </a:lnTo>
                  <a:lnTo>
                    <a:pt x="510" y="304"/>
                  </a:lnTo>
                  <a:lnTo>
                    <a:pt x="512" y="304"/>
                  </a:lnTo>
                  <a:lnTo>
                    <a:pt x="514" y="306"/>
                  </a:lnTo>
                  <a:lnTo>
                    <a:pt x="516" y="306"/>
                  </a:lnTo>
                  <a:lnTo>
                    <a:pt x="520" y="310"/>
                  </a:lnTo>
                  <a:lnTo>
                    <a:pt x="524" y="314"/>
                  </a:lnTo>
                  <a:lnTo>
                    <a:pt x="524" y="314"/>
                  </a:lnTo>
                  <a:lnTo>
                    <a:pt x="524" y="314"/>
                  </a:lnTo>
                  <a:lnTo>
                    <a:pt x="526" y="316"/>
                  </a:lnTo>
                  <a:lnTo>
                    <a:pt x="526" y="316"/>
                  </a:lnTo>
                  <a:lnTo>
                    <a:pt x="526" y="316"/>
                  </a:lnTo>
                  <a:lnTo>
                    <a:pt x="530" y="316"/>
                  </a:lnTo>
                  <a:lnTo>
                    <a:pt x="532" y="318"/>
                  </a:lnTo>
                  <a:lnTo>
                    <a:pt x="532" y="318"/>
                  </a:lnTo>
                  <a:lnTo>
                    <a:pt x="532" y="318"/>
                  </a:lnTo>
                  <a:lnTo>
                    <a:pt x="536" y="320"/>
                  </a:lnTo>
                  <a:lnTo>
                    <a:pt x="536" y="320"/>
                  </a:lnTo>
                  <a:lnTo>
                    <a:pt x="536" y="320"/>
                  </a:lnTo>
                  <a:lnTo>
                    <a:pt x="540" y="320"/>
                  </a:lnTo>
                  <a:lnTo>
                    <a:pt x="544" y="322"/>
                  </a:lnTo>
                  <a:lnTo>
                    <a:pt x="544" y="322"/>
                  </a:lnTo>
                  <a:lnTo>
                    <a:pt x="554" y="322"/>
                  </a:lnTo>
                  <a:lnTo>
                    <a:pt x="562" y="322"/>
                  </a:lnTo>
                  <a:lnTo>
                    <a:pt x="570" y="322"/>
                  </a:lnTo>
                  <a:lnTo>
                    <a:pt x="574" y="322"/>
                  </a:lnTo>
                  <a:lnTo>
                    <a:pt x="578" y="320"/>
                  </a:lnTo>
                  <a:lnTo>
                    <a:pt x="578" y="320"/>
                  </a:lnTo>
                  <a:lnTo>
                    <a:pt x="580" y="320"/>
                  </a:lnTo>
                  <a:lnTo>
                    <a:pt x="580" y="320"/>
                  </a:lnTo>
                  <a:lnTo>
                    <a:pt x="580" y="320"/>
                  </a:lnTo>
                  <a:lnTo>
                    <a:pt x="582" y="318"/>
                  </a:lnTo>
                  <a:lnTo>
                    <a:pt x="582" y="318"/>
                  </a:lnTo>
                  <a:lnTo>
                    <a:pt x="582" y="318"/>
                  </a:lnTo>
                  <a:lnTo>
                    <a:pt x="582" y="316"/>
                  </a:lnTo>
                  <a:lnTo>
                    <a:pt x="582" y="314"/>
                  </a:lnTo>
                  <a:lnTo>
                    <a:pt x="582" y="312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6" y="312"/>
                  </a:lnTo>
                  <a:lnTo>
                    <a:pt x="588" y="310"/>
                  </a:lnTo>
                  <a:lnTo>
                    <a:pt x="588" y="310"/>
                  </a:lnTo>
                  <a:lnTo>
                    <a:pt x="588" y="310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94" y="300"/>
                  </a:lnTo>
                  <a:lnTo>
                    <a:pt x="594" y="298"/>
                  </a:lnTo>
                  <a:lnTo>
                    <a:pt x="596" y="296"/>
                  </a:lnTo>
                  <a:lnTo>
                    <a:pt x="596" y="296"/>
                  </a:lnTo>
                  <a:lnTo>
                    <a:pt x="596" y="296"/>
                  </a:lnTo>
                  <a:lnTo>
                    <a:pt x="596" y="288"/>
                  </a:lnTo>
                  <a:lnTo>
                    <a:pt x="598" y="284"/>
                  </a:lnTo>
                  <a:lnTo>
                    <a:pt x="600" y="278"/>
                  </a:lnTo>
                  <a:lnTo>
                    <a:pt x="602" y="274"/>
                  </a:lnTo>
                  <a:lnTo>
                    <a:pt x="602" y="274"/>
                  </a:lnTo>
                  <a:lnTo>
                    <a:pt x="602" y="274"/>
                  </a:lnTo>
                  <a:lnTo>
                    <a:pt x="602" y="272"/>
                  </a:lnTo>
                  <a:lnTo>
                    <a:pt x="602" y="272"/>
                  </a:lnTo>
                  <a:lnTo>
                    <a:pt x="602" y="272"/>
                  </a:lnTo>
                  <a:lnTo>
                    <a:pt x="600" y="270"/>
                  </a:lnTo>
                  <a:lnTo>
                    <a:pt x="600" y="270"/>
                  </a:lnTo>
                  <a:lnTo>
                    <a:pt x="600" y="268"/>
                  </a:lnTo>
                  <a:lnTo>
                    <a:pt x="600" y="268"/>
                  </a:lnTo>
                  <a:lnTo>
                    <a:pt x="600" y="268"/>
                  </a:lnTo>
                  <a:lnTo>
                    <a:pt x="598" y="266"/>
                  </a:lnTo>
                  <a:lnTo>
                    <a:pt x="598" y="264"/>
                  </a:lnTo>
                  <a:lnTo>
                    <a:pt x="598" y="264"/>
                  </a:lnTo>
                  <a:lnTo>
                    <a:pt x="598" y="264"/>
                  </a:lnTo>
                  <a:lnTo>
                    <a:pt x="594" y="264"/>
                  </a:lnTo>
                  <a:lnTo>
                    <a:pt x="594" y="264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88" y="260"/>
                  </a:lnTo>
                  <a:lnTo>
                    <a:pt x="584" y="258"/>
                  </a:lnTo>
                  <a:lnTo>
                    <a:pt x="580" y="256"/>
                  </a:lnTo>
                  <a:lnTo>
                    <a:pt x="576" y="252"/>
                  </a:lnTo>
                  <a:lnTo>
                    <a:pt x="570" y="246"/>
                  </a:lnTo>
                  <a:lnTo>
                    <a:pt x="566" y="244"/>
                  </a:lnTo>
                  <a:lnTo>
                    <a:pt x="562" y="240"/>
                  </a:lnTo>
                  <a:lnTo>
                    <a:pt x="562" y="240"/>
                  </a:lnTo>
                  <a:lnTo>
                    <a:pt x="562" y="240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4" y="236"/>
                  </a:lnTo>
                  <a:lnTo>
                    <a:pt x="550" y="236"/>
                  </a:lnTo>
                  <a:lnTo>
                    <a:pt x="548" y="234"/>
                  </a:lnTo>
                  <a:lnTo>
                    <a:pt x="544" y="230"/>
                  </a:lnTo>
                  <a:lnTo>
                    <a:pt x="540" y="226"/>
                  </a:lnTo>
                  <a:lnTo>
                    <a:pt x="538" y="220"/>
                  </a:lnTo>
                  <a:lnTo>
                    <a:pt x="538" y="216"/>
                  </a:lnTo>
                  <a:lnTo>
                    <a:pt x="538" y="208"/>
                  </a:lnTo>
                  <a:lnTo>
                    <a:pt x="538" y="202"/>
                  </a:lnTo>
                  <a:lnTo>
                    <a:pt x="538" y="194"/>
                  </a:lnTo>
                  <a:lnTo>
                    <a:pt x="538" y="186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36" y="178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2" y="168"/>
                  </a:lnTo>
                  <a:lnTo>
                    <a:pt x="532" y="166"/>
                  </a:lnTo>
                  <a:lnTo>
                    <a:pt x="532" y="162"/>
                  </a:lnTo>
                  <a:lnTo>
                    <a:pt x="532" y="154"/>
                  </a:lnTo>
                  <a:lnTo>
                    <a:pt x="532" y="148"/>
                  </a:lnTo>
                  <a:lnTo>
                    <a:pt x="534" y="140"/>
                  </a:lnTo>
                  <a:lnTo>
                    <a:pt x="536" y="132"/>
                  </a:lnTo>
                  <a:lnTo>
                    <a:pt x="536" y="126"/>
                  </a:lnTo>
                  <a:lnTo>
                    <a:pt x="540" y="118"/>
                  </a:lnTo>
                  <a:lnTo>
                    <a:pt x="542" y="114"/>
                  </a:lnTo>
                  <a:lnTo>
                    <a:pt x="542" y="114"/>
                  </a:lnTo>
                  <a:lnTo>
                    <a:pt x="542" y="110"/>
                  </a:lnTo>
                  <a:lnTo>
                    <a:pt x="540" y="108"/>
                  </a:lnTo>
                  <a:lnTo>
                    <a:pt x="538" y="106"/>
                  </a:lnTo>
                  <a:lnTo>
                    <a:pt x="538" y="106"/>
                  </a:lnTo>
                  <a:lnTo>
                    <a:pt x="538" y="106"/>
                  </a:lnTo>
                  <a:lnTo>
                    <a:pt x="534" y="104"/>
                  </a:lnTo>
                  <a:lnTo>
                    <a:pt x="534" y="104"/>
                  </a:lnTo>
                  <a:lnTo>
                    <a:pt x="534" y="104"/>
                  </a:lnTo>
                  <a:lnTo>
                    <a:pt x="530" y="104"/>
                  </a:lnTo>
                  <a:lnTo>
                    <a:pt x="530" y="104"/>
                  </a:lnTo>
                  <a:lnTo>
                    <a:pt x="528" y="104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0" y="104"/>
                  </a:lnTo>
                  <a:lnTo>
                    <a:pt x="516" y="104"/>
                  </a:lnTo>
                  <a:lnTo>
                    <a:pt x="506" y="106"/>
                  </a:lnTo>
                  <a:lnTo>
                    <a:pt x="506" y="106"/>
                  </a:lnTo>
                  <a:lnTo>
                    <a:pt x="506" y="106"/>
                  </a:lnTo>
                  <a:lnTo>
                    <a:pt x="504" y="108"/>
                  </a:lnTo>
                  <a:lnTo>
                    <a:pt x="504" y="108"/>
                  </a:lnTo>
                  <a:lnTo>
                    <a:pt x="502" y="108"/>
                  </a:lnTo>
                  <a:lnTo>
                    <a:pt x="502" y="112"/>
                  </a:lnTo>
                  <a:lnTo>
                    <a:pt x="502" y="112"/>
                  </a:lnTo>
                  <a:lnTo>
                    <a:pt x="500" y="112"/>
                  </a:lnTo>
                  <a:lnTo>
                    <a:pt x="500" y="114"/>
                  </a:lnTo>
                  <a:lnTo>
                    <a:pt x="500" y="114"/>
                  </a:lnTo>
                  <a:lnTo>
                    <a:pt x="500" y="114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496" y="114"/>
                  </a:lnTo>
                  <a:lnTo>
                    <a:pt x="496" y="114"/>
                  </a:lnTo>
                  <a:lnTo>
                    <a:pt x="496" y="114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88" y="110"/>
                  </a:lnTo>
                  <a:lnTo>
                    <a:pt x="488" y="110"/>
                  </a:lnTo>
                  <a:lnTo>
                    <a:pt x="486" y="110"/>
                  </a:lnTo>
                  <a:lnTo>
                    <a:pt x="486" y="114"/>
                  </a:lnTo>
                  <a:lnTo>
                    <a:pt x="486" y="114"/>
                  </a:lnTo>
                  <a:lnTo>
                    <a:pt x="486" y="114"/>
                  </a:lnTo>
                  <a:lnTo>
                    <a:pt x="484" y="118"/>
                  </a:lnTo>
                  <a:lnTo>
                    <a:pt x="482" y="124"/>
                  </a:lnTo>
                  <a:lnTo>
                    <a:pt x="482" y="128"/>
                  </a:lnTo>
                  <a:lnTo>
                    <a:pt x="482" y="140"/>
                  </a:lnTo>
                  <a:lnTo>
                    <a:pt x="484" y="150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8" y="174"/>
                  </a:lnTo>
                  <a:lnTo>
                    <a:pt x="490" y="178"/>
                  </a:lnTo>
                  <a:lnTo>
                    <a:pt x="492" y="182"/>
                  </a:lnTo>
                  <a:lnTo>
                    <a:pt x="494" y="186"/>
                  </a:lnTo>
                  <a:lnTo>
                    <a:pt x="496" y="190"/>
                  </a:lnTo>
                  <a:lnTo>
                    <a:pt x="496" y="190"/>
                  </a:lnTo>
                  <a:lnTo>
                    <a:pt x="496" y="190"/>
                  </a:lnTo>
                  <a:lnTo>
                    <a:pt x="496" y="192"/>
                  </a:lnTo>
                  <a:lnTo>
                    <a:pt x="494" y="192"/>
                  </a:lnTo>
                  <a:lnTo>
                    <a:pt x="494" y="194"/>
                  </a:lnTo>
                  <a:lnTo>
                    <a:pt x="492" y="194"/>
                  </a:lnTo>
                  <a:lnTo>
                    <a:pt x="492" y="194"/>
                  </a:lnTo>
                  <a:lnTo>
                    <a:pt x="492" y="194"/>
                  </a:lnTo>
                  <a:lnTo>
                    <a:pt x="490" y="196"/>
                  </a:lnTo>
                  <a:lnTo>
                    <a:pt x="490" y="196"/>
                  </a:lnTo>
                  <a:lnTo>
                    <a:pt x="490" y="196"/>
                  </a:lnTo>
                  <a:lnTo>
                    <a:pt x="490" y="194"/>
                  </a:lnTo>
                  <a:lnTo>
                    <a:pt x="490" y="194"/>
                  </a:lnTo>
                  <a:lnTo>
                    <a:pt x="490" y="194"/>
                  </a:lnTo>
                  <a:lnTo>
                    <a:pt x="488" y="192"/>
                  </a:lnTo>
                  <a:lnTo>
                    <a:pt x="488" y="186"/>
                  </a:lnTo>
                  <a:lnTo>
                    <a:pt x="486" y="178"/>
                  </a:lnTo>
                  <a:lnTo>
                    <a:pt x="484" y="172"/>
                  </a:lnTo>
                  <a:lnTo>
                    <a:pt x="482" y="164"/>
                  </a:lnTo>
                  <a:lnTo>
                    <a:pt x="478" y="156"/>
                  </a:lnTo>
                  <a:lnTo>
                    <a:pt x="474" y="150"/>
                  </a:lnTo>
                  <a:lnTo>
                    <a:pt x="470" y="144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2" y="138"/>
                  </a:lnTo>
                  <a:lnTo>
                    <a:pt x="462" y="138"/>
                  </a:lnTo>
                  <a:lnTo>
                    <a:pt x="460" y="140"/>
                  </a:lnTo>
                  <a:lnTo>
                    <a:pt x="458" y="142"/>
                  </a:lnTo>
                  <a:lnTo>
                    <a:pt x="458" y="142"/>
                  </a:lnTo>
                  <a:lnTo>
                    <a:pt x="458" y="142"/>
                  </a:lnTo>
                  <a:lnTo>
                    <a:pt x="456" y="146"/>
                  </a:lnTo>
                  <a:lnTo>
                    <a:pt x="456" y="156"/>
                  </a:lnTo>
                  <a:lnTo>
                    <a:pt x="454" y="160"/>
                  </a:lnTo>
                  <a:lnTo>
                    <a:pt x="454" y="162"/>
                  </a:lnTo>
                  <a:lnTo>
                    <a:pt x="452" y="164"/>
                  </a:lnTo>
                  <a:lnTo>
                    <a:pt x="452" y="164"/>
                  </a:lnTo>
                  <a:lnTo>
                    <a:pt x="450" y="164"/>
                  </a:lnTo>
                  <a:lnTo>
                    <a:pt x="448" y="166"/>
                  </a:lnTo>
                  <a:lnTo>
                    <a:pt x="448" y="166"/>
                  </a:lnTo>
                  <a:lnTo>
                    <a:pt x="446" y="166"/>
                  </a:lnTo>
                  <a:lnTo>
                    <a:pt x="440" y="168"/>
                  </a:lnTo>
                  <a:lnTo>
                    <a:pt x="436" y="168"/>
                  </a:lnTo>
                  <a:lnTo>
                    <a:pt x="432" y="166"/>
                  </a:lnTo>
                  <a:lnTo>
                    <a:pt x="432" y="166"/>
                  </a:lnTo>
                  <a:lnTo>
                    <a:pt x="432" y="162"/>
                  </a:lnTo>
                  <a:lnTo>
                    <a:pt x="434" y="160"/>
                  </a:lnTo>
                  <a:lnTo>
                    <a:pt x="434" y="156"/>
                  </a:lnTo>
                  <a:lnTo>
                    <a:pt x="434" y="156"/>
                  </a:lnTo>
                  <a:lnTo>
                    <a:pt x="434" y="154"/>
                  </a:lnTo>
                  <a:lnTo>
                    <a:pt x="434" y="152"/>
                  </a:lnTo>
                  <a:lnTo>
                    <a:pt x="432" y="148"/>
                  </a:lnTo>
                  <a:lnTo>
                    <a:pt x="432" y="148"/>
                  </a:lnTo>
                  <a:lnTo>
                    <a:pt x="432" y="148"/>
                  </a:lnTo>
                  <a:lnTo>
                    <a:pt x="430" y="144"/>
                  </a:lnTo>
                  <a:lnTo>
                    <a:pt x="430" y="144"/>
                  </a:lnTo>
                  <a:lnTo>
                    <a:pt x="428" y="144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4" y="142"/>
                  </a:lnTo>
                  <a:lnTo>
                    <a:pt x="422" y="140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18" y="138"/>
                  </a:lnTo>
                  <a:lnTo>
                    <a:pt x="414" y="138"/>
                  </a:lnTo>
                  <a:lnTo>
                    <a:pt x="412" y="138"/>
                  </a:lnTo>
                  <a:lnTo>
                    <a:pt x="412" y="138"/>
                  </a:lnTo>
                  <a:lnTo>
                    <a:pt x="410" y="138"/>
                  </a:lnTo>
                  <a:lnTo>
                    <a:pt x="408" y="140"/>
                  </a:lnTo>
                  <a:lnTo>
                    <a:pt x="408" y="140"/>
                  </a:lnTo>
                  <a:lnTo>
                    <a:pt x="406" y="140"/>
                  </a:lnTo>
                  <a:lnTo>
                    <a:pt x="404" y="140"/>
                  </a:lnTo>
                  <a:lnTo>
                    <a:pt x="404" y="140"/>
                  </a:lnTo>
                  <a:lnTo>
                    <a:pt x="404" y="142"/>
                  </a:lnTo>
                  <a:lnTo>
                    <a:pt x="404" y="142"/>
                  </a:lnTo>
                  <a:lnTo>
                    <a:pt x="400" y="146"/>
                  </a:lnTo>
                  <a:lnTo>
                    <a:pt x="400" y="150"/>
                  </a:lnTo>
                  <a:lnTo>
                    <a:pt x="398" y="152"/>
                  </a:lnTo>
                  <a:lnTo>
                    <a:pt x="398" y="152"/>
                  </a:lnTo>
                  <a:lnTo>
                    <a:pt x="398" y="152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6"/>
                  </a:lnTo>
                  <a:lnTo>
                    <a:pt x="398" y="156"/>
                  </a:lnTo>
                  <a:lnTo>
                    <a:pt x="398" y="156"/>
                  </a:lnTo>
                  <a:lnTo>
                    <a:pt x="396" y="154"/>
                  </a:lnTo>
                  <a:lnTo>
                    <a:pt x="396" y="154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4" y="146"/>
                  </a:lnTo>
                  <a:lnTo>
                    <a:pt x="394" y="142"/>
                  </a:lnTo>
                  <a:lnTo>
                    <a:pt x="394" y="136"/>
                  </a:lnTo>
                  <a:lnTo>
                    <a:pt x="394" y="132"/>
                  </a:lnTo>
                  <a:lnTo>
                    <a:pt x="394" y="126"/>
                  </a:lnTo>
                  <a:lnTo>
                    <a:pt x="394" y="126"/>
                  </a:lnTo>
                  <a:lnTo>
                    <a:pt x="394" y="124"/>
                  </a:lnTo>
                  <a:lnTo>
                    <a:pt x="394" y="124"/>
                  </a:lnTo>
                  <a:lnTo>
                    <a:pt x="390" y="124"/>
                  </a:lnTo>
                  <a:lnTo>
                    <a:pt x="390" y="124"/>
                  </a:lnTo>
                  <a:lnTo>
                    <a:pt x="388" y="124"/>
                  </a:lnTo>
                  <a:lnTo>
                    <a:pt x="386" y="126"/>
                  </a:lnTo>
                  <a:lnTo>
                    <a:pt x="384" y="126"/>
                  </a:lnTo>
                  <a:lnTo>
                    <a:pt x="382" y="128"/>
                  </a:lnTo>
                  <a:lnTo>
                    <a:pt x="382" y="128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30"/>
                  </a:lnTo>
                  <a:lnTo>
                    <a:pt x="376" y="130"/>
                  </a:lnTo>
                  <a:lnTo>
                    <a:pt x="370" y="132"/>
                  </a:lnTo>
                  <a:lnTo>
                    <a:pt x="362" y="134"/>
                  </a:lnTo>
                  <a:lnTo>
                    <a:pt x="358" y="136"/>
                  </a:lnTo>
                  <a:lnTo>
                    <a:pt x="358" y="136"/>
                  </a:lnTo>
                  <a:lnTo>
                    <a:pt x="360" y="134"/>
                  </a:lnTo>
                  <a:lnTo>
                    <a:pt x="362" y="132"/>
                  </a:lnTo>
                  <a:lnTo>
                    <a:pt x="364" y="128"/>
                  </a:lnTo>
                  <a:lnTo>
                    <a:pt x="366" y="128"/>
                  </a:lnTo>
                  <a:lnTo>
                    <a:pt x="366" y="126"/>
                  </a:lnTo>
                  <a:lnTo>
                    <a:pt x="368" y="126"/>
                  </a:lnTo>
                  <a:lnTo>
                    <a:pt x="368" y="126"/>
                  </a:lnTo>
                  <a:lnTo>
                    <a:pt x="370" y="126"/>
                  </a:lnTo>
                  <a:lnTo>
                    <a:pt x="372" y="126"/>
                  </a:lnTo>
                  <a:lnTo>
                    <a:pt x="376" y="124"/>
                  </a:lnTo>
                  <a:lnTo>
                    <a:pt x="380" y="124"/>
                  </a:lnTo>
                  <a:lnTo>
                    <a:pt x="380" y="124"/>
                  </a:lnTo>
                  <a:lnTo>
                    <a:pt x="382" y="124"/>
                  </a:lnTo>
                  <a:lnTo>
                    <a:pt x="382" y="120"/>
                  </a:lnTo>
                  <a:lnTo>
                    <a:pt x="382" y="118"/>
                  </a:lnTo>
                  <a:lnTo>
                    <a:pt x="380" y="114"/>
                  </a:lnTo>
                  <a:lnTo>
                    <a:pt x="380" y="108"/>
                  </a:lnTo>
                  <a:lnTo>
                    <a:pt x="380" y="108"/>
                  </a:lnTo>
                  <a:lnTo>
                    <a:pt x="378" y="106"/>
                  </a:lnTo>
                  <a:lnTo>
                    <a:pt x="376" y="102"/>
                  </a:lnTo>
                  <a:lnTo>
                    <a:pt x="374" y="98"/>
                  </a:lnTo>
                  <a:lnTo>
                    <a:pt x="372" y="96"/>
                  </a:lnTo>
                  <a:lnTo>
                    <a:pt x="372" y="94"/>
                  </a:lnTo>
                  <a:lnTo>
                    <a:pt x="372" y="92"/>
                  </a:lnTo>
                  <a:lnTo>
                    <a:pt x="372" y="92"/>
                  </a:lnTo>
                  <a:lnTo>
                    <a:pt x="372" y="92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4" y="84"/>
                  </a:lnTo>
                  <a:lnTo>
                    <a:pt x="362" y="84"/>
                  </a:lnTo>
                  <a:lnTo>
                    <a:pt x="360" y="80"/>
                  </a:lnTo>
                  <a:lnTo>
                    <a:pt x="358" y="78"/>
                  </a:lnTo>
                  <a:lnTo>
                    <a:pt x="354" y="76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46" y="72"/>
                  </a:lnTo>
                  <a:lnTo>
                    <a:pt x="342" y="72"/>
                  </a:lnTo>
                  <a:lnTo>
                    <a:pt x="338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4" y="78"/>
                  </a:lnTo>
                  <a:lnTo>
                    <a:pt x="324" y="78"/>
                  </a:lnTo>
                  <a:lnTo>
                    <a:pt x="324" y="78"/>
                  </a:lnTo>
                  <a:lnTo>
                    <a:pt x="322" y="82"/>
                  </a:lnTo>
                  <a:lnTo>
                    <a:pt x="322" y="84"/>
                  </a:lnTo>
                  <a:lnTo>
                    <a:pt x="320" y="84"/>
                  </a:lnTo>
                  <a:lnTo>
                    <a:pt x="316" y="80"/>
                  </a:lnTo>
                  <a:lnTo>
                    <a:pt x="314" y="78"/>
                  </a:lnTo>
                  <a:lnTo>
                    <a:pt x="310" y="74"/>
                  </a:lnTo>
                  <a:lnTo>
                    <a:pt x="308" y="72"/>
                  </a:lnTo>
                  <a:lnTo>
                    <a:pt x="304" y="68"/>
                  </a:lnTo>
                  <a:lnTo>
                    <a:pt x="304" y="68"/>
                  </a:lnTo>
                  <a:lnTo>
                    <a:pt x="304" y="68"/>
                  </a:lnTo>
                  <a:lnTo>
                    <a:pt x="300" y="66"/>
                  </a:lnTo>
                  <a:lnTo>
                    <a:pt x="300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4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0" y="56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6" y="58"/>
                  </a:lnTo>
                  <a:lnTo>
                    <a:pt x="284" y="60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74" y="60"/>
                  </a:lnTo>
                  <a:lnTo>
                    <a:pt x="270" y="60"/>
                  </a:lnTo>
                  <a:lnTo>
                    <a:pt x="266" y="58"/>
                  </a:lnTo>
                  <a:lnTo>
                    <a:pt x="266" y="58"/>
                  </a:lnTo>
                  <a:lnTo>
                    <a:pt x="264" y="58"/>
                  </a:lnTo>
                  <a:lnTo>
                    <a:pt x="258" y="62"/>
                  </a:lnTo>
                  <a:lnTo>
                    <a:pt x="254" y="64"/>
                  </a:lnTo>
                  <a:lnTo>
                    <a:pt x="248" y="66"/>
                  </a:lnTo>
                  <a:lnTo>
                    <a:pt x="246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0" y="72"/>
                  </a:lnTo>
                  <a:lnTo>
                    <a:pt x="242" y="74"/>
                  </a:lnTo>
                  <a:lnTo>
                    <a:pt x="242" y="78"/>
                  </a:lnTo>
                  <a:lnTo>
                    <a:pt x="242" y="82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4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50" y="92"/>
                  </a:lnTo>
                  <a:lnTo>
                    <a:pt x="250" y="94"/>
                  </a:lnTo>
                  <a:lnTo>
                    <a:pt x="250" y="96"/>
                  </a:lnTo>
                  <a:lnTo>
                    <a:pt x="250" y="100"/>
                  </a:lnTo>
                  <a:lnTo>
                    <a:pt x="250" y="106"/>
                  </a:lnTo>
                  <a:lnTo>
                    <a:pt x="250" y="112"/>
                  </a:lnTo>
                  <a:lnTo>
                    <a:pt x="248" y="120"/>
                  </a:lnTo>
                  <a:lnTo>
                    <a:pt x="246" y="126"/>
                  </a:lnTo>
                  <a:lnTo>
                    <a:pt x="244" y="128"/>
                  </a:lnTo>
                  <a:lnTo>
                    <a:pt x="242" y="130"/>
                  </a:lnTo>
                  <a:lnTo>
                    <a:pt x="242" y="132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2"/>
                  </a:lnTo>
                  <a:lnTo>
                    <a:pt x="240" y="136"/>
                  </a:lnTo>
                  <a:lnTo>
                    <a:pt x="240" y="140"/>
                  </a:lnTo>
                  <a:lnTo>
                    <a:pt x="240" y="142"/>
                  </a:lnTo>
                  <a:lnTo>
                    <a:pt x="240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50"/>
                  </a:lnTo>
                  <a:lnTo>
                    <a:pt x="236" y="152"/>
                  </a:lnTo>
                  <a:lnTo>
                    <a:pt x="234" y="156"/>
                  </a:lnTo>
                  <a:lnTo>
                    <a:pt x="234" y="156"/>
                  </a:lnTo>
                  <a:lnTo>
                    <a:pt x="234" y="158"/>
                  </a:lnTo>
                  <a:lnTo>
                    <a:pt x="234" y="160"/>
                  </a:lnTo>
                  <a:lnTo>
                    <a:pt x="232" y="162"/>
                  </a:lnTo>
                  <a:lnTo>
                    <a:pt x="232" y="164"/>
                  </a:lnTo>
                  <a:lnTo>
                    <a:pt x="230" y="168"/>
                  </a:lnTo>
                  <a:lnTo>
                    <a:pt x="228" y="170"/>
                  </a:lnTo>
                  <a:lnTo>
                    <a:pt x="226" y="172"/>
                  </a:lnTo>
                  <a:lnTo>
                    <a:pt x="224" y="174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20" y="178"/>
                  </a:lnTo>
                  <a:lnTo>
                    <a:pt x="220" y="178"/>
                  </a:lnTo>
                  <a:lnTo>
                    <a:pt x="220" y="180"/>
                  </a:lnTo>
                  <a:lnTo>
                    <a:pt x="220" y="182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8"/>
                  </a:lnTo>
                  <a:lnTo>
                    <a:pt x="218" y="188"/>
                  </a:lnTo>
                  <a:lnTo>
                    <a:pt x="220" y="190"/>
                  </a:lnTo>
                  <a:lnTo>
                    <a:pt x="222" y="190"/>
                  </a:lnTo>
                  <a:lnTo>
                    <a:pt x="226" y="192"/>
                  </a:lnTo>
                  <a:lnTo>
                    <a:pt x="232" y="192"/>
                  </a:lnTo>
                  <a:lnTo>
                    <a:pt x="236" y="192"/>
                  </a:lnTo>
                  <a:lnTo>
                    <a:pt x="242" y="192"/>
                  </a:lnTo>
                  <a:lnTo>
                    <a:pt x="242" y="192"/>
                  </a:lnTo>
                  <a:lnTo>
                    <a:pt x="242" y="194"/>
                  </a:lnTo>
                  <a:lnTo>
                    <a:pt x="242" y="194"/>
                  </a:lnTo>
                  <a:lnTo>
                    <a:pt x="244" y="196"/>
                  </a:lnTo>
                  <a:lnTo>
                    <a:pt x="246" y="200"/>
                  </a:lnTo>
                  <a:lnTo>
                    <a:pt x="246" y="200"/>
                  </a:lnTo>
                  <a:lnTo>
                    <a:pt x="246" y="200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6" y="206"/>
                  </a:lnTo>
                  <a:lnTo>
                    <a:pt x="256" y="210"/>
                  </a:lnTo>
                  <a:lnTo>
                    <a:pt x="258" y="216"/>
                  </a:lnTo>
                  <a:lnTo>
                    <a:pt x="260" y="220"/>
                  </a:lnTo>
                  <a:lnTo>
                    <a:pt x="262" y="224"/>
                  </a:lnTo>
                  <a:lnTo>
                    <a:pt x="262" y="224"/>
                  </a:lnTo>
                  <a:lnTo>
                    <a:pt x="262" y="224"/>
                  </a:lnTo>
                  <a:lnTo>
                    <a:pt x="264" y="226"/>
                  </a:lnTo>
                  <a:lnTo>
                    <a:pt x="264" y="226"/>
                  </a:lnTo>
                  <a:lnTo>
                    <a:pt x="264" y="228"/>
                  </a:lnTo>
                  <a:lnTo>
                    <a:pt x="266" y="230"/>
                  </a:lnTo>
                  <a:lnTo>
                    <a:pt x="266" y="230"/>
                  </a:lnTo>
                  <a:lnTo>
                    <a:pt x="270" y="230"/>
                  </a:lnTo>
                  <a:lnTo>
                    <a:pt x="272" y="230"/>
                  </a:lnTo>
                  <a:lnTo>
                    <a:pt x="276" y="228"/>
                  </a:lnTo>
                  <a:lnTo>
                    <a:pt x="278" y="228"/>
                  </a:lnTo>
                  <a:lnTo>
                    <a:pt x="280" y="226"/>
                  </a:lnTo>
                  <a:lnTo>
                    <a:pt x="280" y="226"/>
                  </a:lnTo>
                  <a:lnTo>
                    <a:pt x="280" y="226"/>
                  </a:lnTo>
                  <a:lnTo>
                    <a:pt x="282" y="224"/>
                  </a:lnTo>
                  <a:lnTo>
                    <a:pt x="284" y="220"/>
                  </a:lnTo>
                  <a:lnTo>
                    <a:pt x="286" y="218"/>
                  </a:lnTo>
                  <a:lnTo>
                    <a:pt x="290" y="216"/>
                  </a:lnTo>
                  <a:lnTo>
                    <a:pt x="290" y="216"/>
                  </a:lnTo>
                  <a:lnTo>
                    <a:pt x="294" y="214"/>
                  </a:lnTo>
                  <a:lnTo>
                    <a:pt x="296" y="214"/>
                  </a:lnTo>
                  <a:lnTo>
                    <a:pt x="298" y="214"/>
                  </a:lnTo>
                  <a:lnTo>
                    <a:pt x="298" y="214"/>
                  </a:lnTo>
                  <a:lnTo>
                    <a:pt x="300" y="212"/>
                  </a:lnTo>
                  <a:lnTo>
                    <a:pt x="302" y="210"/>
                  </a:lnTo>
                  <a:lnTo>
                    <a:pt x="302" y="210"/>
                  </a:lnTo>
                  <a:lnTo>
                    <a:pt x="304" y="210"/>
                  </a:lnTo>
                  <a:lnTo>
                    <a:pt x="304" y="208"/>
                  </a:lnTo>
                  <a:lnTo>
                    <a:pt x="304" y="208"/>
                  </a:lnTo>
                  <a:lnTo>
                    <a:pt x="304" y="206"/>
                  </a:lnTo>
                  <a:lnTo>
                    <a:pt x="306" y="204"/>
                  </a:lnTo>
                  <a:lnTo>
                    <a:pt x="306" y="204"/>
                  </a:lnTo>
                  <a:lnTo>
                    <a:pt x="306" y="204"/>
                  </a:lnTo>
                  <a:lnTo>
                    <a:pt x="306" y="202"/>
                  </a:lnTo>
                  <a:lnTo>
                    <a:pt x="306" y="202"/>
                  </a:lnTo>
                  <a:lnTo>
                    <a:pt x="306" y="200"/>
                  </a:lnTo>
                  <a:lnTo>
                    <a:pt x="308" y="196"/>
                  </a:lnTo>
                  <a:lnTo>
                    <a:pt x="308" y="192"/>
                  </a:lnTo>
                  <a:lnTo>
                    <a:pt x="308" y="188"/>
                  </a:lnTo>
                  <a:lnTo>
                    <a:pt x="308" y="188"/>
                  </a:lnTo>
                  <a:lnTo>
                    <a:pt x="308" y="186"/>
                  </a:lnTo>
                  <a:lnTo>
                    <a:pt x="310" y="186"/>
                  </a:lnTo>
                  <a:lnTo>
                    <a:pt x="312" y="184"/>
                  </a:lnTo>
                  <a:lnTo>
                    <a:pt x="316" y="184"/>
                  </a:lnTo>
                  <a:lnTo>
                    <a:pt x="320" y="184"/>
                  </a:lnTo>
                  <a:lnTo>
                    <a:pt x="320" y="184"/>
                  </a:lnTo>
                  <a:lnTo>
                    <a:pt x="320" y="184"/>
                  </a:lnTo>
                  <a:lnTo>
                    <a:pt x="322" y="182"/>
                  </a:lnTo>
                  <a:lnTo>
                    <a:pt x="322" y="178"/>
                  </a:lnTo>
                  <a:lnTo>
                    <a:pt x="322" y="176"/>
                  </a:lnTo>
                  <a:lnTo>
                    <a:pt x="324" y="170"/>
                  </a:lnTo>
                  <a:lnTo>
                    <a:pt x="324" y="166"/>
                  </a:lnTo>
                  <a:lnTo>
                    <a:pt x="324" y="164"/>
                  </a:lnTo>
                  <a:lnTo>
                    <a:pt x="324" y="162"/>
                  </a:lnTo>
                  <a:lnTo>
                    <a:pt x="326" y="160"/>
                  </a:lnTo>
                  <a:lnTo>
                    <a:pt x="326" y="160"/>
                  </a:lnTo>
                  <a:lnTo>
                    <a:pt x="328" y="158"/>
                  </a:lnTo>
                  <a:lnTo>
                    <a:pt x="330" y="156"/>
                  </a:lnTo>
                  <a:lnTo>
                    <a:pt x="332" y="156"/>
                  </a:lnTo>
                  <a:lnTo>
                    <a:pt x="338" y="152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0"/>
                  </a:lnTo>
                  <a:lnTo>
                    <a:pt x="344" y="148"/>
                  </a:lnTo>
                  <a:lnTo>
                    <a:pt x="344" y="146"/>
                  </a:lnTo>
                  <a:lnTo>
                    <a:pt x="346" y="144"/>
                  </a:lnTo>
                  <a:lnTo>
                    <a:pt x="348" y="140"/>
                  </a:lnTo>
                  <a:lnTo>
                    <a:pt x="348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6"/>
                  </a:lnTo>
                  <a:lnTo>
                    <a:pt x="344" y="150"/>
                  </a:lnTo>
                  <a:lnTo>
                    <a:pt x="342" y="152"/>
                  </a:lnTo>
                  <a:lnTo>
                    <a:pt x="342" y="154"/>
                  </a:lnTo>
                  <a:lnTo>
                    <a:pt x="340" y="156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6" y="158"/>
                  </a:lnTo>
                  <a:lnTo>
                    <a:pt x="336" y="158"/>
                  </a:lnTo>
                  <a:lnTo>
                    <a:pt x="336" y="158"/>
                  </a:lnTo>
                  <a:lnTo>
                    <a:pt x="334" y="160"/>
                  </a:lnTo>
                  <a:lnTo>
                    <a:pt x="334" y="160"/>
                  </a:lnTo>
                  <a:lnTo>
                    <a:pt x="334" y="160"/>
                  </a:lnTo>
                  <a:lnTo>
                    <a:pt x="332" y="162"/>
                  </a:lnTo>
                  <a:lnTo>
                    <a:pt x="332" y="162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0" y="166"/>
                  </a:lnTo>
                  <a:lnTo>
                    <a:pt x="330" y="168"/>
                  </a:lnTo>
                  <a:lnTo>
                    <a:pt x="330" y="168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6" y="174"/>
                  </a:lnTo>
                  <a:lnTo>
                    <a:pt x="336" y="174"/>
                  </a:lnTo>
                  <a:lnTo>
                    <a:pt x="332" y="178"/>
                  </a:lnTo>
                  <a:lnTo>
                    <a:pt x="330" y="180"/>
                  </a:lnTo>
                  <a:lnTo>
                    <a:pt x="328" y="184"/>
                  </a:lnTo>
                  <a:lnTo>
                    <a:pt x="328" y="184"/>
                  </a:lnTo>
                  <a:lnTo>
                    <a:pt x="326" y="184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4" y="192"/>
                  </a:lnTo>
                  <a:lnTo>
                    <a:pt x="322" y="196"/>
                  </a:lnTo>
                  <a:lnTo>
                    <a:pt x="322" y="198"/>
                  </a:lnTo>
                  <a:lnTo>
                    <a:pt x="320" y="200"/>
                  </a:lnTo>
                  <a:lnTo>
                    <a:pt x="320" y="200"/>
                  </a:lnTo>
                  <a:lnTo>
                    <a:pt x="320" y="202"/>
                  </a:lnTo>
                  <a:lnTo>
                    <a:pt x="320" y="204"/>
                  </a:lnTo>
                  <a:lnTo>
                    <a:pt x="322" y="206"/>
                  </a:lnTo>
                  <a:lnTo>
                    <a:pt x="324" y="208"/>
                  </a:lnTo>
                  <a:lnTo>
                    <a:pt x="326" y="208"/>
                  </a:lnTo>
                  <a:lnTo>
                    <a:pt x="328" y="208"/>
                  </a:lnTo>
                  <a:lnTo>
                    <a:pt x="328" y="208"/>
                  </a:lnTo>
                  <a:lnTo>
                    <a:pt x="328" y="210"/>
                  </a:lnTo>
                  <a:lnTo>
                    <a:pt x="330" y="210"/>
                  </a:lnTo>
                  <a:lnTo>
                    <a:pt x="330" y="210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6" y="208"/>
                  </a:lnTo>
                  <a:lnTo>
                    <a:pt x="338" y="208"/>
                  </a:lnTo>
                  <a:lnTo>
                    <a:pt x="340" y="208"/>
                  </a:lnTo>
                  <a:lnTo>
                    <a:pt x="344" y="208"/>
                  </a:lnTo>
                  <a:lnTo>
                    <a:pt x="348" y="208"/>
                  </a:lnTo>
                  <a:lnTo>
                    <a:pt x="352" y="208"/>
                  </a:lnTo>
                  <a:lnTo>
                    <a:pt x="360" y="208"/>
                  </a:lnTo>
                  <a:lnTo>
                    <a:pt x="366" y="208"/>
                  </a:lnTo>
                  <a:lnTo>
                    <a:pt x="370" y="208"/>
                  </a:lnTo>
                  <a:lnTo>
                    <a:pt x="372" y="210"/>
                  </a:lnTo>
                  <a:lnTo>
                    <a:pt x="376" y="210"/>
                  </a:lnTo>
                  <a:lnTo>
                    <a:pt x="374" y="210"/>
                  </a:lnTo>
                  <a:lnTo>
                    <a:pt x="372" y="210"/>
                  </a:lnTo>
                  <a:lnTo>
                    <a:pt x="368" y="214"/>
                  </a:lnTo>
                  <a:lnTo>
                    <a:pt x="364" y="216"/>
                  </a:lnTo>
                  <a:lnTo>
                    <a:pt x="358" y="218"/>
                  </a:lnTo>
                  <a:lnTo>
                    <a:pt x="354" y="220"/>
                  </a:lnTo>
                  <a:lnTo>
                    <a:pt x="352" y="222"/>
                  </a:lnTo>
                  <a:lnTo>
                    <a:pt x="348" y="222"/>
                  </a:lnTo>
                  <a:lnTo>
                    <a:pt x="344" y="222"/>
                  </a:lnTo>
                  <a:lnTo>
                    <a:pt x="340" y="222"/>
                  </a:lnTo>
                  <a:lnTo>
                    <a:pt x="340" y="222"/>
                  </a:lnTo>
                  <a:lnTo>
                    <a:pt x="338" y="224"/>
                  </a:lnTo>
                  <a:lnTo>
                    <a:pt x="336" y="224"/>
                  </a:lnTo>
                  <a:lnTo>
                    <a:pt x="336" y="224"/>
                  </a:lnTo>
                  <a:lnTo>
                    <a:pt x="336" y="224"/>
                  </a:lnTo>
                  <a:lnTo>
                    <a:pt x="334" y="226"/>
                  </a:lnTo>
                  <a:lnTo>
                    <a:pt x="334" y="226"/>
                  </a:lnTo>
                  <a:lnTo>
                    <a:pt x="334" y="226"/>
                  </a:lnTo>
                  <a:lnTo>
                    <a:pt x="330" y="230"/>
                  </a:lnTo>
                  <a:lnTo>
                    <a:pt x="330" y="230"/>
                  </a:lnTo>
                  <a:lnTo>
                    <a:pt x="330" y="230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8" y="236"/>
                  </a:lnTo>
                  <a:lnTo>
                    <a:pt x="328" y="236"/>
                  </a:lnTo>
                  <a:lnTo>
                    <a:pt x="328" y="240"/>
                  </a:lnTo>
                  <a:lnTo>
                    <a:pt x="328" y="240"/>
                  </a:lnTo>
                  <a:lnTo>
                    <a:pt x="328" y="240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2" y="246"/>
                  </a:lnTo>
                  <a:lnTo>
                    <a:pt x="332" y="246"/>
                  </a:lnTo>
                  <a:lnTo>
                    <a:pt x="336" y="246"/>
                  </a:lnTo>
                  <a:lnTo>
                    <a:pt x="340" y="248"/>
                  </a:lnTo>
                  <a:lnTo>
                    <a:pt x="348" y="248"/>
                  </a:lnTo>
                  <a:lnTo>
                    <a:pt x="354" y="248"/>
                  </a:lnTo>
                  <a:lnTo>
                    <a:pt x="360" y="248"/>
                  </a:lnTo>
                  <a:lnTo>
                    <a:pt x="360" y="248"/>
                  </a:lnTo>
                  <a:lnTo>
                    <a:pt x="364" y="248"/>
                  </a:lnTo>
                  <a:lnTo>
                    <a:pt x="374" y="250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4" y="252"/>
                  </a:lnTo>
                  <a:lnTo>
                    <a:pt x="388" y="252"/>
                  </a:lnTo>
                  <a:lnTo>
                    <a:pt x="392" y="252"/>
                  </a:lnTo>
                  <a:lnTo>
                    <a:pt x="398" y="250"/>
                  </a:lnTo>
                  <a:lnTo>
                    <a:pt x="402" y="250"/>
                  </a:lnTo>
                  <a:lnTo>
                    <a:pt x="408" y="250"/>
                  </a:lnTo>
                  <a:lnTo>
                    <a:pt x="412" y="250"/>
                  </a:lnTo>
                  <a:lnTo>
                    <a:pt x="416" y="250"/>
                  </a:lnTo>
                  <a:lnTo>
                    <a:pt x="418" y="250"/>
                  </a:lnTo>
                  <a:lnTo>
                    <a:pt x="422" y="250"/>
                  </a:lnTo>
                  <a:lnTo>
                    <a:pt x="426" y="250"/>
                  </a:lnTo>
                  <a:lnTo>
                    <a:pt x="428" y="252"/>
                  </a:lnTo>
                  <a:lnTo>
                    <a:pt x="428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34" y="258"/>
                  </a:lnTo>
                  <a:lnTo>
                    <a:pt x="434" y="260"/>
                  </a:lnTo>
                  <a:lnTo>
                    <a:pt x="434" y="260"/>
                  </a:lnTo>
                  <a:lnTo>
                    <a:pt x="432" y="262"/>
                  </a:lnTo>
                  <a:lnTo>
                    <a:pt x="432" y="262"/>
                  </a:lnTo>
                  <a:lnTo>
                    <a:pt x="430" y="264"/>
                  </a:lnTo>
                  <a:lnTo>
                    <a:pt x="428" y="264"/>
                  </a:lnTo>
                  <a:lnTo>
                    <a:pt x="428" y="264"/>
                  </a:lnTo>
                  <a:lnTo>
                    <a:pt x="424" y="264"/>
                  </a:lnTo>
                  <a:lnTo>
                    <a:pt x="418" y="264"/>
                  </a:lnTo>
                  <a:lnTo>
                    <a:pt x="414" y="262"/>
                  </a:lnTo>
                  <a:lnTo>
                    <a:pt x="408" y="260"/>
                  </a:lnTo>
                  <a:lnTo>
                    <a:pt x="404" y="260"/>
                  </a:lnTo>
                  <a:lnTo>
                    <a:pt x="400" y="258"/>
                  </a:lnTo>
                  <a:lnTo>
                    <a:pt x="396" y="258"/>
                  </a:lnTo>
                  <a:lnTo>
                    <a:pt x="390" y="258"/>
                  </a:lnTo>
                  <a:lnTo>
                    <a:pt x="386" y="256"/>
                  </a:lnTo>
                  <a:lnTo>
                    <a:pt x="382" y="258"/>
                  </a:lnTo>
                  <a:lnTo>
                    <a:pt x="378" y="258"/>
                  </a:lnTo>
                  <a:lnTo>
                    <a:pt x="374" y="258"/>
                  </a:lnTo>
                  <a:lnTo>
                    <a:pt x="374" y="258"/>
                  </a:lnTo>
                  <a:lnTo>
                    <a:pt x="372" y="258"/>
                  </a:lnTo>
                  <a:lnTo>
                    <a:pt x="368" y="260"/>
                  </a:lnTo>
                  <a:lnTo>
                    <a:pt x="364" y="264"/>
                  </a:lnTo>
                  <a:lnTo>
                    <a:pt x="360" y="266"/>
                  </a:lnTo>
                  <a:lnTo>
                    <a:pt x="358" y="266"/>
                  </a:lnTo>
                  <a:lnTo>
                    <a:pt x="356" y="266"/>
                  </a:lnTo>
                  <a:lnTo>
                    <a:pt x="356" y="266"/>
                  </a:lnTo>
                  <a:lnTo>
                    <a:pt x="354" y="268"/>
                  </a:lnTo>
                  <a:lnTo>
                    <a:pt x="352" y="268"/>
                  </a:lnTo>
                  <a:lnTo>
                    <a:pt x="350" y="270"/>
                  </a:lnTo>
                  <a:lnTo>
                    <a:pt x="350" y="270"/>
                  </a:lnTo>
                  <a:lnTo>
                    <a:pt x="350" y="270"/>
                  </a:lnTo>
                  <a:lnTo>
                    <a:pt x="348" y="274"/>
                  </a:lnTo>
                  <a:lnTo>
                    <a:pt x="348" y="274"/>
                  </a:lnTo>
                  <a:lnTo>
                    <a:pt x="348" y="274"/>
                  </a:lnTo>
                  <a:lnTo>
                    <a:pt x="348" y="276"/>
                  </a:lnTo>
                  <a:lnTo>
                    <a:pt x="348" y="276"/>
                  </a:lnTo>
                  <a:lnTo>
                    <a:pt x="348" y="278"/>
                  </a:lnTo>
                  <a:lnTo>
                    <a:pt x="348" y="280"/>
                  </a:lnTo>
                  <a:lnTo>
                    <a:pt x="348" y="280"/>
                  </a:lnTo>
                  <a:lnTo>
                    <a:pt x="348" y="280"/>
                  </a:lnTo>
                  <a:lnTo>
                    <a:pt x="350" y="282"/>
                  </a:lnTo>
                  <a:lnTo>
                    <a:pt x="352" y="286"/>
                  </a:lnTo>
                  <a:lnTo>
                    <a:pt x="354" y="288"/>
                  </a:lnTo>
                  <a:lnTo>
                    <a:pt x="356" y="292"/>
                  </a:lnTo>
                  <a:lnTo>
                    <a:pt x="356" y="292"/>
                  </a:lnTo>
                  <a:lnTo>
                    <a:pt x="358" y="292"/>
                  </a:lnTo>
                  <a:lnTo>
                    <a:pt x="360" y="292"/>
                  </a:lnTo>
                  <a:lnTo>
                    <a:pt x="362" y="292"/>
                  </a:lnTo>
                  <a:lnTo>
                    <a:pt x="362" y="292"/>
                  </a:lnTo>
                  <a:lnTo>
                    <a:pt x="362" y="294"/>
                  </a:lnTo>
                  <a:lnTo>
                    <a:pt x="362" y="294"/>
                  </a:lnTo>
                  <a:lnTo>
                    <a:pt x="362" y="296"/>
                  </a:lnTo>
                  <a:lnTo>
                    <a:pt x="362" y="298"/>
                  </a:lnTo>
                  <a:lnTo>
                    <a:pt x="362" y="298"/>
                  </a:lnTo>
                  <a:lnTo>
                    <a:pt x="364" y="298"/>
                  </a:lnTo>
                  <a:lnTo>
                    <a:pt x="364" y="300"/>
                  </a:lnTo>
                  <a:lnTo>
                    <a:pt x="364" y="300"/>
                  </a:lnTo>
                  <a:lnTo>
                    <a:pt x="366" y="300"/>
                  </a:lnTo>
                  <a:lnTo>
                    <a:pt x="370" y="302"/>
                  </a:lnTo>
                  <a:lnTo>
                    <a:pt x="370" y="302"/>
                  </a:lnTo>
                  <a:lnTo>
                    <a:pt x="370" y="302"/>
                  </a:lnTo>
                  <a:lnTo>
                    <a:pt x="374" y="304"/>
                  </a:lnTo>
                  <a:lnTo>
                    <a:pt x="378" y="304"/>
                  </a:lnTo>
                  <a:lnTo>
                    <a:pt x="384" y="304"/>
                  </a:lnTo>
                  <a:lnTo>
                    <a:pt x="390" y="304"/>
                  </a:lnTo>
                  <a:lnTo>
                    <a:pt x="394" y="306"/>
                  </a:lnTo>
                  <a:lnTo>
                    <a:pt x="400" y="306"/>
                  </a:lnTo>
                  <a:lnTo>
                    <a:pt x="402" y="306"/>
                  </a:lnTo>
                  <a:lnTo>
                    <a:pt x="402" y="308"/>
                  </a:lnTo>
                  <a:lnTo>
                    <a:pt x="404" y="310"/>
                  </a:lnTo>
                  <a:lnTo>
                    <a:pt x="404" y="312"/>
                  </a:lnTo>
                  <a:lnTo>
                    <a:pt x="404" y="312"/>
                  </a:lnTo>
                  <a:lnTo>
                    <a:pt x="404" y="314"/>
                  </a:lnTo>
                  <a:lnTo>
                    <a:pt x="404" y="314"/>
                  </a:lnTo>
                  <a:lnTo>
                    <a:pt x="402" y="316"/>
                  </a:lnTo>
                  <a:lnTo>
                    <a:pt x="400" y="320"/>
                  </a:lnTo>
                  <a:lnTo>
                    <a:pt x="400" y="320"/>
                  </a:lnTo>
                  <a:lnTo>
                    <a:pt x="400" y="320"/>
                  </a:lnTo>
                  <a:lnTo>
                    <a:pt x="400" y="322"/>
                  </a:lnTo>
                  <a:lnTo>
                    <a:pt x="398" y="320"/>
                  </a:lnTo>
                  <a:lnTo>
                    <a:pt x="392" y="320"/>
                  </a:lnTo>
                  <a:lnTo>
                    <a:pt x="386" y="318"/>
                  </a:lnTo>
                  <a:lnTo>
                    <a:pt x="380" y="316"/>
                  </a:lnTo>
                  <a:lnTo>
                    <a:pt x="374" y="316"/>
                  </a:lnTo>
                  <a:lnTo>
                    <a:pt x="368" y="314"/>
                  </a:lnTo>
                  <a:lnTo>
                    <a:pt x="358" y="312"/>
                  </a:lnTo>
                  <a:lnTo>
                    <a:pt x="350" y="310"/>
                  </a:lnTo>
                  <a:lnTo>
                    <a:pt x="342" y="308"/>
                  </a:lnTo>
                  <a:lnTo>
                    <a:pt x="338" y="306"/>
                  </a:lnTo>
                  <a:lnTo>
                    <a:pt x="332" y="304"/>
                  </a:lnTo>
                  <a:lnTo>
                    <a:pt x="328" y="304"/>
                  </a:lnTo>
                  <a:lnTo>
                    <a:pt x="322" y="300"/>
                  </a:lnTo>
                  <a:lnTo>
                    <a:pt x="310" y="296"/>
                  </a:lnTo>
                  <a:lnTo>
                    <a:pt x="304" y="294"/>
                  </a:lnTo>
                  <a:lnTo>
                    <a:pt x="298" y="290"/>
                  </a:lnTo>
                  <a:lnTo>
                    <a:pt x="292" y="288"/>
                  </a:lnTo>
                  <a:lnTo>
                    <a:pt x="288" y="286"/>
                  </a:lnTo>
                  <a:lnTo>
                    <a:pt x="286" y="284"/>
                  </a:lnTo>
                  <a:lnTo>
                    <a:pt x="284" y="282"/>
                  </a:lnTo>
                  <a:lnTo>
                    <a:pt x="282" y="282"/>
                  </a:lnTo>
                  <a:lnTo>
                    <a:pt x="280" y="280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6" y="278"/>
                  </a:lnTo>
                  <a:lnTo>
                    <a:pt x="276" y="276"/>
                  </a:lnTo>
                  <a:lnTo>
                    <a:pt x="276" y="276"/>
                  </a:lnTo>
                  <a:lnTo>
                    <a:pt x="274" y="276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70" y="280"/>
                  </a:lnTo>
                  <a:lnTo>
                    <a:pt x="270" y="280"/>
                  </a:lnTo>
                  <a:lnTo>
                    <a:pt x="270" y="280"/>
                  </a:lnTo>
                  <a:lnTo>
                    <a:pt x="268" y="282"/>
                  </a:lnTo>
                  <a:lnTo>
                    <a:pt x="268" y="286"/>
                  </a:lnTo>
                  <a:lnTo>
                    <a:pt x="266" y="288"/>
                  </a:lnTo>
                  <a:lnTo>
                    <a:pt x="264" y="292"/>
                  </a:lnTo>
                  <a:lnTo>
                    <a:pt x="264" y="294"/>
                  </a:lnTo>
                  <a:lnTo>
                    <a:pt x="262" y="296"/>
                  </a:lnTo>
                  <a:lnTo>
                    <a:pt x="262" y="296"/>
                  </a:lnTo>
                  <a:lnTo>
                    <a:pt x="260" y="296"/>
                  </a:lnTo>
                  <a:lnTo>
                    <a:pt x="258" y="298"/>
                  </a:lnTo>
                  <a:lnTo>
                    <a:pt x="256" y="298"/>
                  </a:lnTo>
                  <a:lnTo>
                    <a:pt x="254" y="298"/>
                  </a:lnTo>
                  <a:lnTo>
                    <a:pt x="252" y="298"/>
                  </a:lnTo>
                  <a:lnTo>
                    <a:pt x="250" y="296"/>
                  </a:lnTo>
                  <a:lnTo>
                    <a:pt x="248" y="296"/>
                  </a:lnTo>
                  <a:lnTo>
                    <a:pt x="248" y="294"/>
                  </a:lnTo>
                  <a:lnTo>
                    <a:pt x="248" y="294"/>
                  </a:lnTo>
                  <a:lnTo>
                    <a:pt x="248" y="290"/>
                  </a:lnTo>
                  <a:lnTo>
                    <a:pt x="250" y="286"/>
                  </a:lnTo>
                  <a:lnTo>
                    <a:pt x="252" y="280"/>
                  </a:lnTo>
                  <a:lnTo>
                    <a:pt x="252" y="276"/>
                  </a:lnTo>
                  <a:lnTo>
                    <a:pt x="254" y="270"/>
                  </a:lnTo>
                  <a:lnTo>
                    <a:pt x="254" y="266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2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4" y="260"/>
                  </a:lnTo>
                  <a:lnTo>
                    <a:pt x="254" y="258"/>
                  </a:lnTo>
                  <a:lnTo>
                    <a:pt x="254" y="258"/>
                  </a:lnTo>
                  <a:lnTo>
                    <a:pt x="254" y="258"/>
                  </a:lnTo>
                  <a:lnTo>
                    <a:pt x="252" y="256"/>
                  </a:lnTo>
                  <a:lnTo>
                    <a:pt x="252" y="256"/>
                  </a:lnTo>
                  <a:lnTo>
                    <a:pt x="250" y="256"/>
                  </a:lnTo>
                  <a:lnTo>
                    <a:pt x="250" y="256"/>
                  </a:lnTo>
                  <a:lnTo>
                    <a:pt x="250" y="256"/>
                  </a:lnTo>
                  <a:lnTo>
                    <a:pt x="248" y="256"/>
                  </a:lnTo>
                  <a:lnTo>
                    <a:pt x="246" y="256"/>
                  </a:lnTo>
                  <a:lnTo>
                    <a:pt x="246" y="256"/>
                  </a:lnTo>
                  <a:lnTo>
                    <a:pt x="246" y="256"/>
                  </a:lnTo>
                  <a:lnTo>
                    <a:pt x="242" y="258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4" y="260"/>
                  </a:lnTo>
                  <a:lnTo>
                    <a:pt x="234" y="260"/>
                  </a:lnTo>
                  <a:lnTo>
                    <a:pt x="234" y="260"/>
                  </a:lnTo>
                  <a:lnTo>
                    <a:pt x="230" y="264"/>
                  </a:lnTo>
                  <a:lnTo>
                    <a:pt x="230" y="264"/>
                  </a:lnTo>
                  <a:lnTo>
                    <a:pt x="228" y="264"/>
                  </a:lnTo>
                  <a:lnTo>
                    <a:pt x="228" y="266"/>
                  </a:lnTo>
                  <a:lnTo>
                    <a:pt x="228" y="266"/>
                  </a:lnTo>
                  <a:lnTo>
                    <a:pt x="226" y="266"/>
                  </a:lnTo>
                  <a:lnTo>
                    <a:pt x="226" y="268"/>
                  </a:lnTo>
                  <a:lnTo>
                    <a:pt x="226" y="268"/>
                  </a:lnTo>
                  <a:lnTo>
                    <a:pt x="226" y="270"/>
                  </a:lnTo>
                  <a:lnTo>
                    <a:pt x="224" y="272"/>
                  </a:lnTo>
                  <a:lnTo>
                    <a:pt x="224" y="272"/>
                  </a:lnTo>
                  <a:lnTo>
                    <a:pt x="224" y="272"/>
                  </a:lnTo>
                  <a:lnTo>
                    <a:pt x="224" y="276"/>
                  </a:lnTo>
                  <a:lnTo>
                    <a:pt x="224" y="280"/>
                  </a:lnTo>
                  <a:lnTo>
                    <a:pt x="224" y="284"/>
                  </a:lnTo>
                  <a:lnTo>
                    <a:pt x="224" y="288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0" y="290"/>
                  </a:lnTo>
                  <a:lnTo>
                    <a:pt x="218" y="286"/>
                  </a:lnTo>
                  <a:lnTo>
                    <a:pt x="214" y="284"/>
                  </a:lnTo>
                  <a:lnTo>
                    <a:pt x="212" y="280"/>
                  </a:lnTo>
                  <a:lnTo>
                    <a:pt x="210" y="276"/>
                  </a:lnTo>
                  <a:lnTo>
                    <a:pt x="208" y="274"/>
                  </a:lnTo>
                  <a:lnTo>
                    <a:pt x="206" y="270"/>
                  </a:lnTo>
                  <a:lnTo>
                    <a:pt x="204" y="268"/>
                  </a:lnTo>
                  <a:lnTo>
                    <a:pt x="202" y="262"/>
                  </a:lnTo>
                  <a:lnTo>
                    <a:pt x="200" y="258"/>
                  </a:lnTo>
                  <a:lnTo>
                    <a:pt x="200" y="254"/>
                  </a:lnTo>
                  <a:lnTo>
                    <a:pt x="198" y="252"/>
                  </a:lnTo>
                  <a:lnTo>
                    <a:pt x="196" y="250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2" y="246"/>
                  </a:lnTo>
                  <a:lnTo>
                    <a:pt x="192" y="246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8"/>
                  </a:lnTo>
                  <a:lnTo>
                    <a:pt x="192" y="262"/>
                  </a:lnTo>
                  <a:lnTo>
                    <a:pt x="192" y="266"/>
                  </a:lnTo>
                  <a:lnTo>
                    <a:pt x="192" y="268"/>
                  </a:lnTo>
                  <a:lnTo>
                    <a:pt x="192" y="270"/>
                  </a:lnTo>
                  <a:lnTo>
                    <a:pt x="192" y="270"/>
                  </a:lnTo>
                  <a:lnTo>
                    <a:pt x="192" y="272"/>
                  </a:lnTo>
                  <a:lnTo>
                    <a:pt x="190" y="274"/>
                  </a:lnTo>
                  <a:lnTo>
                    <a:pt x="186" y="278"/>
                  </a:lnTo>
                  <a:lnTo>
                    <a:pt x="186" y="278"/>
                  </a:lnTo>
                  <a:lnTo>
                    <a:pt x="186" y="278"/>
                  </a:lnTo>
                  <a:lnTo>
                    <a:pt x="184" y="276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6" y="272"/>
                  </a:lnTo>
                  <a:lnTo>
                    <a:pt x="172" y="272"/>
                  </a:lnTo>
                  <a:lnTo>
                    <a:pt x="166" y="274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6" y="278"/>
                  </a:lnTo>
                  <a:lnTo>
                    <a:pt x="154" y="278"/>
                  </a:lnTo>
                  <a:lnTo>
                    <a:pt x="154" y="278"/>
                  </a:lnTo>
                  <a:lnTo>
                    <a:pt x="154" y="280"/>
                  </a:lnTo>
                  <a:lnTo>
                    <a:pt x="154" y="280"/>
                  </a:lnTo>
                  <a:lnTo>
                    <a:pt x="154" y="280"/>
                  </a:lnTo>
                  <a:lnTo>
                    <a:pt x="152" y="282"/>
                  </a:lnTo>
                  <a:lnTo>
                    <a:pt x="152" y="284"/>
                  </a:lnTo>
                  <a:lnTo>
                    <a:pt x="152" y="284"/>
                  </a:lnTo>
                  <a:lnTo>
                    <a:pt x="152" y="284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94"/>
                  </a:lnTo>
                  <a:lnTo>
                    <a:pt x="150" y="298"/>
                  </a:lnTo>
                  <a:lnTo>
                    <a:pt x="152" y="300"/>
                  </a:lnTo>
                  <a:lnTo>
                    <a:pt x="152" y="302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0" y="306"/>
                  </a:lnTo>
                  <a:lnTo>
                    <a:pt x="146" y="304"/>
                  </a:lnTo>
                  <a:lnTo>
                    <a:pt x="144" y="302"/>
                  </a:lnTo>
                  <a:lnTo>
                    <a:pt x="140" y="302"/>
                  </a:lnTo>
                  <a:lnTo>
                    <a:pt x="136" y="300"/>
                  </a:lnTo>
                  <a:lnTo>
                    <a:pt x="132" y="298"/>
                  </a:lnTo>
                  <a:lnTo>
                    <a:pt x="132" y="298"/>
                  </a:lnTo>
                  <a:lnTo>
                    <a:pt x="132" y="298"/>
                  </a:lnTo>
                  <a:lnTo>
                    <a:pt x="130" y="298"/>
                  </a:lnTo>
                  <a:lnTo>
                    <a:pt x="130" y="298"/>
                  </a:lnTo>
                  <a:lnTo>
                    <a:pt x="128" y="300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8"/>
                  </a:lnTo>
                  <a:lnTo>
                    <a:pt x="126" y="312"/>
                  </a:lnTo>
                  <a:lnTo>
                    <a:pt x="126" y="316"/>
                  </a:lnTo>
                  <a:lnTo>
                    <a:pt x="128" y="318"/>
                  </a:lnTo>
                  <a:lnTo>
                    <a:pt x="128" y="32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6" y="322"/>
                  </a:lnTo>
                  <a:lnTo>
                    <a:pt x="124" y="322"/>
                  </a:lnTo>
                  <a:lnTo>
                    <a:pt x="124" y="322"/>
                  </a:lnTo>
                  <a:lnTo>
                    <a:pt x="120" y="322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16" y="318"/>
                  </a:lnTo>
                  <a:lnTo>
                    <a:pt x="118" y="316"/>
                  </a:lnTo>
                  <a:lnTo>
                    <a:pt x="118" y="314"/>
                  </a:lnTo>
                  <a:lnTo>
                    <a:pt x="118" y="310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6" y="304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14" y="302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10" y="298"/>
                  </a:lnTo>
                  <a:lnTo>
                    <a:pt x="106" y="298"/>
                  </a:lnTo>
                  <a:lnTo>
                    <a:pt x="102" y="298"/>
                  </a:lnTo>
                  <a:lnTo>
                    <a:pt x="98" y="296"/>
                  </a:lnTo>
                  <a:lnTo>
                    <a:pt x="94" y="296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6" y="300"/>
                  </a:lnTo>
                  <a:lnTo>
                    <a:pt x="84" y="302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4" y="306"/>
                  </a:lnTo>
                  <a:lnTo>
                    <a:pt x="84" y="310"/>
                  </a:lnTo>
                  <a:lnTo>
                    <a:pt x="84" y="312"/>
                  </a:lnTo>
                  <a:lnTo>
                    <a:pt x="84" y="314"/>
                  </a:lnTo>
                  <a:lnTo>
                    <a:pt x="84" y="316"/>
                  </a:lnTo>
                  <a:lnTo>
                    <a:pt x="84" y="316"/>
                  </a:lnTo>
                  <a:lnTo>
                    <a:pt x="82" y="318"/>
                  </a:lnTo>
                  <a:lnTo>
                    <a:pt x="80" y="318"/>
                  </a:lnTo>
                  <a:lnTo>
                    <a:pt x="78" y="318"/>
                  </a:lnTo>
                  <a:lnTo>
                    <a:pt x="76" y="318"/>
                  </a:lnTo>
                  <a:lnTo>
                    <a:pt x="74" y="320"/>
                  </a:lnTo>
                  <a:lnTo>
                    <a:pt x="70" y="318"/>
                  </a:lnTo>
                  <a:lnTo>
                    <a:pt x="66" y="318"/>
                  </a:lnTo>
                  <a:lnTo>
                    <a:pt x="64" y="316"/>
                  </a:lnTo>
                  <a:lnTo>
                    <a:pt x="60" y="316"/>
                  </a:lnTo>
                  <a:lnTo>
                    <a:pt x="54" y="312"/>
                  </a:lnTo>
                  <a:lnTo>
                    <a:pt x="50" y="308"/>
                  </a:lnTo>
                  <a:lnTo>
                    <a:pt x="44" y="306"/>
                  </a:lnTo>
                  <a:lnTo>
                    <a:pt x="38" y="302"/>
                  </a:lnTo>
                  <a:lnTo>
                    <a:pt x="32" y="298"/>
                  </a:lnTo>
                  <a:lnTo>
                    <a:pt x="28" y="294"/>
                  </a:lnTo>
                  <a:lnTo>
                    <a:pt x="24" y="292"/>
                  </a:lnTo>
                  <a:lnTo>
                    <a:pt x="22" y="290"/>
                  </a:lnTo>
                  <a:lnTo>
                    <a:pt x="20" y="290"/>
                  </a:lnTo>
                  <a:lnTo>
                    <a:pt x="20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4" y="286"/>
                  </a:lnTo>
                  <a:lnTo>
                    <a:pt x="14" y="282"/>
                  </a:lnTo>
                  <a:lnTo>
                    <a:pt x="12" y="280"/>
                  </a:lnTo>
                  <a:lnTo>
                    <a:pt x="12" y="280"/>
                  </a:lnTo>
                  <a:lnTo>
                    <a:pt x="12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6" y="278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4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8"/>
                  </a:lnTo>
                  <a:lnTo>
                    <a:pt x="4" y="304"/>
                  </a:lnTo>
                  <a:lnTo>
                    <a:pt x="2" y="310"/>
                  </a:lnTo>
                  <a:lnTo>
                    <a:pt x="2" y="318"/>
                  </a:lnTo>
                  <a:lnTo>
                    <a:pt x="2" y="326"/>
                  </a:lnTo>
                  <a:lnTo>
                    <a:pt x="2" y="336"/>
                  </a:lnTo>
                  <a:lnTo>
                    <a:pt x="2" y="346"/>
                  </a:lnTo>
                  <a:lnTo>
                    <a:pt x="2" y="356"/>
                  </a:lnTo>
                  <a:lnTo>
                    <a:pt x="2" y="376"/>
                  </a:lnTo>
                  <a:lnTo>
                    <a:pt x="2" y="398"/>
                  </a:lnTo>
                  <a:lnTo>
                    <a:pt x="2" y="442"/>
                  </a:lnTo>
                  <a:lnTo>
                    <a:pt x="2" y="452"/>
                  </a:lnTo>
                  <a:lnTo>
                    <a:pt x="2" y="464"/>
                  </a:lnTo>
                  <a:lnTo>
                    <a:pt x="2" y="476"/>
                  </a:lnTo>
                  <a:lnTo>
                    <a:pt x="2" y="488"/>
                  </a:lnTo>
                  <a:lnTo>
                    <a:pt x="2" y="514"/>
                  </a:lnTo>
                  <a:lnTo>
                    <a:pt x="0" y="538"/>
                  </a:lnTo>
                  <a:lnTo>
                    <a:pt x="0" y="552"/>
                  </a:lnTo>
                  <a:lnTo>
                    <a:pt x="0" y="564"/>
                  </a:lnTo>
                  <a:lnTo>
                    <a:pt x="0" y="574"/>
                  </a:lnTo>
                  <a:lnTo>
                    <a:pt x="0" y="586"/>
                  </a:lnTo>
                  <a:lnTo>
                    <a:pt x="0" y="596"/>
                  </a:lnTo>
                  <a:lnTo>
                    <a:pt x="0" y="604"/>
                  </a:lnTo>
                  <a:lnTo>
                    <a:pt x="0" y="612"/>
                  </a:lnTo>
                  <a:lnTo>
                    <a:pt x="0" y="618"/>
                  </a:lnTo>
                  <a:lnTo>
                    <a:pt x="0" y="624"/>
                  </a:lnTo>
                  <a:lnTo>
                    <a:pt x="2" y="628"/>
                  </a:lnTo>
                  <a:lnTo>
                    <a:pt x="2" y="632"/>
                  </a:lnTo>
                  <a:lnTo>
                    <a:pt x="2" y="634"/>
                  </a:lnTo>
                  <a:lnTo>
                    <a:pt x="2" y="634"/>
                  </a:lnTo>
                  <a:lnTo>
                    <a:pt x="2" y="636"/>
                  </a:lnTo>
                  <a:lnTo>
                    <a:pt x="4" y="636"/>
                  </a:lnTo>
                  <a:lnTo>
                    <a:pt x="4" y="636"/>
                  </a:lnTo>
                  <a:lnTo>
                    <a:pt x="4" y="638"/>
                  </a:lnTo>
                  <a:lnTo>
                    <a:pt x="4" y="638"/>
                  </a:lnTo>
                  <a:lnTo>
                    <a:pt x="4" y="638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8" y="640"/>
                  </a:lnTo>
                  <a:lnTo>
                    <a:pt x="8" y="640"/>
                  </a:lnTo>
                  <a:lnTo>
                    <a:pt x="8" y="640"/>
                  </a:lnTo>
                  <a:lnTo>
                    <a:pt x="10" y="640"/>
                  </a:lnTo>
                  <a:lnTo>
                    <a:pt x="12" y="638"/>
                  </a:lnTo>
                  <a:lnTo>
                    <a:pt x="14" y="636"/>
                  </a:lnTo>
                  <a:lnTo>
                    <a:pt x="14" y="636"/>
                  </a:lnTo>
                  <a:lnTo>
                    <a:pt x="14" y="636"/>
                  </a:lnTo>
                  <a:lnTo>
                    <a:pt x="18" y="638"/>
                  </a:lnTo>
                  <a:lnTo>
                    <a:pt x="24" y="642"/>
                  </a:lnTo>
                  <a:lnTo>
                    <a:pt x="28" y="644"/>
                  </a:lnTo>
                  <a:lnTo>
                    <a:pt x="32" y="646"/>
                  </a:lnTo>
                  <a:lnTo>
                    <a:pt x="34" y="648"/>
                  </a:lnTo>
                  <a:lnTo>
                    <a:pt x="40" y="654"/>
                  </a:lnTo>
                  <a:lnTo>
                    <a:pt x="48" y="660"/>
                  </a:lnTo>
                  <a:lnTo>
                    <a:pt x="54" y="666"/>
                  </a:lnTo>
                  <a:lnTo>
                    <a:pt x="60" y="674"/>
                  </a:lnTo>
                  <a:lnTo>
                    <a:pt x="64" y="678"/>
                  </a:lnTo>
                  <a:lnTo>
                    <a:pt x="66" y="682"/>
                  </a:lnTo>
                  <a:lnTo>
                    <a:pt x="72" y="694"/>
                  </a:lnTo>
                  <a:lnTo>
                    <a:pt x="78" y="704"/>
                  </a:lnTo>
                  <a:lnTo>
                    <a:pt x="82" y="708"/>
                  </a:lnTo>
                  <a:lnTo>
                    <a:pt x="84" y="714"/>
                  </a:lnTo>
                  <a:lnTo>
                    <a:pt x="90" y="722"/>
                  </a:lnTo>
                  <a:lnTo>
                    <a:pt x="96" y="730"/>
                  </a:lnTo>
                  <a:lnTo>
                    <a:pt x="102" y="736"/>
                  </a:lnTo>
                  <a:lnTo>
                    <a:pt x="106" y="744"/>
                  </a:lnTo>
                  <a:lnTo>
                    <a:pt x="108" y="746"/>
                  </a:lnTo>
                  <a:lnTo>
                    <a:pt x="110" y="750"/>
                  </a:lnTo>
                  <a:lnTo>
                    <a:pt x="112" y="756"/>
                  </a:lnTo>
                  <a:lnTo>
                    <a:pt x="114" y="760"/>
                  </a:lnTo>
                  <a:lnTo>
                    <a:pt x="116" y="762"/>
                  </a:lnTo>
                  <a:lnTo>
                    <a:pt x="116" y="762"/>
                  </a:lnTo>
                  <a:lnTo>
                    <a:pt x="118" y="764"/>
                  </a:lnTo>
                  <a:lnTo>
                    <a:pt x="118" y="764"/>
                  </a:lnTo>
                  <a:lnTo>
                    <a:pt x="118" y="766"/>
                  </a:lnTo>
                  <a:lnTo>
                    <a:pt x="120" y="766"/>
                  </a:lnTo>
                  <a:lnTo>
                    <a:pt x="120" y="766"/>
                  </a:lnTo>
                  <a:lnTo>
                    <a:pt x="122" y="768"/>
                  </a:lnTo>
                  <a:lnTo>
                    <a:pt x="124" y="768"/>
                  </a:lnTo>
                  <a:lnTo>
                    <a:pt x="124" y="768"/>
                  </a:lnTo>
                  <a:lnTo>
                    <a:pt x="124" y="768"/>
                  </a:lnTo>
                  <a:lnTo>
                    <a:pt x="128" y="768"/>
                  </a:lnTo>
                  <a:lnTo>
                    <a:pt x="128" y="768"/>
                  </a:lnTo>
                  <a:lnTo>
                    <a:pt x="128" y="768"/>
                  </a:lnTo>
                  <a:lnTo>
                    <a:pt x="132" y="766"/>
                  </a:lnTo>
                  <a:lnTo>
                    <a:pt x="134" y="766"/>
                  </a:lnTo>
                  <a:lnTo>
                    <a:pt x="138" y="764"/>
                  </a:lnTo>
                  <a:lnTo>
                    <a:pt x="140" y="764"/>
                  </a:lnTo>
                  <a:lnTo>
                    <a:pt x="142" y="764"/>
                  </a:lnTo>
                  <a:lnTo>
                    <a:pt x="144" y="764"/>
                  </a:lnTo>
                  <a:lnTo>
                    <a:pt x="144" y="766"/>
                  </a:lnTo>
                  <a:lnTo>
                    <a:pt x="146" y="768"/>
                  </a:lnTo>
                  <a:lnTo>
                    <a:pt x="148" y="770"/>
                  </a:lnTo>
                  <a:lnTo>
                    <a:pt x="150" y="774"/>
                  </a:lnTo>
                  <a:lnTo>
                    <a:pt x="154" y="780"/>
                  </a:lnTo>
                  <a:lnTo>
                    <a:pt x="156" y="784"/>
                  </a:lnTo>
                  <a:lnTo>
                    <a:pt x="158" y="788"/>
                  </a:lnTo>
                  <a:lnTo>
                    <a:pt x="162" y="794"/>
                  </a:lnTo>
                  <a:lnTo>
                    <a:pt x="166" y="798"/>
                  </a:lnTo>
                  <a:lnTo>
                    <a:pt x="170" y="804"/>
                  </a:lnTo>
                  <a:lnTo>
                    <a:pt x="174" y="808"/>
                  </a:lnTo>
                  <a:lnTo>
                    <a:pt x="174" y="812"/>
                  </a:lnTo>
                  <a:lnTo>
                    <a:pt x="176" y="814"/>
                  </a:lnTo>
                  <a:lnTo>
                    <a:pt x="180" y="822"/>
                  </a:lnTo>
                  <a:lnTo>
                    <a:pt x="182" y="826"/>
                  </a:lnTo>
                  <a:lnTo>
                    <a:pt x="184" y="830"/>
                  </a:lnTo>
                  <a:lnTo>
                    <a:pt x="188" y="834"/>
                  </a:lnTo>
                  <a:lnTo>
                    <a:pt x="190" y="836"/>
                  </a:lnTo>
                  <a:lnTo>
                    <a:pt x="190" y="836"/>
                  </a:lnTo>
                  <a:lnTo>
                    <a:pt x="190" y="838"/>
                  </a:lnTo>
                  <a:lnTo>
                    <a:pt x="194" y="840"/>
                  </a:lnTo>
                  <a:lnTo>
                    <a:pt x="194" y="840"/>
                  </a:lnTo>
                  <a:lnTo>
                    <a:pt x="194" y="840"/>
                  </a:lnTo>
                  <a:lnTo>
                    <a:pt x="196" y="840"/>
                  </a:lnTo>
                  <a:lnTo>
                    <a:pt x="204" y="844"/>
                  </a:lnTo>
                  <a:lnTo>
                    <a:pt x="210" y="846"/>
                  </a:lnTo>
                  <a:lnTo>
                    <a:pt x="212" y="846"/>
                  </a:lnTo>
                  <a:lnTo>
                    <a:pt x="216" y="848"/>
                  </a:lnTo>
                  <a:lnTo>
                    <a:pt x="226" y="854"/>
                  </a:lnTo>
                  <a:lnTo>
                    <a:pt x="238" y="860"/>
                  </a:lnTo>
                  <a:lnTo>
                    <a:pt x="242" y="860"/>
                  </a:lnTo>
                  <a:lnTo>
                    <a:pt x="246" y="862"/>
                  </a:lnTo>
                  <a:lnTo>
                    <a:pt x="254" y="864"/>
                  </a:lnTo>
                  <a:lnTo>
                    <a:pt x="258" y="866"/>
                  </a:lnTo>
                  <a:lnTo>
                    <a:pt x="260" y="866"/>
                  </a:lnTo>
                  <a:lnTo>
                    <a:pt x="262" y="868"/>
                  </a:lnTo>
                  <a:lnTo>
                    <a:pt x="264" y="868"/>
                  </a:lnTo>
                  <a:lnTo>
                    <a:pt x="266" y="870"/>
                  </a:lnTo>
                  <a:lnTo>
                    <a:pt x="266" y="872"/>
                  </a:lnTo>
                  <a:lnTo>
                    <a:pt x="266" y="874"/>
                  </a:lnTo>
                  <a:lnTo>
                    <a:pt x="266" y="876"/>
                  </a:lnTo>
                  <a:lnTo>
                    <a:pt x="266" y="878"/>
                  </a:lnTo>
                  <a:lnTo>
                    <a:pt x="268" y="882"/>
                  </a:lnTo>
                  <a:lnTo>
                    <a:pt x="268" y="884"/>
                  </a:lnTo>
                  <a:lnTo>
                    <a:pt x="268" y="884"/>
                  </a:lnTo>
                  <a:lnTo>
                    <a:pt x="268" y="884"/>
                  </a:lnTo>
                  <a:lnTo>
                    <a:pt x="270" y="888"/>
                  </a:lnTo>
                  <a:lnTo>
                    <a:pt x="272" y="892"/>
                  </a:lnTo>
                  <a:lnTo>
                    <a:pt x="274" y="894"/>
                  </a:lnTo>
                  <a:lnTo>
                    <a:pt x="280" y="902"/>
                  </a:lnTo>
                  <a:lnTo>
                    <a:pt x="284" y="906"/>
                  </a:lnTo>
                  <a:lnTo>
                    <a:pt x="286" y="910"/>
                  </a:lnTo>
                  <a:lnTo>
                    <a:pt x="290" y="912"/>
                  </a:lnTo>
                  <a:lnTo>
                    <a:pt x="290" y="914"/>
                  </a:lnTo>
                  <a:lnTo>
                    <a:pt x="294" y="912"/>
                  </a:lnTo>
                  <a:lnTo>
                    <a:pt x="366" y="912"/>
                  </a:lnTo>
                  <a:lnTo>
                    <a:pt x="382" y="912"/>
                  </a:lnTo>
                  <a:lnTo>
                    <a:pt x="428" y="912"/>
                  </a:lnTo>
                  <a:lnTo>
                    <a:pt x="444" y="912"/>
                  </a:lnTo>
                  <a:lnTo>
                    <a:pt x="480" y="912"/>
                  </a:lnTo>
                  <a:lnTo>
                    <a:pt x="514" y="912"/>
                  </a:lnTo>
                  <a:lnTo>
                    <a:pt x="550" y="912"/>
                  </a:lnTo>
                  <a:lnTo>
                    <a:pt x="584" y="912"/>
                  </a:lnTo>
                  <a:lnTo>
                    <a:pt x="600" y="912"/>
                  </a:lnTo>
                  <a:lnTo>
                    <a:pt x="616" y="912"/>
                  </a:lnTo>
                  <a:lnTo>
                    <a:pt x="632" y="912"/>
                  </a:lnTo>
                  <a:lnTo>
                    <a:pt x="648" y="912"/>
                  </a:lnTo>
                  <a:lnTo>
                    <a:pt x="662" y="912"/>
                  </a:lnTo>
                  <a:lnTo>
                    <a:pt x="676" y="912"/>
                  </a:lnTo>
                  <a:lnTo>
                    <a:pt x="690" y="912"/>
                  </a:lnTo>
                  <a:lnTo>
                    <a:pt x="702" y="912"/>
                  </a:lnTo>
                  <a:lnTo>
                    <a:pt x="714" y="912"/>
                  </a:lnTo>
                  <a:lnTo>
                    <a:pt x="724" y="912"/>
                  </a:lnTo>
                  <a:lnTo>
                    <a:pt x="734" y="912"/>
                  </a:lnTo>
                  <a:lnTo>
                    <a:pt x="742" y="910"/>
                  </a:lnTo>
                  <a:lnTo>
                    <a:pt x="750" y="910"/>
                  </a:lnTo>
                  <a:lnTo>
                    <a:pt x="756" y="910"/>
                  </a:lnTo>
                  <a:lnTo>
                    <a:pt x="762" y="910"/>
                  </a:lnTo>
                  <a:lnTo>
                    <a:pt x="766" y="910"/>
                  </a:lnTo>
                  <a:lnTo>
                    <a:pt x="770" y="910"/>
                  </a:lnTo>
                  <a:lnTo>
                    <a:pt x="774" y="910"/>
                  </a:lnTo>
                  <a:lnTo>
                    <a:pt x="778" y="910"/>
                  </a:lnTo>
                  <a:lnTo>
                    <a:pt x="780" y="910"/>
                  </a:lnTo>
                  <a:lnTo>
                    <a:pt x="782" y="908"/>
                  </a:lnTo>
                  <a:lnTo>
                    <a:pt x="784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8" y="908"/>
                  </a:lnTo>
                  <a:lnTo>
                    <a:pt x="788" y="908"/>
                  </a:lnTo>
                  <a:lnTo>
                    <a:pt x="788" y="906"/>
                  </a:lnTo>
                  <a:lnTo>
                    <a:pt x="788" y="906"/>
                  </a:lnTo>
                  <a:lnTo>
                    <a:pt x="788" y="906"/>
                  </a:lnTo>
                  <a:lnTo>
                    <a:pt x="788" y="902"/>
                  </a:lnTo>
                  <a:lnTo>
                    <a:pt x="786" y="902"/>
                  </a:lnTo>
                  <a:lnTo>
                    <a:pt x="786" y="902"/>
                  </a:lnTo>
                  <a:lnTo>
                    <a:pt x="786" y="902"/>
                  </a:lnTo>
                  <a:lnTo>
                    <a:pt x="784" y="900"/>
                  </a:lnTo>
                  <a:lnTo>
                    <a:pt x="782" y="900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6"/>
                  </a:lnTo>
                  <a:lnTo>
                    <a:pt x="776" y="894"/>
                  </a:lnTo>
                  <a:lnTo>
                    <a:pt x="776" y="894"/>
                  </a:lnTo>
                  <a:lnTo>
                    <a:pt x="776" y="894"/>
                  </a:lnTo>
                  <a:lnTo>
                    <a:pt x="776" y="892"/>
                  </a:lnTo>
                  <a:lnTo>
                    <a:pt x="776" y="892"/>
                  </a:lnTo>
                  <a:lnTo>
                    <a:pt x="778" y="892"/>
                  </a:lnTo>
                  <a:lnTo>
                    <a:pt x="780" y="894"/>
                  </a:lnTo>
                  <a:lnTo>
                    <a:pt x="784" y="896"/>
                  </a:lnTo>
                  <a:lnTo>
                    <a:pt x="786" y="896"/>
                  </a:lnTo>
                  <a:lnTo>
                    <a:pt x="788" y="896"/>
                  </a:lnTo>
                  <a:lnTo>
                    <a:pt x="792" y="896"/>
                  </a:lnTo>
                  <a:lnTo>
                    <a:pt x="798" y="898"/>
                  </a:lnTo>
                  <a:lnTo>
                    <a:pt x="802" y="898"/>
                  </a:lnTo>
                  <a:lnTo>
                    <a:pt x="804" y="898"/>
                  </a:lnTo>
                  <a:lnTo>
                    <a:pt x="808" y="898"/>
                  </a:lnTo>
                  <a:lnTo>
                    <a:pt x="808" y="900"/>
                  </a:lnTo>
                  <a:lnTo>
                    <a:pt x="808" y="900"/>
                  </a:lnTo>
                  <a:lnTo>
                    <a:pt x="808" y="900"/>
                  </a:lnTo>
                  <a:lnTo>
                    <a:pt x="808" y="902"/>
                  </a:lnTo>
                  <a:lnTo>
                    <a:pt x="808" y="904"/>
                  </a:lnTo>
                  <a:lnTo>
                    <a:pt x="808" y="906"/>
                  </a:lnTo>
                  <a:lnTo>
                    <a:pt x="808" y="908"/>
                  </a:lnTo>
                  <a:lnTo>
                    <a:pt x="808" y="908"/>
                  </a:lnTo>
                  <a:lnTo>
                    <a:pt x="808" y="908"/>
                  </a:lnTo>
                  <a:lnTo>
                    <a:pt x="810" y="910"/>
                  </a:lnTo>
                  <a:lnTo>
                    <a:pt x="810" y="910"/>
                  </a:lnTo>
                  <a:lnTo>
                    <a:pt x="810" y="912"/>
                  </a:lnTo>
                  <a:lnTo>
                    <a:pt x="810" y="912"/>
                  </a:lnTo>
                  <a:lnTo>
                    <a:pt x="810" y="912"/>
                  </a:lnTo>
                  <a:lnTo>
                    <a:pt x="812" y="914"/>
                  </a:lnTo>
                  <a:lnTo>
                    <a:pt x="814" y="914"/>
                  </a:lnTo>
                  <a:lnTo>
                    <a:pt x="814" y="914"/>
                  </a:lnTo>
                  <a:lnTo>
                    <a:pt x="814" y="914"/>
                  </a:lnTo>
                  <a:lnTo>
                    <a:pt x="818" y="916"/>
                  </a:lnTo>
                  <a:lnTo>
                    <a:pt x="820" y="916"/>
                  </a:lnTo>
                  <a:lnTo>
                    <a:pt x="824" y="916"/>
                  </a:lnTo>
                  <a:lnTo>
                    <a:pt x="828" y="916"/>
                  </a:lnTo>
                  <a:lnTo>
                    <a:pt x="830" y="918"/>
                  </a:lnTo>
                  <a:lnTo>
                    <a:pt x="832" y="918"/>
                  </a:lnTo>
                  <a:lnTo>
                    <a:pt x="834" y="918"/>
                  </a:lnTo>
                  <a:lnTo>
                    <a:pt x="834" y="920"/>
                  </a:lnTo>
                  <a:lnTo>
                    <a:pt x="834" y="922"/>
                  </a:lnTo>
                  <a:lnTo>
                    <a:pt x="832" y="926"/>
                  </a:lnTo>
                  <a:lnTo>
                    <a:pt x="830" y="930"/>
                  </a:lnTo>
                  <a:lnTo>
                    <a:pt x="830" y="934"/>
                  </a:lnTo>
                  <a:lnTo>
                    <a:pt x="830" y="938"/>
                  </a:lnTo>
                  <a:lnTo>
                    <a:pt x="830" y="938"/>
                  </a:lnTo>
                  <a:lnTo>
                    <a:pt x="830" y="938"/>
                  </a:lnTo>
                  <a:lnTo>
                    <a:pt x="830" y="942"/>
                  </a:lnTo>
                  <a:lnTo>
                    <a:pt x="830" y="942"/>
                  </a:lnTo>
                  <a:lnTo>
                    <a:pt x="830" y="942"/>
                  </a:lnTo>
                  <a:lnTo>
                    <a:pt x="830" y="944"/>
                  </a:lnTo>
                  <a:lnTo>
                    <a:pt x="830" y="944"/>
                  </a:lnTo>
                  <a:lnTo>
                    <a:pt x="830" y="944"/>
                  </a:lnTo>
                  <a:lnTo>
                    <a:pt x="832" y="946"/>
                  </a:lnTo>
                  <a:lnTo>
                    <a:pt x="832" y="946"/>
                  </a:lnTo>
                  <a:lnTo>
                    <a:pt x="832" y="946"/>
                  </a:lnTo>
                  <a:lnTo>
                    <a:pt x="834" y="948"/>
                  </a:lnTo>
                  <a:lnTo>
                    <a:pt x="834" y="948"/>
                  </a:lnTo>
                  <a:lnTo>
                    <a:pt x="840" y="952"/>
                  </a:lnTo>
                  <a:lnTo>
                    <a:pt x="844" y="954"/>
                  </a:lnTo>
                  <a:lnTo>
                    <a:pt x="850" y="956"/>
                  </a:lnTo>
                  <a:lnTo>
                    <a:pt x="856" y="958"/>
                  </a:lnTo>
                  <a:lnTo>
                    <a:pt x="860" y="960"/>
                  </a:lnTo>
                  <a:lnTo>
                    <a:pt x="864" y="962"/>
                  </a:lnTo>
                  <a:lnTo>
                    <a:pt x="868" y="964"/>
                  </a:lnTo>
                  <a:lnTo>
                    <a:pt x="868" y="964"/>
                  </a:lnTo>
                  <a:lnTo>
                    <a:pt x="870" y="964"/>
                  </a:lnTo>
                  <a:lnTo>
                    <a:pt x="872" y="964"/>
                  </a:lnTo>
                  <a:lnTo>
                    <a:pt x="872" y="964"/>
                  </a:lnTo>
                  <a:lnTo>
                    <a:pt x="872" y="964"/>
                  </a:lnTo>
                  <a:lnTo>
                    <a:pt x="876" y="964"/>
                  </a:lnTo>
                  <a:lnTo>
                    <a:pt x="876" y="964"/>
                  </a:lnTo>
                  <a:lnTo>
                    <a:pt x="876" y="962"/>
                  </a:lnTo>
                  <a:lnTo>
                    <a:pt x="878" y="962"/>
                  </a:lnTo>
                  <a:lnTo>
                    <a:pt x="878" y="962"/>
                  </a:lnTo>
                  <a:lnTo>
                    <a:pt x="878" y="962"/>
                  </a:lnTo>
                  <a:lnTo>
                    <a:pt x="880" y="960"/>
                  </a:lnTo>
                  <a:lnTo>
                    <a:pt x="882" y="960"/>
                  </a:lnTo>
                  <a:lnTo>
                    <a:pt x="882" y="958"/>
                  </a:lnTo>
                  <a:lnTo>
                    <a:pt x="882" y="958"/>
                  </a:lnTo>
                  <a:lnTo>
                    <a:pt x="884" y="958"/>
                  </a:lnTo>
                  <a:lnTo>
                    <a:pt x="884" y="960"/>
                  </a:lnTo>
                  <a:lnTo>
                    <a:pt x="886" y="960"/>
                  </a:lnTo>
                  <a:lnTo>
                    <a:pt x="888" y="962"/>
                  </a:lnTo>
                  <a:lnTo>
                    <a:pt x="892" y="966"/>
                  </a:lnTo>
                  <a:lnTo>
                    <a:pt x="896" y="970"/>
                  </a:lnTo>
                  <a:lnTo>
                    <a:pt x="898" y="972"/>
                  </a:lnTo>
                  <a:lnTo>
                    <a:pt x="898" y="974"/>
                  </a:lnTo>
                  <a:lnTo>
                    <a:pt x="900" y="978"/>
                  </a:lnTo>
                  <a:lnTo>
                    <a:pt x="902" y="982"/>
                  </a:lnTo>
                  <a:lnTo>
                    <a:pt x="904" y="984"/>
                  </a:lnTo>
                  <a:lnTo>
                    <a:pt x="904" y="984"/>
                  </a:lnTo>
                  <a:lnTo>
                    <a:pt x="902" y="984"/>
                  </a:lnTo>
                  <a:lnTo>
                    <a:pt x="900" y="984"/>
                  </a:lnTo>
                  <a:lnTo>
                    <a:pt x="896" y="982"/>
                  </a:lnTo>
                  <a:lnTo>
                    <a:pt x="892" y="982"/>
                  </a:lnTo>
                  <a:lnTo>
                    <a:pt x="888" y="980"/>
                  </a:lnTo>
                  <a:lnTo>
                    <a:pt x="884" y="980"/>
                  </a:lnTo>
                  <a:lnTo>
                    <a:pt x="884" y="980"/>
                  </a:lnTo>
                  <a:lnTo>
                    <a:pt x="884" y="980"/>
                  </a:lnTo>
                  <a:lnTo>
                    <a:pt x="880" y="980"/>
                  </a:lnTo>
                  <a:lnTo>
                    <a:pt x="880" y="980"/>
                  </a:lnTo>
                  <a:lnTo>
                    <a:pt x="880" y="980"/>
                  </a:lnTo>
                  <a:lnTo>
                    <a:pt x="876" y="982"/>
                  </a:lnTo>
                  <a:lnTo>
                    <a:pt x="876" y="982"/>
                  </a:lnTo>
                  <a:lnTo>
                    <a:pt x="876" y="982"/>
                  </a:lnTo>
                  <a:lnTo>
                    <a:pt x="872" y="984"/>
                  </a:lnTo>
                  <a:lnTo>
                    <a:pt x="872" y="984"/>
                  </a:lnTo>
                  <a:lnTo>
                    <a:pt x="872" y="986"/>
                  </a:lnTo>
                  <a:lnTo>
                    <a:pt x="870" y="988"/>
                  </a:lnTo>
                  <a:lnTo>
                    <a:pt x="868" y="994"/>
                  </a:lnTo>
                  <a:lnTo>
                    <a:pt x="866" y="998"/>
                  </a:lnTo>
                  <a:lnTo>
                    <a:pt x="864" y="1008"/>
                  </a:lnTo>
                  <a:lnTo>
                    <a:pt x="862" y="1012"/>
                  </a:lnTo>
                  <a:lnTo>
                    <a:pt x="860" y="1016"/>
                  </a:lnTo>
                  <a:lnTo>
                    <a:pt x="856" y="1022"/>
                  </a:lnTo>
                  <a:lnTo>
                    <a:pt x="852" y="1030"/>
                  </a:lnTo>
                  <a:lnTo>
                    <a:pt x="850" y="1034"/>
                  </a:lnTo>
                  <a:lnTo>
                    <a:pt x="848" y="1036"/>
                  </a:lnTo>
                  <a:lnTo>
                    <a:pt x="846" y="1040"/>
                  </a:lnTo>
                  <a:lnTo>
                    <a:pt x="846" y="1042"/>
                  </a:lnTo>
                  <a:lnTo>
                    <a:pt x="846" y="1044"/>
                  </a:lnTo>
                  <a:lnTo>
                    <a:pt x="846" y="1044"/>
                  </a:lnTo>
                  <a:lnTo>
                    <a:pt x="846" y="1044"/>
                  </a:lnTo>
                  <a:lnTo>
                    <a:pt x="846" y="1046"/>
                  </a:lnTo>
                  <a:lnTo>
                    <a:pt x="846" y="1046"/>
                  </a:lnTo>
                  <a:lnTo>
                    <a:pt x="846" y="1046"/>
                  </a:lnTo>
                  <a:lnTo>
                    <a:pt x="846" y="1050"/>
                  </a:lnTo>
                  <a:lnTo>
                    <a:pt x="846" y="1050"/>
                  </a:lnTo>
                  <a:lnTo>
                    <a:pt x="846" y="1050"/>
                  </a:lnTo>
                  <a:lnTo>
                    <a:pt x="848" y="1050"/>
                  </a:lnTo>
                  <a:lnTo>
                    <a:pt x="848" y="1050"/>
                  </a:lnTo>
                  <a:lnTo>
                    <a:pt x="848" y="1052"/>
                  </a:lnTo>
                  <a:lnTo>
                    <a:pt x="848" y="1052"/>
                  </a:lnTo>
                  <a:lnTo>
                    <a:pt x="848" y="1052"/>
                  </a:lnTo>
                  <a:lnTo>
                    <a:pt x="850" y="1052"/>
                  </a:lnTo>
                  <a:lnTo>
                    <a:pt x="852" y="1052"/>
                  </a:lnTo>
                  <a:lnTo>
                    <a:pt x="852" y="1052"/>
                  </a:lnTo>
                  <a:lnTo>
                    <a:pt x="852" y="1052"/>
                  </a:lnTo>
                  <a:lnTo>
                    <a:pt x="854" y="1052"/>
                  </a:lnTo>
                  <a:lnTo>
                    <a:pt x="854" y="1052"/>
                  </a:lnTo>
                  <a:lnTo>
                    <a:pt x="854" y="1050"/>
                  </a:lnTo>
                  <a:lnTo>
                    <a:pt x="854" y="1050"/>
                  </a:lnTo>
                  <a:lnTo>
                    <a:pt x="854" y="1050"/>
                  </a:lnTo>
                  <a:lnTo>
                    <a:pt x="856" y="1048"/>
                  </a:lnTo>
                  <a:lnTo>
                    <a:pt x="856" y="1046"/>
                  </a:lnTo>
                  <a:lnTo>
                    <a:pt x="856" y="1044"/>
                  </a:lnTo>
                  <a:lnTo>
                    <a:pt x="858" y="1042"/>
                  </a:lnTo>
                  <a:lnTo>
                    <a:pt x="858" y="1038"/>
                  </a:lnTo>
                  <a:lnTo>
                    <a:pt x="860" y="1036"/>
                  </a:lnTo>
                  <a:lnTo>
                    <a:pt x="862" y="1034"/>
                  </a:lnTo>
                  <a:lnTo>
                    <a:pt x="864" y="1032"/>
                  </a:lnTo>
                  <a:lnTo>
                    <a:pt x="866" y="1032"/>
                  </a:lnTo>
                  <a:lnTo>
                    <a:pt x="868" y="1032"/>
                  </a:lnTo>
                  <a:lnTo>
                    <a:pt x="874" y="1030"/>
                  </a:lnTo>
                  <a:lnTo>
                    <a:pt x="880" y="1030"/>
                  </a:lnTo>
                  <a:lnTo>
                    <a:pt x="886" y="1030"/>
                  </a:lnTo>
                  <a:lnTo>
                    <a:pt x="892" y="1030"/>
                  </a:lnTo>
                  <a:lnTo>
                    <a:pt x="900" y="1028"/>
                  </a:lnTo>
                  <a:lnTo>
                    <a:pt x="904" y="1028"/>
                  </a:lnTo>
                  <a:lnTo>
                    <a:pt x="906" y="1028"/>
                  </a:lnTo>
                  <a:lnTo>
                    <a:pt x="908" y="1026"/>
                  </a:lnTo>
                  <a:lnTo>
                    <a:pt x="908" y="1026"/>
                  </a:lnTo>
                  <a:lnTo>
                    <a:pt x="910" y="1026"/>
                  </a:lnTo>
                  <a:lnTo>
                    <a:pt x="912" y="1024"/>
                  </a:lnTo>
                  <a:lnTo>
                    <a:pt x="912" y="1024"/>
                  </a:lnTo>
                  <a:lnTo>
                    <a:pt x="912" y="1024"/>
                  </a:lnTo>
                  <a:lnTo>
                    <a:pt x="914" y="1020"/>
                  </a:lnTo>
                  <a:lnTo>
                    <a:pt x="914" y="1020"/>
                  </a:lnTo>
                  <a:lnTo>
                    <a:pt x="914" y="1020"/>
                  </a:lnTo>
                  <a:lnTo>
                    <a:pt x="914" y="1018"/>
                  </a:lnTo>
                  <a:lnTo>
                    <a:pt x="914" y="1016"/>
                  </a:lnTo>
                  <a:lnTo>
                    <a:pt x="914" y="1014"/>
                  </a:lnTo>
                  <a:lnTo>
                    <a:pt x="914" y="1010"/>
                  </a:lnTo>
                  <a:lnTo>
                    <a:pt x="914" y="1008"/>
                  </a:lnTo>
                  <a:lnTo>
                    <a:pt x="916" y="1006"/>
                  </a:lnTo>
                  <a:lnTo>
                    <a:pt x="916" y="1006"/>
                  </a:lnTo>
                  <a:lnTo>
                    <a:pt x="918" y="1004"/>
                  </a:lnTo>
                  <a:lnTo>
                    <a:pt x="920" y="1004"/>
                  </a:lnTo>
                  <a:lnTo>
                    <a:pt x="922" y="1004"/>
                  </a:lnTo>
                  <a:lnTo>
                    <a:pt x="926" y="1004"/>
                  </a:lnTo>
                  <a:lnTo>
                    <a:pt x="932" y="1004"/>
                  </a:lnTo>
                  <a:lnTo>
                    <a:pt x="936" y="1004"/>
                  </a:lnTo>
                  <a:lnTo>
                    <a:pt x="940" y="1002"/>
                  </a:lnTo>
                  <a:lnTo>
                    <a:pt x="940" y="1002"/>
                  </a:lnTo>
                  <a:lnTo>
                    <a:pt x="940" y="1002"/>
                  </a:lnTo>
                  <a:lnTo>
                    <a:pt x="944" y="1002"/>
                  </a:lnTo>
                  <a:lnTo>
                    <a:pt x="944" y="1002"/>
                  </a:lnTo>
                  <a:lnTo>
                    <a:pt x="944" y="1002"/>
                  </a:lnTo>
                  <a:lnTo>
                    <a:pt x="948" y="1000"/>
                  </a:lnTo>
                  <a:lnTo>
                    <a:pt x="954" y="994"/>
                  </a:lnTo>
                  <a:lnTo>
                    <a:pt x="956" y="992"/>
                  </a:lnTo>
                  <a:lnTo>
                    <a:pt x="960" y="990"/>
                  </a:lnTo>
                  <a:lnTo>
                    <a:pt x="964" y="988"/>
                  </a:lnTo>
                  <a:lnTo>
                    <a:pt x="968" y="986"/>
                  </a:lnTo>
                  <a:lnTo>
                    <a:pt x="970" y="986"/>
                  </a:lnTo>
                  <a:lnTo>
                    <a:pt x="974" y="986"/>
                  </a:lnTo>
                  <a:lnTo>
                    <a:pt x="980" y="984"/>
                  </a:lnTo>
                  <a:lnTo>
                    <a:pt x="988" y="984"/>
                  </a:lnTo>
                  <a:lnTo>
                    <a:pt x="998" y="984"/>
                  </a:lnTo>
                  <a:lnTo>
                    <a:pt x="1006" y="984"/>
                  </a:lnTo>
                  <a:lnTo>
                    <a:pt x="1014" y="982"/>
                  </a:lnTo>
                  <a:lnTo>
                    <a:pt x="1018" y="982"/>
                  </a:lnTo>
                  <a:lnTo>
                    <a:pt x="1020" y="982"/>
                  </a:lnTo>
                  <a:lnTo>
                    <a:pt x="1024" y="982"/>
                  </a:lnTo>
                  <a:lnTo>
                    <a:pt x="1026" y="982"/>
                  </a:lnTo>
                  <a:lnTo>
                    <a:pt x="1030" y="980"/>
                  </a:lnTo>
                  <a:lnTo>
                    <a:pt x="1030" y="980"/>
                  </a:lnTo>
                  <a:lnTo>
                    <a:pt x="1030" y="980"/>
                  </a:lnTo>
                  <a:lnTo>
                    <a:pt x="1034" y="978"/>
                  </a:lnTo>
                  <a:lnTo>
                    <a:pt x="1034" y="978"/>
                  </a:lnTo>
                  <a:lnTo>
                    <a:pt x="1034" y="978"/>
                  </a:lnTo>
                  <a:lnTo>
                    <a:pt x="1036" y="976"/>
                  </a:lnTo>
                  <a:lnTo>
                    <a:pt x="1036" y="976"/>
                  </a:lnTo>
                  <a:lnTo>
                    <a:pt x="1036" y="976"/>
                  </a:lnTo>
                  <a:lnTo>
                    <a:pt x="1038" y="974"/>
                  </a:lnTo>
                  <a:lnTo>
                    <a:pt x="1038" y="974"/>
                  </a:lnTo>
                  <a:lnTo>
                    <a:pt x="1038" y="972"/>
                  </a:lnTo>
                  <a:lnTo>
                    <a:pt x="1038" y="970"/>
                  </a:lnTo>
                  <a:lnTo>
                    <a:pt x="1040" y="968"/>
                  </a:lnTo>
                  <a:lnTo>
                    <a:pt x="1040" y="968"/>
                  </a:lnTo>
                  <a:lnTo>
                    <a:pt x="1040" y="966"/>
                  </a:lnTo>
                  <a:lnTo>
                    <a:pt x="1046" y="960"/>
                  </a:lnTo>
                  <a:lnTo>
                    <a:pt x="1050" y="958"/>
                  </a:lnTo>
                  <a:lnTo>
                    <a:pt x="1052" y="954"/>
                  </a:lnTo>
                  <a:lnTo>
                    <a:pt x="1052" y="954"/>
                  </a:lnTo>
                  <a:lnTo>
                    <a:pt x="1052" y="952"/>
                  </a:lnTo>
                  <a:lnTo>
                    <a:pt x="1054" y="950"/>
                  </a:lnTo>
                  <a:lnTo>
                    <a:pt x="1054" y="948"/>
                  </a:lnTo>
                  <a:lnTo>
                    <a:pt x="1056" y="944"/>
                  </a:lnTo>
                  <a:lnTo>
                    <a:pt x="1058" y="940"/>
                  </a:lnTo>
                  <a:lnTo>
                    <a:pt x="1058" y="938"/>
                  </a:lnTo>
                  <a:lnTo>
                    <a:pt x="1058" y="936"/>
                  </a:lnTo>
                  <a:lnTo>
                    <a:pt x="1060" y="936"/>
                  </a:lnTo>
                  <a:lnTo>
                    <a:pt x="1062" y="934"/>
                  </a:lnTo>
                  <a:lnTo>
                    <a:pt x="1064" y="934"/>
                  </a:lnTo>
                  <a:lnTo>
                    <a:pt x="1068" y="934"/>
                  </a:lnTo>
                  <a:lnTo>
                    <a:pt x="1070" y="934"/>
                  </a:lnTo>
                  <a:lnTo>
                    <a:pt x="1074" y="932"/>
                  </a:lnTo>
                  <a:lnTo>
                    <a:pt x="1076" y="932"/>
                  </a:lnTo>
                  <a:lnTo>
                    <a:pt x="1076" y="932"/>
                  </a:lnTo>
                  <a:lnTo>
                    <a:pt x="1076" y="932"/>
                  </a:lnTo>
                  <a:lnTo>
                    <a:pt x="1076" y="934"/>
                  </a:lnTo>
                  <a:lnTo>
                    <a:pt x="1076" y="934"/>
                  </a:lnTo>
                  <a:lnTo>
                    <a:pt x="1078" y="936"/>
                  </a:lnTo>
                  <a:lnTo>
                    <a:pt x="1078" y="938"/>
                  </a:lnTo>
                  <a:lnTo>
                    <a:pt x="1078" y="942"/>
                  </a:lnTo>
                  <a:lnTo>
                    <a:pt x="1078" y="948"/>
                  </a:lnTo>
                  <a:lnTo>
                    <a:pt x="1078" y="950"/>
                  </a:lnTo>
                  <a:lnTo>
                    <a:pt x="1078" y="952"/>
                  </a:lnTo>
                  <a:lnTo>
                    <a:pt x="1076" y="958"/>
                  </a:lnTo>
                  <a:lnTo>
                    <a:pt x="1076" y="962"/>
                  </a:lnTo>
                  <a:lnTo>
                    <a:pt x="1078" y="966"/>
                  </a:lnTo>
                  <a:lnTo>
                    <a:pt x="1078" y="966"/>
                  </a:lnTo>
                  <a:lnTo>
                    <a:pt x="1078" y="968"/>
                  </a:lnTo>
                  <a:lnTo>
                    <a:pt x="1078" y="968"/>
                  </a:lnTo>
                  <a:lnTo>
                    <a:pt x="1078" y="968"/>
                  </a:lnTo>
                  <a:lnTo>
                    <a:pt x="1078" y="970"/>
                  </a:lnTo>
                  <a:lnTo>
                    <a:pt x="1080" y="970"/>
                  </a:lnTo>
                  <a:lnTo>
                    <a:pt x="1080" y="970"/>
                  </a:lnTo>
                  <a:lnTo>
                    <a:pt x="1080" y="972"/>
                  </a:lnTo>
                  <a:lnTo>
                    <a:pt x="1082" y="972"/>
                  </a:lnTo>
                  <a:lnTo>
                    <a:pt x="1084" y="974"/>
                  </a:lnTo>
                  <a:lnTo>
                    <a:pt x="1088" y="978"/>
                  </a:lnTo>
                  <a:lnTo>
                    <a:pt x="1092" y="980"/>
                  </a:lnTo>
                  <a:lnTo>
                    <a:pt x="1094" y="980"/>
                  </a:lnTo>
                  <a:lnTo>
                    <a:pt x="1094" y="980"/>
                  </a:lnTo>
                  <a:lnTo>
                    <a:pt x="1094" y="982"/>
                  </a:lnTo>
                  <a:lnTo>
                    <a:pt x="1096" y="982"/>
                  </a:lnTo>
                  <a:lnTo>
                    <a:pt x="1096" y="982"/>
                  </a:lnTo>
                  <a:lnTo>
                    <a:pt x="1098" y="982"/>
                  </a:lnTo>
                  <a:lnTo>
                    <a:pt x="1098" y="980"/>
                  </a:lnTo>
                  <a:lnTo>
                    <a:pt x="1098" y="980"/>
                  </a:lnTo>
                  <a:lnTo>
                    <a:pt x="1100" y="980"/>
                  </a:lnTo>
                  <a:lnTo>
                    <a:pt x="1100" y="978"/>
                  </a:lnTo>
                  <a:lnTo>
                    <a:pt x="1100" y="978"/>
                  </a:lnTo>
                  <a:lnTo>
                    <a:pt x="1100" y="978"/>
                  </a:lnTo>
                  <a:lnTo>
                    <a:pt x="1102" y="976"/>
                  </a:lnTo>
                  <a:lnTo>
                    <a:pt x="1102" y="976"/>
                  </a:lnTo>
                  <a:lnTo>
                    <a:pt x="1102" y="976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4" y="976"/>
                  </a:lnTo>
                  <a:lnTo>
                    <a:pt x="1104" y="976"/>
                  </a:lnTo>
                  <a:lnTo>
                    <a:pt x="1104" y="976"/>
                  </a:lnTo>
                  <a:lnTo>
                    <a:pt x="1106" y="976"/>
                  </a:lnTo>
                  <a:lnTo>
                    <a:pt x="1106" y="976"/>
                  </a:lnTo>
                  <a:lnTo>
                    <a:pt x="1106" y="976"/>
                  </a:lnTo>
                  <a:lnTo>
                    <a:pt x="1108" y="976"/>
                  </a:lnTo>
                  <a:lnTo>
                    <a:pt x="1110" y="974"/>
                  </a:lnTo>
                  <a:lnTo>
                    <a:pt x="1114" y="974"/>
                  </a:lnTo>
                  <a:lnTo>
                    <a:pt x="1118" y="972"/>
                  </a:lnTo>
                  <a:lnTo>
                    <a:pt x="1120" y="970"/>
                  </a:lnTo>
                  <a:lnTo>
                    <a:pt x="1120" y="970"/>
                  </a:lnTo>
                  <a:lnTo>
                    <a:pt x="1120" y="970"/>
                  </a:lnTo>
                  <a:lnTo>
                    <a:pt x="1120" y="974"/>
                  </a:lnTo>
                  <a:lnTo>
                    <a:pt x="1120" y="974"/>
                  </a:lnTo>
                  <a:lnTo>
                    <a:pt x="1122" y="976"/>
                  </a:lnTo>
                  <a:lnTo>
                    <a:pt x="1124" y="976"/>
                  </a:lnTo>
                  <a:lnTo>
                    <a:pt x="1106" y="982"/>
                  </a:lnTo>
                  <a:lnTo>
                    <a:pt x="1106" y="982"/>
                  </a:lnTo>
                  <a:lnTo>
                    <a:pt x="1104" y="984"/>
                  </a:lnTo>
                  <a:lnTo>
                    <a:pt x="1094" y="1002"/>
                  </a:lnTo>
                  <a:lnTo>
                    <a:pt x="1094" y="1002"/>
                  </a:lnTo>
                  <a:lnTo>
                    <a:pt x="1096" y="1004"/>
                  </a:lnTo>
                  <a:lnTo>
                    <a:pt x="1108" y="1022"/>
                  </a:lnTo>
                  <a:lnTo>
                    <a:pt x="1108" y="1022"/>
                  </a:lnTo>
                  <a:lnTo>
                    <a:pt x="1110" y="1024"/>
                  </a:lnTo>
                  <a:lnTo>
                    <a:pt x="1110" y="1024"/>
                  </a:lnTo>
                  <a:lnTo>
                    <a:pt x="1112" y="1022"/>
                  </a:lnTo>
                  <a:lnTo>
                    <a:pt x="1134" y="996"/>
                  </a:lnTo>
                  <a:lnTo>
                    <a:pt x="1142" y="1000"/>
                  </a:lnTo>
                  <a:lnTo>
                    <a:pt x="1142" y="1000"/>
                  </a:lnTo>
                  <a:lnTo>
                    <a:pt x="1146" y="998"/>
                  </a:lnTo>
                  <a:lnTo>
                    <a:pt x="1154" y="992"/>
                  </a:lnTo>
                  <a:lnTo>
                    <a:pt x="1186" y="980"/>
                  </a:lnTo>
                  <a:lnTo>
                    <a:pt x="1186" y="980"/>
                  </a:lnTo>
                  <a:lnTo>
                    <a:pt x="1188" y="980"/>
                  </a:lnTo>
                  <a:lnTo>
                    <a:pt x="1188" y="978"/>
                  </a:lnTo>
                  <a:lnTo>
                    <a:pt x="1188" y="972"/>
                  </a:lnTo>
                  <a:lnTo>
                    <a:pt x="1206" y="964"/>
                  </a:lnTo>
                  <a:lnTo>
                    <a:pt x="1206" y="964"/>
                  </a:lnTo>
                  <a:lnTo>
                    <a:pt x="1208" y="960"/>
                  </a:lnTo>
                  <a:lnTo>
                    <a:pt x="1208" y="960"/>
                  </a:lnTo>
                  <a:lnTo>
                    <a:pt x="1206" y="958"/>
                  </a:lnTo>
                  <a:lnTo>
                    <a:pt x="1196" y="954"/>
                  </a:lnTo>
                  <a:lnTo>
                    <a:pt x="1196" y="946"/>
                  </a:lnTo>
                  <a:lnTo>
                    <a:pt x="1196" y="946"/>
                  </a:lnTo>
                  <a:lnTo>
                    <a:pt x="1196" y="946"/>
                  </a:lnTo>
                  <a:lnTo>
                    <a:pt x="1194" y="936"/>
                  </a:lnTo>
                  <a:lnTo>
                    <a:pt x="1194" y="936"/>
                  </a:lnTo>
                  <a:lnTo>
                    <a:pt x="1190" y="934"/>
                  </a:lnTo>
                  <a:lnTo>
                    <a:pt x="1190" y="934"/>
                  </a:lnTo>
                  <a:lnTo>
                    <a:pt x="1188" y="936"/>
                  </a:lnTo>
                  <a:lnTo>
                    <a:pt x="1182" y="946"/>
                  </a:lnTo>
                  <a:lnTo>
                    <a:pt x="1174" y="956"/>
                  </a:lnTo>
                  <a:lnTo>
                    <a:pt x="1174" y="956"/>
                  </a:lnTo>
                  <a:lnTo>
                    <a:pt x="1172" y="958"/>
                  </a:lnTo>
                  <a:lnTo>
                    <a:pt x="1174" y="966"/>
                  </a:lnTo>
                  <a:lnTo>
                    <a:pt x="1174" y="966"/>
                  </a:lnTo>
                  <a:lnTo>
                    <a:pt x="1174" y="964"/>
                  </a:lnTo>
                  <a:lnTo>
                    <a:pt x="1174" y="964"/>
                  </a:lnTo>
                  <a:lnTo>
                    <a:pt x="1172" y="962"/>
                  </a:lnTo>
                  <a:lnTo>
                    <a:pt x="1172" y="962"/>
                  </a:lnTo>
                  <a:lnTo>
                    <a:pt x="1168" y="962"/>
                  </a:lnTo>
                  <a:lnTo>
                    <a:pt x="1164" y="964"/>
                  </a:lnTo>
                  <a:lnTo>
                    <a:pt x="1166" y="960"/>
                  </a:lnTo>
                  <a:lnTo>
                    <a:pt x="1172" y="954"/>
                  </a:lnTo>
                  <a:lnTo>
                    <a:pt x="1172" y="954"/>
                  </a:lnTo>
                  <a:lnTo>
                    <a:pt x="1172" y="950"/>
                  </a:lnTo>
                  <a:lnTo>
                    <a:pt x="1172" y="950"/>
                  </a:lnTo>
                  <a:lnTo>
                    <a:pt x="1168" y="948"/>
                  </a:lnTo>
                  <a:lnTo>
                    <a:pt x="1162" y="948"/>
                  </a:lnTo>
                  <a:lnTo>
                    <a:pt x="1150" y="946"/>
                  </a:lnTo>
                  <a:lnTo>
                    <a:pt x="1140" y="942"/>
                  </a:lnTo>
                  <a:lnTo>
                    <a:pt x="1138" y="938"/>
                  </a:lnTo>
                  <a:lnTo>
                    <a:pt x="1138" y="938"/>
                  </a:lnTo>
                  <a:lnTo>
                    <a:pt x="1136" y="936"/>
                  </a:lnTo>
                  <a:lnTo>
                    <a:pt x="1136" y="936"/>
                  </a:lnTo>
                  <a:lnTo>
                    <a:pt x="1134" y="936"/>
                  </a:lnTo>
                  <a:lnTo>
                    <a:pt x="1128" y="944"/>
                  </a:lnTo>
                  <a:lnTo>
                    <a:pt x="1128" y="944"/>
                  </a:lnTo>
                  <a:lnTo>
                    <a:pt x="1128" y="946"/>
                  </a:lnTo>
                  <a:lnTo>
                    <a:pt x="1130" y="948"/>
                  </a:lnTo>
                  <a:lnTo>
                    <a:pt x="1136" y="954"/>
                  </a:lnTo>
                  <a:lnTo>
                    <a:pt x="1136" y="954"/>
                  </a:lnTo>
                  <a:lnTo>
                    <a:pt x="1136" y="956"/>
                  </a:lnTo>
                  <a:lnTo>
                    <a:pt x="1134" y="956"/>
                  </a:lnTo>
                  <a:lnTo>
                    <a:pt x="1134" y="956"/>
                  </a:lnTo>
                  <a:lnTo>
                    <a:pt x="1134" y="956"/>
                  </a:lnTo>
                  <a:lnTo>
                    <a:pt x="1132" y="954"/>
                  </a:lnTo>
                  <a:lnTo>
                    <a:pt x="1130" y="952"/>
                  </a:lnTo>
                  <a:lnTo>
                    <a:pt x="1128" y="950"/>
                  </a:lnTo>
                  <a:lnTo>
                    <a:pt x="1126" y="948"/>
                  </a:lnTo>
                  <a:lnTo>
                    <a:pt x="1124" y="946"/>
                  </a:lnTo>
                  <a:lnTo>
                    <a:pt x="1124" y="946"/>
                  </a:lnTo>
                  <a:lnTo>
                    <a:pt x="1124" y="946"/>
                  </a:lnTo>
                  <a:lnTo>
                    <a:pt x="1124" y="944"/>
                  </a:lnTo>
                  <a:lnTo>
                    <a:pt x="1126" y="944"/>
                  </a:lnTo>
                  <a:lnTo>
                    <a:pt x="1126" y="942"/>
                  </a:lnTo>
                  <a:lnTo>
                    <a:pt x="1128" y="942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30" y="938"/>
                  </a:lnTo>
                  <a:lnTo>
                    <a:pt x="1130" y="936"/>
                  </a:lnTo>
                  <a:lnTo>
                    <a:pt x="1130" y="936"/>
                  </a:lnTo>
                  <a:lnTo>
                    <a:pt x="1128" y="934"/>
                  </a:lnTo>
                  <a:lnTo>
                    <a:pt x="1128" y="934"/>
                  </a:lnTo>
                  <a:lnTo>
                    <a:pt x="1128" y="934"/>
                  </a:lnTo>
                  <a:lnTo>
                    <a:pt x="1126" y="934"/>
                  </a:lnTo>
                  <a:lnTo>
                    <a:pt x="1124" y="934"/>
                  </a:lnTo>
                  <a:lnTo>
                    <a:pt x="1122" y="934"/>
                  </a:lnTo>
                  <a:lnTo>
                    <a:pt x="1120" y="934"/>
                  </a:lnTo>
                  <a:lnTo>
                    <a:pt x="1120" y="934"/>
                  </a:lnTo>
                  <a:lnTo>
                    <a:pt x="1120" y="934"/>
                  </a:lnTo>
                  <a:lnTo>
                    <a:pt x="1122" y="930"/>
                  </a:lnTo>
                  <a:lnTo>
                    <a:pt x="1122" y="928"/>
                  </a:lnTo>
                  <a:lnTo>
                    <a:pt x="1124" y="926"/>
                  </a:lnTo>
                  <a:lnTo>
                    <a:pt x="1126" y="924"/>
                  </a:lnTo>
                  <a:lnTo>
                    <a:pt x="1126" y="922"/>
                  </a:lnTo>
                  <a:lnTo>
                    <a:pt x="1126" y="922"/>
                  </a:lnTo>
                  <a:lnTo>
                    <a:pt x="1128" y="920"/>
                  </a:lnTo>
                  <a:lnTo>
                    <a:pt x="1128" y="920"/>
                  </a:lnTo>
                  <a:lnTo>
                    <a:pt x="1128" y="920"/>
                  </a:lnTo>
                  <a:lnTo>
                    <a:pt x="1126" y="918"/>
                  </a:lnTo>
                  <a:lnTo>
                    <a:pt x="1126" y="916"/>
                  </a:lnTo>
                  <a:lnTo>
                    <a:pt x="1126" y="916"/>
                  </a:lnTo>
                  <a:lnTo>
                    <a:pt x="1124" y="916"/>
                  </a:lnTo>
                  <a:lnTo>
                    <a:pt x="1124" y="916"/>
                  </a:lnTo>
                  <a:lnTo>
                    <a:pt x="1124" y="916"/>
                  </a:lnTo>
                  <a:lnTo>
                    <a:pt x="1122" y="916"/>
                  </a:lnTo>
                  <a:lnTo>
                    <a:pt x="1120" y="916"/>
                  </a:lnTo>
                  <a:lnTo>
                    <a:pt x="1118" y="916"/>
                  </a:lnTo>
                  <a:lnTo>
                    <a:pt x="1114" y="916"/>
                  </a:lnTo>
                  <a:lnTo>
                    <a:pt x="1114" y="916"/>
                  </a:lnTo>
                  <a:lnTo>
                    <a:pt x="1112" y="916"/>
                  </a:lnTo>
                  <a:lnTo>
                    <a:pt x="1112" y="916"/>
                  </a:lnTo>
                  <a:lnTo>
                    <a:pt x="1110" y="914"/>
                  </a:lnTo>
                  <a:lnTo>
                    <a:pt x="1104" y="912"/>
                  </a:lnTo>
                  <a:lnTo>
                    <a:pt x="1102" y="910"/>
                  </a:lnTo>
                  <a:lnTo>
                    <a:pt x="1102" y="910"/>
                  </a:lnTo>
                  <a:lnTo>
                    <a:pt x="1100" y="908"/>
                  </a:lnTo>
                  <a:lnTo>
                    <a:pt x="1100" y="908"/>
                  </a:lnTo>
                  <a:lnTo>
                    <a:pt x="1102" y="906"/>
                  </a:lnTo>
                  <a:lnTo>
                    <a:pt x="1106" y="904"/>
                  </a:lnTo>
                  <a:lnTo>
                    <a:pt x="1108" y="902"/>
                  </a:lnTo>
                  <a:lnTo>
                    <a:pt x="1112" y="900"/>
                  </a:lnTo>
                  <a:lnTo>
                    <a:pt x="1114" y="898"/>
                  </a:lnTo>
                  <a:lnTo>
                    <a:pt x="1114" y="898"/>
                  </a:lnTo>
                  <a:lnTo>
                    <a:pt x="1114" y="898"/>
                  </a:lnTo>
                  <a:lnTo>
                    <a:pt x="1116" y="896"/>
                  </a:lnTo>
                  <a:lnTo>
                    <a:pt x="1116" y="896"/>
                  </a:lnTo>
                  <a:lnTo>
                    <a:pt x="1116" y="894"/>
                  </a:lnTo>
                  <a:lnTo>
                    <a:pt x="1118" y="894"/>
                  </a:lnTo>
                  <a:lnTo>
                    <a:pt x="1118" y="894"/>
                  </a:lnTo>
                  <a:lnTo>
                    <a:pt x="1118" y="894"/>
                  </a:lnTo>
                  <a:lnTo>
                    <a:pt x="1118" y="892"/>
                  </a:lnTo>
                  <a:lnTo>
                    <a:pt x="1118" y="892"/>
                  </a:lnTo>
                  <a:lnTo>
                    <a:pt x="1118" y="890"/>
                  </a:lnTo>
                  <a:lnTo>
                    <a:pt x="1116" y="890"/>
                  </a:lnTo>
                  <a:lnTo>
                    <a:pt x="1116" y="890"/>
                  </a:lnTo>
                  <a:lnTo>
                    <a:pt x="1116" y="888"/>
                  </a:lnTo>
                  <a:lnTo>
                    <a:pt x="1114" y="886"/>
                  </a:lnTo>
                  <a:lnTo>
                    <a:pt x="1114" y="886"/>
                  </a:lnTo>
                  <a:lnTo>
                    <a:pt x="1114" y="886"/>
                  </a:lnTo>
                  <a:lnTo>
                    <a:pt x="1110" y="884"/>
                  </a:lnTo>
                  <a:lnTo>
                    <a:pt x="1108" y="882"/>
                  </a:lnTo>
                  <a:lnTo>
                    <a:pt x="1104" y="882"/>
                  </a:lnTo>
                  <a:lnTo>
                    <a:pt x="1100" y="880"/>
                  </a:lnTo>
                  <a:lnTo>
                    <a:pt x="1100" y="880"/>
                  </a:lnTo>
                  <a:lnTo>
                    <a:pt x="1098" y="880"/>
                  </a:lnTo>
                  <a:lnTo>
                    <a:pt x="1094" y="880"/>
                  </a:lnTo>
                  <a:lnTo>
                    <a:pt x="1094" y="880"/>
                  </a:lnTo>
                  <a:lnTo>
                    <a:pt x="1094" y="880"/>
                  </a:lnTo>
                  <a:lnTo>
                    <a:pt x="1090" y="880"/>
                  </a:lnTo>
                  <a:lnTo>
                    <a:pt x="1090" y="880"/>
                  </a:lnTo>
                  <a:lnTo>
                    <a:pt x="1090" y="880"/>
                  </a:lnTo>
                  <a:lnTo>
                    <a:pt x="1086" y="882"/>
                  </a:lnTo>
                  <a:lnTo>
                    <a:pt x="1082" y="884"/>
                  </a:lnTo>
                  <a:lnTo>
                    <a:pt x="1076" y="886"/>
                  </a:lnTo>
                  <a:lnTo>
                    <a:pt x="1070" y="890"/>
                  </a:lnTo>
                  <a:lnTo>
                    <a:pt x="1066" y="894"/>
                  </a:lnTo>
                  <a:lnTo>
                    <a:pt x="1060" y="898"/>
                  </a:lnTo>
                  <a:lnTo>
                    <a:pt x="1056" y="902"/>
                  </a:lnTo>
                  <a:lnTo>
                    <a:pt x="1052" y="906"/>
                  </a:lnTo>
                  <a:lnTo>
                    <a:pt x="1046" y="912"/>
                  </a:lnTo>
                  <a:lnTo>
                    <a:pt x="1042" y="918"/>
                  </a:lnTo>
                  <a:lnTo>
                    <a:pt x="1040" y="924"/>
                  </a:lnTo>
                  <a:lnTo>
                    <a:pt x="1036" y="930"/>
                  </a:lnTo>
                  <a:lnTo>
                    <a:pt x="1032" y="936"/>
                  </a:lnTo>
                  <a:lnTo>
                    <a:pt x="1028" y="942"/>
                  </a:lnTo>
                  <a:lnTo>
                    <a:pt x="1026" y="948"/>
                  </a:lnTo>
                  <a:lnTo>
                    <a:pt x="1024" y="950"/>
                  </a:lnTo>
                  <a:lnTo>
                    <a:pt x="1022" y="954"/>
                  </a:lnTo>
                  <a:lnTo>
                    <a:pt x="1020" y="956"/>
                  </a:lnTo>
                  <a:lnTo>
                    <a:pt x="1018" y="956"/>
                  </a:lnTo>
                  <a:lnTo>
                    <a:pt x="1016" y="958"/>
                  </a:lnTo>
                  <a:lnTo>
                    <a:pt x="1016" y="958"/>
                  </a:lnTo>
                  <a:lnTo>
                    <a:pt x="1014" y="958"/>
                  </a:lnTo>
                  <a:lnTo>
                    <a:pt x="1012" y="960"/>
                  </a:lnTo>
                  <a:lnTo>
                    <a:pt x="1010" y="960"/>
                  </a:lnTo>
                  <a:lnTo>
                    <a:pt x="1008" y="962"/>
                  </a:lnTo>
                  <a:lnTo>
                    <a:pt x="1006" y="962"/>
                  </a:lnTo>
                  <a:lnTo>
                    <a:pt x="1000" y="966"/>
                  </a:lnTo>
                  <a:lnTo>
                    <a:pt x="994" y="968"/>
                  </a:lnTo>
                  <a:lnTo>
                    <a:pt x="994" y="968"/>
                  </a:lnTo>
                  <a:lnTo>
                    <a:pt x="996" y="966"/>
                  </a:lnTo>
                  <a:lnTo>
                    <a:pt x="1002" y="962"/>
                  </a:lnTo>
                  <a:lnTo>
                    <a:pt x="1010" y="958"/>
                  </a:lnTo>
                  <a:lnTo>
                    <a:pt x="1016" y="952"/>
                  </a:lnTo>
                  <a:lnTo>
                    <a:pt x="1020" y="950"/>
                  </a:lnTo>
                  <a:lnTo>
                    <a:pt x="1022" y="948"/>
                  </a:lnTo>
                  <a:lnTo>
                    <a:pt x="1026" y="942"/>
                  </a:lnTo>
                  <a:lnTo>
                    <a:pt x="1030" y="938"/>
                  </a:lnTo>
                  <a:lnTo>
                    <a:pt x="1032" y="932"/>
                  </a:lnTo>
                  <a:lnTo>
                    <a:pt x="1034" y="926"/>
                  </a:lnTo>
                  <a:lnTo>
                    <a:pt x="1038" y="920"/>
                  </a:lnTo>
                  <a:lnTo>
                    <a:pt x="1040" y="916"/>
                  </a:lnTo>
                  <a:lnTo>
                    <a:pt x="1042" y="910"/>
                  </a:lnTo>
                  <a:lnTo>
                    <a:pt x="1046" y="906"/>
                  </a:lnTo>
                  <a:lnTo>
                    <a:pt x="1056" y="898"/>
                  </a:lnTo>
                  <a:lnTo>
                    <a:pt x="1060" y="894"/>
                  </a:lnTo>
                  <a:lnTo>
                    <a:pt x="1066" y="890"/>
                  </a:lnTo>
                  <a:lnTo>
                    <a:pt x="1072" y="886"/>
                  </a:lnTo>
                  <a:lnTo>
                    <a:pt x="1078" y="882"/>
                  </a:lnTo>
                  <a:lnTo>
                    <a:pt x="1086" y="878"/>
                  </a:lnTo>
                  <a:lnTo>
                    <a:pt x="1094" y="876"/>
                  </a:lnTo>
                  <a:lnTo>
                    <a:pt x="1100" y="876"/>
                  </a:lnTo>
                  <a:lnTo>
                    <a:pt x="1106" y="874"/>
                  </a:lnTo>
                  <a:lnTo>
                    <a:pt x="1112" y="874"/>
                  </a:lnTo>
                  <a:lnTo>
                    <a:pt x="1118" y="872"/>
                  </a:lnTo>
                  <a:lnTo>
                    <a:pt x="1134" y="872"/>
                  </a:lnTo>
                  <a:lnTo>
                    <a:pt x="1148" y="870"/>
                  </a:lnTo>
                  <a:lnTo>
                    <a:pt x="1164" y="870"/>
                  </a:lnTo>
                  <a:lnTo>
                    <a:pt x="1170" y="870"/>
                  </a:lnTo>
                  <a:lnTo>
                    <a:pt x="1178" y="870"/>
                  </a:lnTo>
                  <a:lnTo>
                    <a:pt x="1184" y="870"/>
                  </a:lnTo>
                  <a:lnTo>
                    <a:pt x="1188" y="868"/>
                  </a:lnTo>
                  <a:lnTo>
                    <a:pt x="1194" y="868"/>
                  </a:lnTo>
                  <a:lnTo>
                    <a:pt x="1198" y="868"/>
                  </a:lnTo>
                  <a:lnTo>
                    <a:pt x="1202" y="866"/>
                  </a:lnTo>
                  <a:lnTo>
                    <a:pt x="1204" y="866"/>
                  </a:lnTo>
                  <a:lnTo>
                    <a:pt x="1206" y="866"/>
                  </a:lnTo>
                  <a:lnTo>
                    <a:pt x="1208" y="866"/>
                  </a:lnTo>
                  <a:lnTo>
                    <a:pt x="1208" y="866"/>
                  </a:lnTo>
                  <a:lnTo>
                    <a:pt x="1208" y="864"/>
                  </a:lnTo>
                  <a:lnTo>
                    <a:pt x="1208" y="864"/>
                  </a:lnTo>
                  <a:lnTo>
                    <a:pt x="1208" y="864"/>
                  </a:lnTo>
                  <a:lnTo>
                    <a:pt x="1210" y="864"/>
                  </a:lnTo>
                  <a:lnTo>
                    <a:pt x="1210" y="862"/>
                  </a:lnTo>
                  <a:lnTo>
                    <a:pt x="1210" y="862"/>
                  </a:lnTo>
                  <a:lnTo>
                    <a:pt x="1210" y="862"/>
                  </a:lnTo>
                  <a:lnTo>
                    <a:pt x="1210" y="860"/>
                  </a:lnTo>
                  <a:lnTo>
                    <a:pt x="1210" y="860"/>
                  </a:lnTo>
                  <a:lnTo>
                    <a:pt x="1210" y="858"/>
                  </a:lnTo>
                  <a:lnTo>
                    <a:pt x="1208" y="858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10" y="852"/>
                  </a:lnTo>
                  <a:lnTo>
                    <a:pt x="1214" y="850"/>
                  </a:lnTo>
                  <a:lnTo>
                    <a:pt x="1220" y="842"/>
                  </a:lnTo>
                  <a:lnTo>
                    <a:pt x="1222" y="840"/>
                  </a:lnTo>
                  <a:lnTo>
                    <a:pt x="1224" y="838"/>
                  </a:lnTo>
                  <a:lnTo>
                    <a:pt x="1224" y="838"/>
                  </a:lnTo>
                  <a:lnTo>
                    <a:pt x="1224" y="840"/>
                  </a:lnTo>
                  <a:lnTo>
                    <a:pt x="1228" y="842"/>
                  </a:lnTo>
                  <a:lnTo>
                    <a:pt x="1230" y="844"/>
                  </a:lnTo>
                  <a:lnTo>
                    <a:pt x="1230" y="844"/>
                  </a:lnTo>
                  <a:lnTo>
                    <a:pt x="1230" y="844"/>
                  </a:lnTo>
                  <a:lnTo>
                    <a:pt x="1232" y="844"/>
                  </a:lnTo>
                  <a:lnTo>
                    <a:pt x="1232" y="844"/>
                  </a:lnTo>
                  <a:lnTo>
                    <a:pt x="1232" y="844"/>
                  </a:lnTo>
                  <a:lnTo>
                    <a:pt x="1234" y="844"/>
                  </a:lnTo>
                  <a:lnTo>
                    <a:pt x="1234" y="846"/>
                  </a:lnTo>
                  <a:lnTo>
                    <a:pt x="1234" y="848"/>
                  </a:lnTo>
                  <a:lnTo>
                    <a:pt x="1232" y="850"/>
                  </a:lnTo>
                  <a:lnTo>
                    <a:pt x="1228" y="852"/>
                  </a:lnTo>
                  <a:lnTo>
                    <a:pt x="1228" y="852"/>
                  </a:lnTo>
                  <a:lnTo>
                    <a:pt x="1228" y="852"/>
                  </a:lnTo>
                  <a:lnTo>
                    <a:pt x="1226" y="854"/>
                  </a:lnTo>
                  <a:lnTo>
                    <a:pt x="1224" y="856"/>
                  </a:lnTo>
                  <a:lnTo>
                    <a:pt x="1222" y="858"/>
                  </a:lnTo>
                  <a:lnTo>
                    <a:pt x="1222" y="858"/>
                  </a:lnTo>
                  <a:lnTo>
                    <a:pt x="1222" y="858"/>
                  </a:lnTo>
                  <a:lnTo>
                    <a:pt x="1220" y="860"/>
                  </a:lnTo>
                  <a:lnTo>
                    <a:pt x="1220" y="860"/>
                  </a:lnTo>
                  <a:lnTo>
                    <a:pt x="1220" y="862"/>
                  </a:lnTo>
                  <a:lnTo>
                    <a:pt x="1220" y="864"/>
                  </a:lnTo>
                  <a:lnTo>
                    <a:pt x="1220" y="866"/>
                  </a:lnTo>
                  <a:lnTo>
                    <a:pt x="1218" y="874"/>
                  </a:lnTo>
                  <a:lnTo>
                    <a:pt x="1218" y="880"/>
                  </a:lnTo>
                  <a:lnTo>
                    <a:pt x="1216" y="888"/>
                  </a:lnTo>
                  <a:lnTo>
                    <a:pt x="1214" y="894"/>
                  </a:lnTo>
                  <a:lnTo>
                    <a:pt x="1212" y="896"/>
                  </a:lnTo>
                  <a:lnTo>
                    <a:pt x="1212" y="898"/>
                  </a:lnTo>
                  <a:lnTo>
                    <a:pt x="1210" y="900"/>
                  </a:lnTo>
                  <a:lnTo>
                    <a:pt x="1208" y="902"/>
                  </a:lnTo>
                  <a:lnTo>
                    <a:pt x="1206" y="902"/>
                  </a:lnTo>
                  <a:lnTo>
                    <a:pt x="1202" y="904"/>
                  </a:lnTo>
                  <a:lnTo>
                    <a:pt x="1202" y="904"/>
                  </a:lnTo>
                  <a:lnTo>
                    <a:pt x="1202" y="904"/>
                  </a:lnTo>
                  <a:lnTo>
                    <a:pt x="1200" y="904"/>
                  </a:lnTo>
                  <a:lnTo>
                    <a:pt x="1200" y="904"/>
                  </a:lnTo>
                  <a:lnTo>
                    <a:pt x="1200" y="906"/>
                  </a:lnTo>
                  <a:lnTo>
                    <a:pt x="1200" y="906"/>
                  </a:lnTo>
                  <a:lnTo>
                    <a:pt x="1200" y="906"/>
                  </a:lnTo>
                  <a:lnTo>
                    <a:pt x="1198" y="906"/>
                  </a:lnTo>
                  <a:lnTo>
                    <a:pt x="1198" y="908"/>
                  </a:lnTo>
                  <a:lnTo>
                    <a:pt x="1198" y="908"/>
                  </a:lnTo>
                  <a:lnTo>
                    <a:pt x="1198" y="910"/>
                  </a:lnTo>
                  <a:lnTo>
                    <a:pt x="1198" y="912"/>
                  </a:lnTo>
                  <a:lnTo>
                    <a:pt x="1198" y="912"/>
                  </a:lnTo>
                  <a:lnTo>
                    <a:pt x="1198" y="912"/>
                  </a:lnTo>
                  <a:lnTo>
                    <a:pt x="1198" y="914"/>
                  </a:lnTo>
                  <a:lnTo>
                    <a:pt x="1200" y="914"/>
                  </a:lnTo>
                  <a:lnTo>
                    <a:pt x="1200" y="914"/>
                  </a:lnTo>
                  <a:lnTo>
                    <a:pt x="1198" y="914"/>
                  </a:lnTo>
                  <a:lnTo>
                    <a:pt x="1198" y="916"/>
                  </a:lnTo>
                  <a:lnTo>
                    <a:pt x="1198" y="916"/>
                  </a:lnTo>
                  <a:lnTo>
                    <a:pt x="1196" y="918"/>
                  </a:lnTo>
                  <a:lnTo>
                    <a:pt x="1196" y="918"/>
                  </a:lnTo>
                  <a:lnTo>
                    <a:pt x="1194" y="920"/>
                  </a:lnTo>
                  <a:lnTo>
                    <a:pt x="1194" y="922"/>
                  </a:lnTo>
                  <a:lnTo>
                    <a:pt x="1196" y="924"/>
                  </a:lnTo>
                  <a:lnTo>
                    <a:pt x="1196" y="924"/>
                  </a:lnTo>
                  <a:lnTo>
                    <a:pt x="1196" y="924"/>
                  </a:lnTo>
                  <a:lnTo>
                    <a:pt x="1198" y="926"/>
                  </a:lnTo>
                  <a:lnTo>
                    <a:pt x="1198" y="926"/>
                  </a:lnTo>
                  <a:lnTo>
                    <a:pt x="1198" y="926"/>
                  </a:lnTo>
                  <a:lnTo>
                    <a:pt x="1200" y="928"/>
                  </a:lnTo>
                  <a:lnTo>
                    <a:pt x="1200" y="928"/>
                  </a:lnTo>
                  <a:lnTo>
                    <a:pt x="1202" y="928"/>
                  </a:lnTo>
                  <a:lnTo>
                    <a:pt x="1204" y="928"/>
                  </a:lnTo>
                  <a:lnTo>
                    <a:pt x="1204" y="928"/>
                  </a:lnTo>
                  <a:lnTo>
                    <a:pt x="1204" y="928"/>
                  </a:lnTo>
                  <a:lnTo>
                    <a:pt x="1210" y="928"/>
                  </a:lnTo>
                  <a:lnTo>
                    <a:pt x="1210" y="928"/>
                  </a:lnTo>
                  <a:lnTo>
                    <a:pt x="1210" y="928"/>
                  </a:lnTo>
                  <a:lnTo>
                    <a:pt x="1214" y="928"/>
                  </a:lnTo>
                  <a:lnTo>
                    <a:pt x="1220" y="928"/>
                  </a:lnTo>
                  <a:lnTo>
                    <a:pt x="1224" y="928"/>
                  </a:lnTo>
                  <a:lnTo>
                    <a:pt x="1224" y="928"/>
                  </a:lnTo>
                  <a:lnTo>
                    <a:pt x="1226" y="928"/>
                  </a:lnTo>
                  <a:lnTo>
                    <a:pt x="1228" y="930"/>
                  </a:lnTo>
                  <a:lnTo>
                    <a:pt x="1230" y="930"/>
                  </a:lnTo>
                  <a:lnTo>
                    <a:pt x="1230" y="932"/>
                  </a:lnTo>
                  <a:lnTo>
                    <a:pt x="1232" y="936"/>
                  </a:lnTo>
                  <a:lnTo>
                    <a:pt x="1232" y="936"/>
                  </a:lnTo>
                  <a:lnTo>
                    <a:pt x="1232" y="936"/>
                  </a:lnTo>
                  <a:lnTo>
                    <a:pt x="1234" y="940"/>
                  </a:lnTo>
                  <a:lnTo>
                    <a:pt x="1234" y="940"/>
                  </a:lnTo>
                  <a:lnTo>
                    <a:pt x="1236" y="942"/>
                  </a:lnTo>
                  <a:lnTo>
                    <a:pt x="1238" y="946"/>
                  </a:lnTo>
                  <a:lnTo>
                    <a:pt x="1240" y="948"/>
                  </a:lnTo>
                  <a:lnTo>
                    <a:pt x="1244" y="950"/>
                  </a:lnTo>
                  <a:lnTo>
                    <a:pt x="1244" y="950"/>
                  </a:lnTo>
                  <a:lnTo>
                    <a:pt x="1246" y="950"/>
                  </a:lnTo>
                  <a:lnTo>
                    <a:pt x="1250" y="948"/>
                  </a:lnTo>
                  <a:lnTo>
                    <a:pt x="1252" y="946"/>
                  </a:lnTo>
                  <a:lnTo>
                    <a:pt x="1254" y="944"/>
                  </a:lnTo>
                  <a:lnTo>
                    <a:pt x="1256" y="944"/>
                  </a:lnTo>
                  <a:lnTo>
                    <a:pt x="1258" y="942"/>
                  </a:lnTo>
                  <a:lnTo>
                    <a:pt x="1260" y="942"/>
                  </a:lnTo>
                  <a:lnTo>
                    <a:pt x="1262" y="940"/>
                  </a:lnTo>
                  <a:lnTo>
                    <a:pt x="1266" y="940"/>
                  </a:lnTo>
                  <a:lnTo>
                    <a:pt x="1266" y="940"/>
                  </a:lnTo>
                  <a:lnTo>
                    <a:pt x="1266" y="940"/>
                  </a:lnTo>
                  <a:lnTo>
                    <a:pt x="1268" y="938"/>
                  </a:lnTo>
                  <a:lnTo>
                    <a:pt x="1268" y="938"/>
                  </a:lnTo>
                  <a:lnTo>
                    <a:pt x="1270" y="938"/>
                  </a:lnTo>
                  <a:lnTo>
                    <a:pt x="1270" y="940"/>
                  </a:lnTo>
                  <a:lnTo>
                    <a:pt x="1270" y="942"/>
                  </a:lnTo>
                  <a:lnTo>
                    <a:pt x="1272" y="948"/>
                  </a:lnTo>
                  <a:lnTo>
                    <a:pt x="1272" y="948"/>
                  </a:lnTo>
                  <a:lnTo>
                    <a:pt x="1272" y="950"/>
                  </a:lnTo>
                  <a:lnTo>
                    <a:pt x="1274" y="950"/>
                  </a:lnTo>
                  <a:lnTo>
                    <a:pt x="1282" y="950"/>
                  </a:lnTo>
                  <a:lnTo>
                    <a:pt x="1288" y="950"/>
                  </a:lnTo>
                  <a:lnTo>
                    <a:pt x="1288" y="950"/>
                  </a:lnTo>
                  <a:lnTo>
                    <a:pt x="1288" y="950"/>
                  </a:lnTo>
                  <a:lnTo>
                    <a:pt x="1292" y="950"/>
                  </a:lnTo>
                  <a:lnTo>
                    <a:pt x="1292" y="950"/>
                  </a:lnTo>
                  <a:lnTo>
                    <a:pt x="1294" y="948"/>
                  </a:lnTo>
                  <a:lnTo>
                    <a:pt x="1296" y="948"/>
                  </a:lnTo>
                  <a:lnTo>
                    <a:pt x="1296" y="948"/>
                  </a:lnTo>
                  <a:lnTo>
                    <a:pt x="1296" y="946"/>
                  </a:lnTo>
                  <a:lnTo>
                    <a:pt x="1298" y="946"/>
                  </a:lnTo>
                  <a:lnTo>
                    <a:pt x="1298" y="946"/>
                  </a:lnTo>
                  <a:lnTo>
                    <a:pt x="1298" y="944"/>
                  </a:lnTo>
                  <a:lnTo>
                    <a:pt x="1298" y="942"/>
                  </a:lnTo>
                  <a:lnTo>
                    <a:pt x="1298" y="940"/>
                  </a:lnTo>
                  <a:lnTo>
                    <a:pt x="1300" y="938"/>
                  </a:lnTo>
                  <a:lnTo>
                    <a:pt x="1300" y="938"/>
                  </a:lnTo>
                  <a:lnTo>
                    <a:pt x="1300" y="936"/>
                  </a:lnTo>
                  <a:lnTo>
                    <a:pt x="1302" y="936"/>
                  </a:lnTo>
                  <a:lnTo>
                    <a:pt x="1302" y="936"/>
                  </a:lnTo>
                  <a:lnTo>
                    <a:pt x="1304" y="934"/>
                  </a:lnTo>
                  <a:lnTo>
                    <a:pt x="1304" y="932"/>
                  </a:lnTo>
                  <a:lnTo>
                    <a:pt x="1304" y="932"/>
                  </a:lnTo>
                  <a:close/>
                  <a:moveTo>
                    <a:pt x="748" y="432"/>
                  </a:moveTo>
                  <a:lnTo>
                    <a:pt x="752" y="432"/>
                  </a:lnTo>
                  <a:lnTo>
                    <a:pt x="758" y="432"/>
                  </a:lnTo>
                  <a:lnTo>
                    <a:pt x="762" y="434"/>
                  </a:lnTo>
                  <a:lnTo>
                    <a:pt x="768" y="434"/>
                  </a:lnTo>
                  <a:lnTo>
                    <a:pt x="768" y="434"/>
                  </a:lnTo>
                  <a:lnTo>
                    <a:pt x="770" y="436"/>
                  </a:lnTo>
                  <a:lnTo>
                    <a:pt x="772" y="436"/>
                  </a:lnTo>
                  <a:lnTo>
                    <a:pt x="774" y="438"/>
                  </a:lnTo>
                  <a:lnTo>
                    <a:pt x="776" y="442"/>
                  </a:lnTo>
                  <a:lnTo>
                    <a:pt x="778" y="444"/>
                  </a:lnTo>
                  <a:lnTo>
                    <a:pt x="780" y="448"/>
                  </a:lnTo>
                  <a:lnTo>
                    <a:pt x="780" y="448"/>
                  </a:lnTo>
                  <a:lnTo>
                    <a:pt x="776" y="446"/>
                  </a:lnTo>
                  <a:lnTo>
                    <a:pt x="772" y="446"/>
                  </a:lnTo>
                  <a:lnTo>
                    <a:pt x="768" y="444"/>
                  </a:lnTo>
                  <a:lnTo>
                    <a:pt x="766" y="442"/>
                  </a:lnTo>
                  <a:lnTo>
                    <a:pt x="760" y="440"/>
                  </a:lnTo>
                  <a:lnTo>
                    <a:pt x="756" y="438"/>
                  </a:lnTo>
                  <a:lnTo>
                    <a:pt x="750" y="434"/>
                  </a:lnTo>
                  <a:lnTo>
                    <a:pt x="746" y="432"/>
                  </a:lnTo>
                  <a:lnTo>
                    <a:pt x="746" y="432"/>
                  </a:lnTo>
                  <a:lnTo>
                    <a:pt x="748" y="432"/>
                  </a:lnTo>
                  <a:close/>
                  <a:moveTo>
                    <a:pt x="710" y="500"/>
                  </a:moveTo>
                  <a:lnTo>
                    <a:pt x="714" y="500"/>
                  </a:lnTo>
                  <a:lnTo>
                    <a:pt x="716" y="500"/>
                  </a:lnTo>
                  <a:lnTo>
                    <a:pt x="720" y="500"/>
                  </a:lnTo>
                  <a:lnTo>
                    <a:pt x="716" y="500"/>
                  </a:lnTo>
                  <a:lnTo>
                    <a:pt x="710" y="500"/>
                  </a:lnTo>
                  <a:lnTo>
                    <a:pt x="708" y="500"/>
                  </a:lnTo>
                  <a:lnTo>
                    <a:pt x="710" y="500"/>
                  </a:lnTo>
                  <a:close/>
                  <a:moveTo>
                    <a:pt x="504" y="126"/>
                  </a:moveTo>
                  <a:lnTo>
                    <a:pt x="504" y="126"/>
                  </a:lnTo>
                  <a:lnTo>
                    <a:pt x="506" y="126"/>
                  </a:lnTo>
                  <a:lnTo>
                    <a:pt x="508" y="126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12" y="130"/>
                  </a:lnTo>
                  <a:lnTo>
                    <a:pt x="514" y="134"/>
                  </a:lnTo>
                  <a:lnTo>
                    <a:pt x="516" y="136"/>
                  </a:lnTo>
                  <a:lnTo>
                    <a:pt x="516" y="138"/>
                  </a:lnTo>
                  <a:lnTo>
                    <a:pt x="514" y="136"/>
                  </a:lnTo>
                  <a:lnTo>
                    <a:pt x="512" y="134"/>
                  </a:lnTo>
                  <a:lnTo>
                    <a:pt x="510" y="134"/>
                  </a:lnTo>
                  <a:lnTo>
                    <a:pt x="508" y="132"/>
                  </a:lnTo>
                  <a:lnTo>
                    <a:pt x="506" y="130"/>
                  </a:lnTo>
                  <a:lnTo>
                    <a:pt x="506" y="130"/>
                  </a:lnTo>
                  <a:lnTo>
                    <a:pt x="504" y="126"/>
                  </a:lnTo>
                  <a:lnTo>
                    <a:pt x="504" y="124"/>
                  </a:lnTo>
                  <a:lnTo>
                    <a:pt x="504" y="126"/>
                  </a:lnTo>
                  <a:close/>
                  <a:moveTo>
                    <a:pt x="1152" y="962"/>
                  </a:moveTo>
                  <a:lnTo>
                    <a:pt x="1154" y="964"/>
                  </a:lnTo>
                  <a:lnTo>
                    <a:pt x="1150" y="962"/>
                  </a:lnTo>
                  <a:lnTo>
                    <a:pt x="1146" y="960"/>
                  </a:lnTo>
                  <a:lnTo>
                    <a:pt x="1152" y="962"/>
                  </a:lnTo>
                  <a:close/>
                  <a:moveTo>
                    <a:pt x="1238" y="832"/>
                  </a:moveTo>
                  <a:lnTo>
                    <a:pt x="1238" y="834"/>
                  </a:lnTo>
                  <a:lnTo>
                    <a:pt x="1236" y="834"/>
                  </a:lnTo>
                  <a:lnTo>
                    <a:pt x="1236" y="834"/>
                  </a:lnTo>
                  <a:lnTo>
                    <a:pt x="1234" y="836"/>
                  </a:lnTo>
                  <a:lnTo>
                    <a:pt x="1232" y="836"/>
                  </a:lnTo>
                  <a:lnTo>
                    <a:pt x="1232" y="836"/>
                  </a:lnTo>
                  <a:lnTo>
                    <a:pt x="1232" y="836"/>
                  </a:lnTo>
                  <a:lnTo>
                    <a:pt x="1230" y="836"/>
                  </a:lnTo>
                  <a:lnTo>
                    <a:pt x="1226" y="836"/>
                  </a:lnTo>
                  <a:lnTo>
                    <a:pt x="1226" y="836"/>
                  </a:lnTo>
                  <a:lnTo>
                    <a:pt x="1226" y="836"/>
                  </a:lnTo>
                  <a:lnTo>
                    <a:pt x="1228" y="834"/>
                  </a:lnTo>
                  <a:lnTo>
                    <a:pt x="1230" y="830"/>
                  </a:lnTo>
                  <a:lnTo>
                    <a:pt x="1232" y="830"/>
                  </a:lnTo>
                  <a:lnTo>
                    <a:pt x="1232" y="830"/>
                  </a:lnTo>
                  <a:lnTo>
                    <a:pt x="1234" y="830"/>
                  </a:lnTo>
                  <a:lnTo>
                    <a:pt x="1236" y="830"/>
                  </a:lnTo>
                  <a:lnTo>
                    <a:pt x="1238" y="830"/>
                  </a:lnTo>
                  <a:lnTo>
                    <a:pt x="1238" y="830"/>
                  </a:lnTo>
                  <a:lnTo>
                    <a:pt x="1238" y="830"/>
                  </a:lnTo>
                  <a:lnTo>
                    <a:pt x="1240" y="830"/>
                  </a:lnTo>
                  <a:lnTo>
                    <a:pt x="1238" y="832"/>
                  </a:lnTo>
                  <a:close/>
                  <a:moveTo>
                    <a:pt x="156" y="818"/>
                  </a:moveTo>
                  <a:lnTo>
                    <a:pt x="152" y="816"/>
                  </a:lnTo>
                  <a:lnTo>
                    <a:pt x="150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2"/>
                  </a:lnTo>
                  <a:lnTo>
                    <a:pt x="148" y="810"/>
                  </a:lnTo>
                  <a:lnTo>
                    <a:pt x="148" y="806"/>
                  </a:lnTo>
                  <a:lnTo>
                    <a:pt x="148" y="804"/>
                  </a:lnTo>
                  <a:lnTo>
                    <a:pt x="148" y="800"/>
                  </a:lnTo>
                  <a:lnTo>
                    <a:pt x="148" y="800"/>
                  </a:lnTo>
                  <a:lnTo>
                    <a:pt x="148" y="800"/>
                  </a:lnTo>
                  <a:lnTo>
                    <a:pt x="146" y="796"/>
                  </a:lnTo>
                  <a:lnTo>
                    <a:pt x="146" y="794"/>
                  </a:lnTo>
                  <a:lnTo>
                    <a:pt x="144" y="792"/>
                  </a:lnTo>
                  <a:lnTo>
                    <a:pt x="144" y="788"/>
                  </a:lnTo>
                  <a:lnTo>
                    <a:pt x="146" y="782"/>
                  </a:lnTo>
                  <a:lnTo>
                    <a:pt x="148" y="776"/>
                  </a:lnTo>
                  <a:lnTo>
                    <a:pt x="148" y="776"/>
                  </a:lnTo>
                  <a:lnTo>
                    <a:pt x="146" y="772"/>
                  </a:lnTo>
                  <a:lnTo>
                    <a:pt x="146" y="772"/>
                  </a:lnTo>
                  <a:lnTo>
                    <a:pt x="146" y="772"/>
                  </a:lnTo>
                  <a:lnTo>
                    <a:pt x="144" y="770"/>
                  </a:lnTo>
                  <a:lnTo>
                    <a:pt x="142" y="770"/>
                  </a:lnTo>
                  <a:lnTo>
                    <a:pt x="142" y="770"/>
                  </a:lnTo>
                  <a:lnTo>
                    <a:pt x="140" y="770"/>
                  </a:lnTo>
                  <a:lnTo>
                    <a:pt x="138" y="770"/>
                  </a:lnTo>
                  <a:lnTo>
                    <a:pt x="134" y="770"/>
                  </a:lnTo>
                  <a:lnTo>
                    <a:pt x="126" y="772"/>
                  </a:lnTo>
                  <a:lnTo>
                    <a:pt x="124" y="774"/>
                  </a:lnTo>
                  <a:lnTo>
                    <a:pt x="120" y="774"/>
                  </a:lnTo>
                  <a:lnTo>
                    <a:pt x="120" y="774"/>
                  </a:lnTo>
                  <a:lnTo>
                    <a:pt x="118" y="774"/>
                  </a:lnTo>
                  <a:lnTo>
                    <a:pt x="116" y="776"/>
                  </a:lnTo>
                  <a:lnTo>
                    <a:pt x="116" y="776"/>
                  </a:lnTo>
                  <a:lnTo>
                    <a:pt x="116" y="778"/>
                  </a:lnTo>
                  <a:lnTo>
                    <a:pt x="114" y="780"/>
                  </a:lnTo>
                  <a:lnTo>
                    <a:pt x="114" y="780"/>
                  </a:lnTo>
                  <a:lnTo>
                    <a:pt x="114" y="782"/>
                  </a:lnTo>
                  <a:lnTo>
                    <a:pt x="114" y="784"/>
                  </a:lnTo>
                  <a:lnTo>
                    <a:pt x="114" y="784"/>
                  </a:lnTo>
                  <a:lnTo>
                    <a:pt x="114" y="784"/>
                  </a:lnTo>
                  <a:lnTo>
                    <a:pt x="114" y="788"/>
                  </a:lnTo>
                  <a:lnTo>
                    <a:pt x="116" y="790"/>
                  </a:lnTo>
                  <a:lnTo>
                    <a:pt x="116" y="794"/>
                  </a:lnTo>
                  <a:lnTo>
                    <a:pt x="118" y="796"/>
                  </a:lnTo>
                  <a:lnTo>
                    <a:pt x="118" y="800"/>
                  </a:lnTo>
                  <a:lnTo>
                    <a:pt x="118" y="800"/>
                  </a:lnTo>
                  <a:lnTo>
                    <a:pt x="118" y="802"/>
                  </a:lnTo>
                  <a:lnTo>
                    <a:pt x="120" y="804"/>
                  </a:lnTo>
                  <a:lnTo>
                    <a:pt x="120" y="804"/>
                  </a:lnTo>
                  <a:lnTo>
                    <a:pt x="122" y="808"/>
                  </a:lnTo>
                  <a:lnTo>
                    <a:pt x="124" y="812"/>
                  </a:lnTo>
                  <a:lnTo>
                    <a:pt x="124" y="816"/>
                  </a:lnTo>
                  <a:lnTo>
                    <a:pt x="124" y="816"/>
                  </a:lnTo>
                  <a:lnTo>
                    <a:pt x="126" y="818"/>
                  </a:lnTo>
                  <a:lnTo>
                    <a:pt x="128" y="818"/>
                  </a:lnTo>
                  <a:lnTo>
                    <a:pt x="130" y="818"/>
                  </a:lnTo>
                  <a:lnTo>
                    <a:pt x="130" y="820"/>
                  </a:lnTo>
                  <a:lnTo>
                    <a:pt x="132" y="820"/>
                  </a:lnTo>
                  <a:lnTo>
                    <a:pt x="132" y="822"/>
                  </a:lnTo>
                  <a:lnTo>
                    <a:pt x="132" y="824"/>
                  </a:lnTo>
                  <a:lnTo>
                    <a:pt x="132" y="826"/>
                  </a:lnTo>
                  <a:lnTo>
                    <a:pt x="132" y="826"/>
                  </a:lnTo>
                  <a:lnTo>
                    <a:pt x="132" y="826"/>
                  </a:lnTo>
                  <a:lnTo>
                    <a:pt x="134" y="830"/>
                  </a:lnTo>
                  <a:lnTo>
                    <a:pt x="134" y="830"/>
                  </a:lnTo>
                  <a:lnTo>
                    <a:pt x="134" y="830"/>
                  </a:lnTo>
                  <a:lnTo>
                    <a:pt x="136" y="832"/>
                  </a:lnTo>
                  <a:lnTo>
                    <a:pt x="136" y="832"/>
                  </a:lnTo>
                  <a:lnTo>
                    <a:pt x="136" y="832"/>
                  </a:lnTo>
                  <a:lnTo>
                    <a:pt x="138" y="834"/>
                  </a:lnTo>
                  <a:lnTo>
                    <a:pt x="138" y="834"/>
                  </a:lnTo>
                  <a:lnTo>
                    <a:pt x="138" y="834"/>
                  </a:lnTo>
                  <a:lnTo>
                    <a:pt x="140" y="834"/>
                  </a:lnTo>
                  <a:lnTo>
                    <a:pt x="140" y="834"/>
                  </a:lnTo>
                  <a:lnTo>
                    <a:pt x="140" y="834"/>
                  </a:lnTo>
                  <a:lnTo>
                    <a:pt x="146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2" y="836"/>
                  </a:lnTo>
                  <a:lnTo>
                    <a:pt x="154" y="834"/>
                  </a:lnTo>
                  <a:lnTo>
                    <a:pt x="154" y="834"/>
                  </a:lnTo>
                  <a:lnTo>
                    <a:pt x="154" y="834"/>
                  </a:lnTo>
                  <a:lnTo>
                    <a:pt x="156" y="832"/>
                  </a:lnTo>
                  <a:lnTo>
                    <a:pt x="156" y="832"/>
                  </a:lnTo>
                  <a:lnTo>
                    <a:pt x="156" y="832"/>
                  </a:lnTo>
                  <a:lnTo>
                    <a:pt x="156" y="828"/>
                  </a:lnTo>
                  <a:lnTo>
                    <a:pt x="156" y="826"/>
                  </a:lnTo>
                  <a:lnTo>
                    <a:pt x="156" y="820"/>
                  </a:lnTo>
                  <a:lnTo>
                    <a:pt x="156" y="820"/>
                  </a:lnTo>
                  <a:lnTo>
                    <a:pt x="156" y="818"/>
                  </a:lnTo>
                  <a:lnTo>
                    <a:pt x="156" y="818"/>
                  </a:lnTo>
                  <a:close/>
                  <a:moveTo>
                    <a:pt x="632" y="94"/>
                  </a:moveTo>
                  <a:lnTo>
                    <a:pt x="628" y="94"/>
                  </a:lnTo>
                  <a:lnTo>
                    <a:pt x="624" y="94"/>
                  </a:lnTo>
                  <a:lnTo>
                    <a:pt x="620" y="96"/>
                  </a:lnTo>
                  <a:lnTo>
                    <a:pt x="616" y="96"/>
                  </a:lnTo>
                  <a:lnTo>
                    <a:pt x="610" y="98"/>
                  </a:lnTo>
                  <a:lnTo>
                    <a:pt x="608" y="98"/>
                  </a:lnTo>
                  <a:lnTo>
                    <a:pt x="604" y="98"/>
                  </a:lnTo>
                  <a:lnTo>
                    <a:pt x="600" y="100"/>
                  </a:lnTo>
                  <a:lnTo>
                    <a:pt x="598" y="100"/>
                  </a:lnTo>
                  <a:lnTo>
                    <a:pt x="596" y="100"/>
                  </a:lnTo>
                  <a:lnTo>
                    <a:pt x="594" y="100"/>
                  </a:lnTo>
                  <a:lnTo>
                    <a:pt x="594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2" y="102"/>
                  </a:lnTo>
                  <a:lnTo>
                    <a:pt x="592" y="104"/>
                  </a:lnTo>
                  <a:lnTo>
                    <a:pt x="596" y="122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6" y="146"/>
                  </a:lnTo>
                  <a:lnTo>
                    <a:pt x="596" y="148"/>
                  </a:lnTo>
                  <a:lnTo>
                    <a:pt x="590" y="152"/>
                  </a:lnTo>
                  <a:lnTo>
                    <a:pt x="588" y="154"/>
                  </a:lnTo>
                  <a:lnTo>
                    <a:pt x="588" y="154"/>
                  </a:lnTo>
                  <a:lnTo>
                    <a:pt x="586" y="152"/>
                  </a:lnTo>
                  <a:lnTo>
                    <a:pt x="586" y="150"/>
                  </a:lnTo>
                  <a:lnTo>
                    <a:pt x="586" y="150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2" y="142"/>
                  </a:lnTo>
                  <a:lnTo>
                    <a:pt x="582" y="142"/>
                  </a:lnTo>
                  <a:lnTo>
                    <a:pt x="582" y="140"/>
                  </a:lnTo>
                  <a:lnTo>
                    <a:pt x="582" y="138"/>
                  </a:lnTo>
                  <a:lnTo>
                    <a:pt x="582" y="138"/>
                  </a:lnTo>
                  <a:lnTo>
                    <a:pt x="582" y="138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78" y="136"/>
                  </a:lnTo>
                  <a:lnTo>
                    <a:pt x="574" y="134"/>
                  </a:lnTo>
                  <a:lnTo>
                    <a:pt x="572" y="132"/>
                  </a:lnTo>
                  <a:lnTo>
                    <a:pt x="570" y="132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66" y="132"/>
                  </a:lnTo>
                  <a:lnTo>
                    <a:pt x="566" y="132"/>
                  </a:lnTo>
                  <a:lnTo>
                    <a:pt x="566" y="134"/>
                  </a:lnTo>
                  <a:lnTo>
                    <a:pt x="566" y="142"/>
                  </a:lnTo>
                  <a:lnTo>
                    <a:pt x="566" y="150"/>
                  </a:lnTo>
                  <a:lnTo>
                    <a:pt x="568" y="158"/>
                  </a:lnTo>
                  <a:lnTo>
                    <a:pt x="570" y="164"/>
                  </a:lnTo>
                  <a:lnTo>
                    <a:pt x="570" y="164"/>
                  </a:lnTo>
                  <a:lnTo>
                    <a:pt x="572" y="166"/>
                  </a:lnTo>
                  <a:lnTo>
                    <a:pt x="574" y="172"/>
                  </a:lnTo>
                  <a:lnTo>
                    <a:pt x="574" y="172"/>
                  </a:lnTo>
                  <a:lnTo>
                    <a:pt x="576" y="172"/>
                  </a:lnTo>
                  <a:lnTo>
                    <a:pt x="578" y="174"/>
                  </a:lnTo>
                  <a:lnTo>
                    <a:pt x="580" y="178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8" y="182"/>
                  </a:lnTo>
                  <a:lnTo>
                    <a:pt x="592" y="184"/>
                  </a:lnTo>
                  <a:lnTo>
                    <a:pt x="596" y="184"/>
                  </a:lnTo>
                  <a:lnTo>
                    <a:pt x="598" y="186"/>
                  </a:lnTo>
                  <a:lnTo>
                    <a:pt x="600" y="188"/>
                  </a:lnTo>
                  <a:lnTo>
                    <a:pt x="602" y="190"/>
                  </a:lnTo>
                  <a:lnTo>
                    <a:pt x="602" y="190"/>
                  </a:lnTo>
                  <a:lnTo>
                    <a:pt x="602" y="192"/>
                  </a:lnTo>
                  <a:lnTo>
                    <a:pt x="604" y="194"/>
                  </a:lnTo>
                  <a:lnTo>
                    <a:pt x="604" y="198"/>
                  </a:lnTo>
                  <a:lnTo>
                    <a:pt x="606" y="200"/>
                  </a:lnTo>
                  <a:lnTo>
                    <a:pt x="608" y="206"/>
                  </a:lnTo>
                  <a:lnTo>
                    <a:pt x="608" y="206"/>
                  </a:lnTo>
                  <a:lnTo>
                    <a:pt x="608" y="206"/>
                  </a:lnTo>
                  <a:lnTo>
                    <a:pt x="608" y="208"/>
                  </a:lnTo>
                  <a:lnTo>
                    <a:pt x="608" y="210"/>
                  </a:lnTo>
                  <a:lnTo>
                    <a:pt x="608" y="210"/>
                  </a:lnTo>
                  <a:lnTo>
                    <a:pt x="610" y="210"/>
                  </a:lnTo>
                  <a:lnTo>
                    <a:pt x="610" y="212"/>
                  </a:lnTo>
                  <a:lnTo>
                    <a:pt x="612" y="214"/>
                  </a:lnTo>
                  <a:lnTo>
                    <a:pt x="616" y="218"/>
                  </a:lnTo>
                  <a:lnTo>
                    <a:pt x="620" y="220"/>
                  </a:lnTo>
                  <a:lnTo>
                    <a:pt x="620" y="220"/>
                  </a:lnTo>
                  <a:lnTo>
                    <a:pt x="622" y="222"/>
                  </a:lnTo>
                  <a:lnTo>
                    <a:pt x="628" y="220"/>
                  </a:lnTo>
                  <a:lnTo>
                    <a:pt x="628" y="220"/>
                  </a:lnTo>
                  <a:lnTo>
                    <a:pt x="628" y="220"/>
                  </a:lnTo>
                  <a:lnTo>
                    <a:pt x="630" y="220"/>
                  </a:lnTo>
                  <a:lnTo>
                    <a:pt x="630" y="220"/>
                  </a:lnTo>
                  <a:lnTo>
                    <a:pt x="632" y="220"/>
                  </a:lnTo>
                  <a:lnTo>
                    <a:pt x="634" y="218"/>
                  </a:lnTo>
                  <a:lnTo>
                    <a:pt x="634" y="218"/>
                  </a:lnTo>
                  <a:lnTo>
                    <a:pt x="634" y="218"/>
                  </a:lnTo>
                  <a:lnTo>
                    <a:pt x="634" y="216"/>
                  </a:lnTo>
                  <a:lnTo>
                    <a:pt x="634" y="216"/>
                  </a:lnTo>
                  <a:lnTo>
                    <a:pt x="636" y="214"/>
                  </a:lnTo>
                  <a:lnTo>
                    <a:pt x="636" y="212"/>
                  </a:lnTo>
                  <a:lnTo>
                    <a:pt x="636" y="212"/>
                  </a:lnTo>
                  <a:lnTo>
                    <a:pt x="636" y="212"/>
                  </a:lnTo>
                  <a:lnTo>
                    <a:pt x="634" y="210"/>
                  </a:lnTo>
                  <a:lnTo>
                    <a:pt x="638" y="210"/>
                  </a:lnTo>
                  <a:lnTo>
                    <a:pt x="642" y="21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8" y="208"/>
                  </a:lnTo>
                  <a:lnTo>
                    <a:pt x="648" y="208"/>
                  </a:lnTo>
                  <a:lnTo>
                    <a:pt x="648" y="208"/>
                  </a:lnTo>
                  <a:lnTo>
                    <a:pt x="650" y="208"/>
                  </a:lnTo>
                  <a:lnTo>
                    <a:pt x="650" y="208"/>
                  </a:lnTo>
                  <a:lnTo>
                    <a:pt x="652" y="206"/>
                  </a:lnTo>
                  <a:lnTo>
                    <a:pt x="652" y="206"/>
                  </a:lnTo>
                  <a:lnTo>
                    <a:pt x="652" y="206"/>
                  </a:lnTo>
                  <a:lnTo>
                    <a:pt x="654" y="204"/>
                  </a:lnTo>
                  <a:lnTo>
                    <a:pt x="654" y="202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8" y="196"/>
                  </a:lnTo>
                  <a:lnTo>
                    <a:pt x="656" y="190"/>
                  </a:lnTo>
                  <a:lnTo>
                    <a:pt x="656" y="184"/>
                  </a:lnTo>
                  <a:lnTo>
                    <a:pt x="656" y="178"/>
                  </a:lnTo>
                  <a:lnTo>
                    <a:pt x="656" y="172"/>
                  </a:lnTo>
                  <a:lnTo>
                    <a:pt x="656" y="166"/>
                  </a:lnTo>
                  <a:lnTo>
                    <a:pt x="656" y="162"/>
                  </a:lnTo>
                  <a:lnTo>
                    <a:pt x="656" y="158"/>
                  </a:lnTo>
                  <a:lnTo>
                    <a:pt x="654" y="154"/>
                  </a:lnTo>
                  <a:lnTo>
                    <a:pt x="654" y="154"/>
                  </a:lnTo>
                  <a:lnTo>
                    <a:pt x="654" y="154"/>
                  </a:lnTo>
                  <a:lnTo>
                    <a:pt x="652" y="150"/>
                  </a:lnTo>
                  <a:lnTo>
                    <a:pt x="652" y="150"/>
                  </a:lnTo>
                  <a:lnTo>
                    <a:pt x="652" y="150"/>
                  </a:lnTo>
                  <a:lnTo>
                    <a:pt x="650" y="148"/>
                  </a:lnTo>
                  <a:lnTo>
                    <a:pt x="650" y="148"/>
                  </a:lnTo>
                  <a:lnTo>
                    <a:pt x="650" y="146"/>
                  </a:lnTo>
                  <a:lnTo>
                    <a:pt x="648" y="144"/>
                  </a:lnTo>
                  <a:lnTo>
                    <a:pt x="648" y="144"/>
                  </a:lnTo>
                  <a:lnTo>
                    <a:pt x="648" y="144"/>
                  </a:lnTo>
                  <a:lnTo>
                    <a:pt x="644" y="142"/>
                  </a:lnTo>
                  <a:lnTo>
                    <a:pt x="644" y="142"/>
                  </a:lnTo>
                  <a:lnTo>
                    <a:pt x="644" y="142"/>
                  </a:lnTo>
                  <a:lnTo>
                    <a:pt x="640" y="140"/>
                  </a:lnTo>
                  <a:lnTo>
                    <a:pt x="634" y="138"/>
                  </a:lnTo>
                  <a:lnTo>
                    <a:pt x="628" y="138"/>
                  </a:lnTo>
                  <a:lnTo>
                    <a:pt x="624" y="136"/>
                  </a:lnTo>
                  <a:lnTo>
                    <a:pt x="626" y="136"/>
                  </a:lnTo>
                  <a:lnTo>
                    <a:pt x="626" y="134"/>
                  </a:lnTo>
                  <a:lnTo>
                    <a:pt x="626" y="134"/>
                  </a:lnTo>
                  <a:lnTo>
                    <a:pt x="628" y="132"/>
                  </a:lnTo>
                  <a:lnTo>
                    <a:pt x="628" y="132"/>
                  </a:lnTo>
                  <a:lnTo>
                    <a:pt x="630" y="130"/>
                  </a:lnTo>
                  <a:lnTo>
                    <a:pt x="634" y="128"/>
                  </a:lnTo>
                  <a:lnTo>
                    <a:pt x="634" y="128"/>
                  </a:lnTo>
                  <a:lnTo>
                    <a:pt x="634" y="128"/>
                  </a:lnTo>
                  <a:lnTo>
                    <a:pt x="636" y="126"/>
                  </a:lnTo>
                  <a:lnTo>
                    <a:pt x="638" y="124"/>
                  </a:lnTo>
                  <a:lnTo>
                    <a:pt x="640" y="122"/>
                  </a:lnTo>
                  <a:lnTo>
                    <a:pt x="640" y="122"/>
                  </a:lnTo>
                  <a:lnTo>
                    <a:pt x="640" y="122"/>
                  </a:lnTo>
                  <a:lnTo>
                    <a:pt x="642" y="120"/>
                  </a:lnTo>
                  <a:lnTo>
                    <a:pt x="642" y="120"/>
                  </a:lnTo>
                  <a:lnTo>
                    <a:pt x="642" y="118"/>
                  </a:lnTo>
                  <a:lnTo>
                    <a:pt x="642" y="116"/>
                  </a:lnTo>
                  <a:lnTo>
                    <a:pt x="642" y="114"/>
                  </a:lnTo>
                  <a:lnTo>
                    <a:pt x="642" y="112"/>
                  </a:lnTo>
                  <a:lnTo>
                    <a:pt x="642" y="112"/>
                  </a:lnTo>
                  <a:lnTo>
                    <a:pt x="644" y="110"/>
                  </a:lnTo>
                  <a:lnTo>
                    <a:pt x="644" y="108"/>
                  </a:lnTo>
                  <a:lnTo>
                    <a:pt x="646" y="106"/>
                  </a:lnTo>
                  <a:lnTo>
                    <a:pt x="646" y="106"/>
                  </a:lnTo>
                  <a:lnTo>
                    <a:pt x="646" y="104"/>
                  </a:lnTo>
                  <a:lnTo>
                    <a:pt x="646" y="100"/>
                  </a:lnTo>
                  <a:lnTo>
                    <a:pt x="646" y="98"/>
                  </a:lnTo>
                  <a:lnTo>
                    <a:pt x="646" y="96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2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40" y="92"/>
                  </a:lnTo>
                  <a:lnTo>
                    <a:pt x="640" y="92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4"/>
                  </a:lnTo>
                  <a:close/>
                  <a:moveTo>
                    <a:pt x="698" y="80"/>
                  </a:moveTo>
                  <a:lnTo>
                    <a:pt x="690" y="80"/>
                  </a:lnTo>
                  <a:lnTo>
                    <a:pt x="686" y="80"/>
                  </a:lnTo>
                  <a:lnTo>
                    <a:pt x="686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82" y="80"/>
                  </a:lnTo>
                  <a:lnTo>
                    <a:pt x="682" y="80"/>
                  </a:lnTo>
                  <a:lnTo>
                    <a:pt x="678" y="82"/>
                  </a:lnTo>
                  <a:lnTo>
                    <a:pt x="678" y="82"/>
                  </a:lnTo>
                  <a:lnTo>
                    <a:pt x="678" y="84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4" y="86"/>
                  </a:lnTo>
                  <a:lnTo>
                    <a:pt x="674" y="86"/>
                  </a:lnTo>
                  <a:lnTo>
                    <a:pt x="674" y="90"/>
                  </a:lnTo>
                  <a:lnTo>
                    <a:pt x="676" y="94"/>
                  </a:lnTo>
                  <a:lnTo>
                    <a:pt x="678" y="96"/>
                  </a:lnTo>
                  <a:lnTo>
                    <a:pt x="680" y="98"/>
                  </a:lnTo>
                  <a:lnTo>
                    <a:pt x="682" y="100"/>
                  </a:lnTo>
                  <a:lnTo>
                    <a:pt x="680" y="100"/>
                  </a:lnTo>
                  <a:lnTo>
                    <a:pt x="680" y="102"/>
                  </a:lnTo>
                  <a:lnTo>
                    <a:pt x="678" y="102"/>
                  </a:lnTo>
                  <a:lnTo>
                    <a:pt x="678" y="104"/>
                  </a:lnTo>
                  <a:lnTo>
                    <a:pt x="676" y="104"/>
                  </a:lnTo>
                  <a:lnTo>
                    <a:pt x="676" y="104"/>
                  </a:lnTo>
                  <a:lnTo>
                    <a:pt x="674" y="102"/>
                  </a:lnTo>
                  <a:lnTo>
                    <a:pt x="672" y="100"/>
                  </a:lnTo>
                  <a:lnTo>
                    <a:pt x="672" y="100"/>
                  </a:lnTo>
                  <a:lnTo>
                    <a:pt x="668" y="100"/>
                  </a:lnTo>
                  <a:lnTo>
                    <a:pt x="668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8" y="106"/>
                  </a:lnTo>
                  <a:lnTo>
                    <a:pt x="668" y="108"/>
                  </a:lnTo>
                  <a:lnTo>
                    <a:pt x="668" y="112"/>
                  </a:lnTo>
                  <a:lnTo>
                    <a:pt x="668" y="116"/>
                  </a:lnTo>
                  <a:lnTo>
                    <a:pt x="668" y="122"/>
                  </a:lnTo>
                  <a:lnTo>
                    <a:pt x="668" y="130"/>
                  </a:lnTo>
                  <a:lnTo>
                    <a:pt x="668" y="138"/>
                  </a:lnTo>
                  <a:lnTo>
                    <a:pt x="670" y="144"/>
                  </a:lnTo>
                  <a:lnTo>
                    <a:pt x="670" y="152"/>
                  </a:lnTo>
                  <a:lnTo>
                    <a:pt x="670" y="160"/>
                  </a:lnTo>
                  <a:lnTo>
                    <a:pt x="672" y="166"/>
                  </a:lnTo>
                  <a:lnTo>
                    <a:pt x="672" y="172"/>
                  </a:lnTo>
                  <a:lnTo>
                    <a:pt x="674" y="178"/>
                  </a:lnTo>
                  <a:lnTo>
                    <a:pt x="676" y="182"/>
                  </a:lnTo>
                  <a:lnTo>
                    <a:pt x="676" y="184"/>
                  </a:lnTo>
                  <a:lnTo>
                    <a:pt x="676" y="184"/>
                  </a:lnTo>
                  <a:lnTo>
                    <a:pt x="676" y="184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80" y="188"/>
                  </a:lnTo>
                  <a:lnTo>
                    <a:pt x="680" y="188"/>
                  </a:lnTo>
                  <a:lnTo>
                    <a:pt x="680" y="188"/>
                  </a:lnTo>
                  <a:lnTo>
                    <a:pt x="682" y="188"/>
                  </a:lnTo>
                  <a:lnTo>
                    <a:pt x="684" y="188"/>
                  </a:lnTo>
                  <a:lnTo>
                    <a:pt x="686" y="188"/>
                  </a:lnTo>
                  <a:lnTo>
                    <a:pt x="690" y="186"/>
                  </a:lnTo>
                  <a:lnTo>
                    <a:pt x="690" y="186"/>
                  </a:lnTo>
                  <a:lnTo>
                    <a:pt x="690" y="186"/>
                  </a:lnTo>
                  <a:lnTo>
                    <a:pt x="692" y="184"/>
                  </a:lnTo>
                  <a:lnTo>
                    <a:pt x="692" y="184"/>
                  </a:lnTo>
                  <a:lnTo>
                    <a:pt x="694" y="184"/>
                  </a:lnTo>
                  <a:lnTo>
                    <a:pt x="694" y="182"/>
                  </a:lnTo>
                  <a:lnTo>
                    <a:pt x="694" y="182"/>
                  </a:lnTo>
                  <a:lnTo>
                    <a:pt x="694" y="182"/>
                  </a:lnTo>
                  <a:lnTo>
                    <a:pt x="696" y="180"/>
                  </a:lnTo>
                  <a:lnTo>
                    <a:pt x="696" y="176"/>
                  </a:lnTo>
                  <a:lnTo>
                    <a:pt x="698" y="174"/>
                  </a:lnTo>
                  <a:lnTo>
                    <a:pt x="700" y="170"/>
                  </a:lnTo>
                  <a:lnTo>
                    <a:pt x="700" y="170"/>
                  </a:lnTo>
                  <a:lnTo>
                    <a:pt x="700" y="170"/>
                  </a:lnTo>
                  <a:lnTo>
                    <a:pt x="700" y="166"/>
                  </a:lnTo>
                  <a:lnTo>
                    <a:pt x="700" y="164"/>
                  </a:lnTo>
                  <a:lnTo>
                    <a:pt x="700" y="164"/>
                  </a:lnTo>
                  <a:lnTo>
                    <a:pt x="700" y="164"/>
                  </a:lnTo>
                  <a:lnTo>
                    <a:pt x="698" y="160"/>
                  </a:lnTo>
                  <a:lnTo>
                    <a:pt x="698" y="160"/>
                  </a:lnTo>
                  <a:lnTo>
                    <a:pt x="698" y="158"/>
                  </a:lnTo>
                  <a:lnTo>
                    <a:pt x="698" y="156"/>
                  </a:lnTo>
                  <a:lnTo>
                    <a:pt x="696" y="154"/>
                  </a:lnTo>
                  <a:lnTo>
                    <a:pt x="696" y="154"/>
                  </a:lnTo>
                  <a:lnTo>
                    <a:pt x="696" y="154"/>
                  </a:lnTo>
                  <a:lnTo>
                    <a:pt x="696" y="152"/>
                  </a:lnTo>
                  <a:lnTo>
                    <a:pt x="696" y="152"/>
                  </a:lnTo>
                  <a:lnTo>
                    <a:pt x="700" y="150"/>
                  </a:lnTo>
                  <a:lnTo>
                    <a:pt x="704" y="150"/>
                  </a:lnTo>
                  <a:lnTo>
                    <a:pt x="708" y="148"/>
                  </a:lnTo>
                  <a:lnTo>
                    <a:pt x="716" y="148"/>
                  </a:lnTo>
                  <a:lnTo>
                    <a:pt x="726" y="148"/>
                  </a:lnTo>
                  <a:lnTo>
                    <a:pt x="726" y="148"/>
                  </a:lnTo>
                  <a:lnTo>
                    <a:pt x="728" y="146"/>
                  </a:lnTo>
                  <a:lnTo>
                    <a:pt x="728" y="144"/>
                  </a:lnTo>
                  <a:lnTo>
                    <a:pt x="730" y="140"/>
                  </a:lnTo>
                  <a:lnTo>
                    <a:pt x="730" y="136"/>
                  </a:lnTo>
                  <a:lnTo>
                    <a:pt x="730" y="132"/>
                  </a:lnTo>
                  <a:lnTo>
                    <a:pt x="730" y="128"/>
                  </a:lnTo>
                  <a:lnTo>
                    <a:pt x="732" y="126"/>
                  </a:lnTo>
                  <a:lnTo>
                    <a:pt x="734" y="124"/>
                  </a:lnTo>
                  <a:lnTo>
                    <a:pt x="736" y="122"/>
                  </a:lnTo>
                  <a:lnTo>
                    <a:pt x="736" y="122"/>
                  </a:lnTo>
                  <a:lnTo>
                    <a:pt x="740" y="120"/>
                  </a:lnTo>
                  <a:lnTo>
                    <a:pt x="740" y="120"/>
                  </a:lnTo>
                  <a:lnTo>
                    <a:pt x="740" y="118"/>
                  </a:lnTo>
                  <a:lnTo>
                    <a:pt x="742" y="114"/>
                  </a:lnTo>
                  <a:lnTo>
                    <a:pt x="744" y="108"/>
                  </a:lnTo>
                  <a:lnTo>
                    <a:pt x="742" y="110"/>
                  </a:lnTo>
                  <a:lnTo>
                    <a:pt x="746" y="106"/>
                  </a:lnTo>
                  <a:lnTo>
                    <a:pt x="746" y="106"/>
                  </a:lnTo>
                  <a:lnTo>
                    <a:pt x="746" y="104"/>
                  </a:lnTo>
                  <a:lnTo>
                    <a:pt x="748" y="102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0" y="98"/>
                  </a:lnTo>
                  <a:lnTo>
                    <a:pt x="750" y="98"/>
                  </a:lnTo>
                  <a:lnTo>
                    <a:pt x="750" y="98"/>
                  </a:lnTo>
                  <a:lnTo>
                    <a:pt x="752" y="96"/>
                  </a:lnTo>
                  <a:lnTo>
                    <a:pt x="752" y="96"/>
                  </a:lnTo>
                  <a:lnTo>
                    <a:pt x="752" y="94"/>
                  </a:lnTo>
                  <a:lnTo>
                    <a:pt x="750" y="94"/>
                  </a:lnTo>
                  <a:lnTo>
                    <a:pt x="750" y="94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48" y="90"/>
                  </a:lnTo>
                  <a:lnTo>
                    <a:pt x="746" y="90"/>
                  </a:lnTo>
                  <a:lnTo>
                    <a:pt x="746" y="90"/>
                  </a:lnTo>
                  <a:lnTo>
                    <a:pt x="746" y="90"/>
                  </a:lnTo>
                  <a:lnTo>
                    <a:pt x="744" y="90"/>
                  </a:lnTo>
                  <a:lnTo>
                    <a:pt x="740" y="88"/>
                  </a:lnTo>
                  <a:lnTo>
                    <a:pt x="740" y="88"/>
                  </a:lnTo>
                  <a:lnTo>
                    <a:pt x="738" y="88"/>
                  </a:lnTo>
                  <a:lnTo>
                    <a:pt x="734" y="88"/>
                  </a:lnTo>
                  <a:lnTo>
                    <a:pt x="728" y="88"/>
                  </a:lnTo>
                  <a:lnTo>
                    <a:pt x="722" y="88"/>
                  </a:lnTo>
                  <a:lnTo>
                    <a:pt x="716" y="90"/>
                  </a:lnTo>
                  <a:lnTo>
                    <a:pt x="716" y="90"/>
                  </a:lnTo>
                  <a:lnTo>
                    <a:pt x="716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2" y="90"/>
                  </a:lnTo>
                  <a:lnTo>
                    <a:pt x="712" y="88"/>
                  </a:lnTo>
                  <a:lnTo>
                    <a:pt x="710" y="82"/>
                  </a:lnTo>
                  <a:lnTo>
                    <a:pt x="710" y="82"/>
                  </a:lnTo>
                  <a:lnTo>
                    <a:pt x="710" y="82"/>
                  </a:lnTo>
                  <a:lnTo>
                    <a:pt x="710" y="80"/>
                  </a:lnTo>
                  <a:lnTo>
                    <a:pt x="710" y="80"/>
                  </a:lnTo>
                  <a:lnTo>
                    <a:pt x="708" y="80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4" y="78"/>
                  </a:lnTo>
                  <a:lnTo>
                    <a:pt x="700" y="78"/>
                  </a:lnTo>
                  <a:lnTo>
                    <a:pt x="698" y="80"/>
                  </a:lnTo>
                  <a:close/>
                  <a:moveTo>
                    <a:pt x="904" y="98"/>
                  </a:moveTo>
                  <a:lnTo>
                    <a:pt x="902" y="98"/>
                  </a:lnTo>
                  <a:lnTo>
                    <a:pt x="900" y="98"/>
                  </a:lnTo>
                  <a:lnTo>
                    <a:pt x="896" y="98"/>
                  </a:lnTo>
                  <a:lnTo>
                    <a:pt x="892" y="96"/>
                  </a:lnTo>
                  <a:lnTo>
                    <a:pt x="892" y="96"/>
                  </a:lnTo>
                  <a:lnTo>
                    <a:pt x="890" y="98"/>
                  </a:lnTo>
                  <a:lnTo>
                    <a:pt x="890" y="98"/>
                  </a:lnTo>
                  <a:lnTo>
                    <a:pt x="888" y="100"/>
                  </a:lnTo>
                  <a:lnTo>
                    <a:pt x="888" y="102"/>
                  </a:lnTo>
                  <a:lnTo>
                    <a:pt x="888" y="104"/>
                  </a:lnTo>
                  <a:lnTo>
                    <a:pt x="890" y="108"/>
                  </a:lnTo>
                  <a:lnTo>
                    <a:pt x="890" y="110"/>
                  </a:lnTo>
                  <a:lnTo>
                    <a:pt x="890" y="118"/>
                  </a:lnTo>
                  <a:lnTo>
                    <a:pt x="890" y="126"/>
                  </a:lnTo>
                  <a:lnTo>
                    <a:pt x="892" y="132"/>
                  </a:lnTo>
                  <a:lnTo>
                    <a:pt x="894" y="140"/>
                  </a:lnTo>
                  <a:lnTo>
                    <a:pt x="894" y="142"/>
                  </a:lnTo>
                  <a:lnTo>
                    <a:pt x="896" y="146"/>
                  </a:lnTo>
                  <a:lnTo>
                    <a:pt x="896" y="146"/>
                  </a:lnTo>
                  <a:lnTo>
                    <a:pt x="896" y="146"/>
                  </a:lnTo>
                  <a:lnTo>
                    <a:pt x="898" y="148"/>
                  </a:lnTo>
                  <a:lnTo>
                    <a:pt x="898" y="148"/>
                  </a:lnTo>
                  <a:lnTo>
                    <a:pt x="898" y="148"/>
                  </a:lnTo>
                  <a:lnTo>
                    <a:pt x="900" y="150"/>
                  </a:lnTo>
                  <a:lnTo>
                    <a:pt x="900" y="150"/>
                  </a:lnTo>
                  <a:lnTo>
                    <a:pt x="902" y="150"/>
                  </a:lnTo>
                  <a:lnTo>
                    <a:pt x="908" y="148"/>
                  </a:lnTo>
                  <a:lnTo>
                    <a:pt x="912" y="146"/>
                  </a:lnTo>
                  <a:lnTo>
                    <a:pt x="916" y="146"/>
                  </a:lnTo>
                  <a:lnTo>
                    <a:pt x="922" y="146"/>
                  </a:lnTo>
                  <a:lnTo>
                    <a:pt x="932" y="146"/>
                  </a:lnTo>
                  <a:lnTo>
                    <a:pt x="942" y="144"/>
                  </a:lnTo>
                  <a:lnTo>
                    <a:pt x="942" y="144"/>
                  </a:lnTo>
                  <a:lnTo>
                    <a:pt x="944" y="144"/>
                  </a:lnTo>
                  <a:lnTo>
                    <a:pt x="946" y="144"/>
                  </a:lnTo>
                  <a:lnTo>
                    <a:pt x="948" y="142"/>
                  </a:lnTo>
                  <a:lnTo>
                    <a:pt x="948" y="142"/>
                  </a:lnTo>
                  <a:lnTo>
                    <a:pt x="948" y="142"/>
                  </a:lnTo>
                  <a:lnTo>
                    <a:pt x="948" y="140"/>
                  </a:lnTo>
                  <a:lnTo>
                    <a:pt x="948" y="140"/>
                  </a:lnTo>
                  <a:lnTo>
                    <a:pt x="950" y="140"/>
                  </a:lnTo>
                  <a:lnTo>
                    <a:pt x="950" y="138"/>
                  </a:lnTo>
                  <a:lnTo>
                    <a:pt x="950" y="138"/>
                  </a:lnTo>
                  <a:lnTo>
                    <a:pt x="950" y="138"/>
                  </a:lnTo>
                  <a:lnTo>
                    <a:pt x="950" y="134"/>
                  </a:lnTo>
                  <a:lnTo>
                    <a:pt x="950" y="134"/>
                  </a:lnTo>
                  <a:lnTo>
                    <a:pt x="950" y="134"/>
                  </a:lnTo>
                  <a:lnTo>
                    <a:pt x="948" y="130"/>
                  </a:lnTo>
                  <a:lnTo>
                    <a:pt x="948" y="130"/>
                  </a:lnTo>
                  <a:lnTo>
                    <a:pt x="948" y="130"/>
                  </a:lnTo>
                  <a:lnTo>
                    <a:pt x="946" y="128"/>
                  </a:lnTo>
                  <a:lnTo>
                    <a:pt x="946" y="128"/>
                  </a:lnTo>
                  <a:lnTo>
                    <a:pt x="946" y="128"/>
                  </a:lnTo>
                  <a:lnTo>
                    <a:pt x="944" y="124"/>
                  </a:lnTo>
                  <a:lnTo>
                    <a:pt x="942" y="122"/>
                  </a:lnTo>
                  <a:lnTo>
                    <a:pt x="938" y="122"/>
                  </a:lnTo>
                  <a:lnTo>
                    <a:pt x="938" y="118"/>
                  </a:lnTo>
                  <a:lnTo>
                    <a:pt x="936" y="116"/>
                  </a:lnTo>
                  <a:lnTo>
                    <a:pt x="932" y="114"/>
                  </a:lnTo>
                  <a:lnTo>
                    <a:pt x="930" y="112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24" y="108"/>
                  </a:lnTo>
                  <a:lnTo>
                    <a:pt x="924" y="108"/>
                  </a:lnTo>
                  <a:lnTo>
                    <a:pt x="924" y="108"/>
                  </a:lnTo>
                  <a:lnTo>
                    <a:pt x="918" y="106"/>
                  </a:lnTo>
                  <a:lnTo>
                    <a:pt x="918" y="106"/>
                  </a:lnTo>
                  <a:lnTo>
                    <a:pt x="916" y="104"/>
                  </a:lnTo>
                  <a:lnTo>
                    <a:pt x="916" y="102"/>
                  </a:lnTo>
                  <a:lnTo>
                    <a:pt x="916" y="102"/>
                  </a:lnTo>
                  <a:lnTo>
                    <a:pt x="914" y="102"/>
                  </a:lnTo>
                  <a:lnTo>
                    <a:pt x="914" y="100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98"/>
                  </a:lnTo>
                  <a:lnTo>
                    <a:pt x="912" y="98"/>
                  </a:lnTo>
                  <a:lnTo>
                    <a:pt x="910" y="98"/>
                  </a:lnTo>
                  <a:lnTo>
                    <a:pt x="908" y="98"/>
                  </a:lnTo>
                  <a:lnTo>
                    <a:pt x="906" y="98"/>
                  </a:lnTo>
                  <a:lnTo>
                    <a:pt x="904" y="98"/>
                  </a:lnTo>
                  <a:close/>
                  <a:moveTo>
                    <a:pt x="938" y="358"/>
                  </a:moveTo>
                  <a:lnTo>
                    <a:pt x="936" y="362"/>
                  </a:lnTo>
                  <a:lnTo>
                    <a:pt x="934" y="366"/>
                  </a:lnTo>
                  <a:lnTo>
                    <a:pt x="934" y="366"/>
                  </a:lnTo>
                  <a:lnTo>
                    <a:pt x="934" y="366"/>
                  </a:lnTo>
                  <a:lnTo>
                    <a:pt x="932" y="370"/>
                  </a:lnTo>
                  <a:lnTo>
                    <a:pt x="932" y="370"/>
                  </a:lnTo>
                  <a:lnTo>
                    <a:pt x="932" y="370"/>
                  </a:lnTo>
                  <a:lnTo>
                    <a:pt x="932" y="374"/>
                  </a:lnTo>
                  <a:lnTo>
                    <a:pt x="932" y="374"/>
                  </a:lnTo>
                  <a:lnTo>
                    <a:pt x="932" y="376"/>
                  </a:lnTo>
                  <a:lnTo>
                    <a:pt x="932" y="378"/>
                  </a:lnTo>
                  <a:lnTo>
                    <a:pt x="932" y="378"/>
                  </a:lnTo>
                  <a:lnTo>
                    <a:pt x="932" y="378"/>
                  </a:lnTo>
                  <a:lnTo>
                    <a:pt x="932" y="380"/>
                  </a:lnTo>
                  <a:lnTo>
                    <a:pt x="932" y="380"/>
                  </a:lnTo>
                  <a:lnTo>
                    <a:pt x="932" y="380"/>
                  </a:lnTo>
                  <a:lnTo>
                    <a:pt x="934" y="382"/>
                  </a:lnTo>
                  <a:lnTo>
                    <a:pt x="934" y="382"/>
                  </a:lnTo>
                  <a:lnTo>
                    <a:pt x="934" y="382"/>
                  </a:lnTo>
                  <a:lnTo>
                    <a:pt x="934" y="386"/>
                  </a:lnTo>
                  <a:lnTo>
                    <a:pt x="934" y="386"/>
                  </a:lnTo>
                  <a:lnTo>
                    <a:pt x="936" y="386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40" y="388"/>
                  </a:lnTo>
                  <a:lnTo>
                    <a:pt x="940" y="388"/>
                  </a:lnTo>
                  <a:lnTo>
                    <a:pt x="942" y="388"/>
                  </a:lnTo>
                  <a:lnTo>
                    <a:pt x="944" y="390"/>
                  </a:lnTo>
                  <a:lnTo>
                    <a:pt x="944" y="390"/>
                  </a:lnTo>
                  <a:lnTo>
                    <a:pt x="944" y="390"/>
                  </a:lnTo>
                  <a:lnTo>
                    <a:pt x="948" y="390"/>
                  </a:lnTo>
                  <a:lnTo>
                    <a:pt x="954" y="388"/>
                  </a:lnTo>
                  <a:lnTo>
                    <a:pt x="956" y="388"/>
                  </a:lnTo>
                  <a:lnTo>
                    <a:pt x="960" y="388"/>
                  </a:lnTo>
                  <a:lnTo>
                    <a:pt x="960" y="388"/>
                  </a:lnTo>
                  <a:lnTo>
                    <a:pt x="962" y="388"/>
                  </a:lnTo>
                  <a:lnTo>
                    <a:pt x="962" y="386"/>
                  </a:lnTo>
                  <a:lnTo>
                    <a:pt x="962" y="386"/>
                  </a:lnTo>
                  <a:lnTo>
                    <a:pt x="962" y="386"/>
                  </a:lnTo>
                  <a:lnTo>
                    <a:pt x="964" y="384"/>
                  </a:lnTo>
                  <a:lnTo>
                    <a:pt x="964" y="382"/>
                  </a:lnTo>
                  <a:lnTo>
                    <a:pt x="966" y="380"/>
                  </a:lnTo>
                  <a:lnTo>
                    <a:pt x="966" y="378"/>
                  </a:lnTo>
                  <a:lnTo>
                    <a:pt x="968" y="374"/>
                  </a:lnTo>
                  <a:lnTo>
                    <a:pt x="970" y="368"/>
                  </a:lnTo>
                  <a:lnTo>
                    <a:pt x="972" y="360"/>
                  </a:lnTo>
                  <a:lnTo>
                    <a:pt x="972" y="358"/>
                  </a:lnTo>
                  <a:lnTo>
                    <a:pt x="972" y="354"/>
                  </a:lnTo>
                  <a:lnTo>
                    <a:pt x="972" y="352"/>
                  </a:lnTo>
                  <a:lnTo>
                    <a:pt x="972" y="352"/>
                  </a:lnTo>
                  <a:lnTo>
                    <a:pt x="972" y="350"/>
                  </a:lnTo>
                  <a:lnTo>
                    <a:pt x="972" y="350"/>
                  </a:lnTo>
                  <a:lnTo>
                    <a:pt x="970" y="348"/>
                  </a:lnTo>
                  <a:lnTo>
                    <a:pt x="970" y="348"/>
                  </a:lnTo>
                  <a:lnTo>
                    <a:pt x="970" y="348"/>
                  </a:lnTo>
                  <a:lnTo>
                    <a:pt x="970" y="346"/>
                  </a:lnTo>
                  <a:lnTo>
                    <a:pt x="968" y="346"/>
                  </a:lnTo>
                  <a:lnTo>
                    <a:pt x="968" y="346"/>
                  </a:lnTo>
                  <a:lnTo>
                    <a:pt x="966" y="346"/>
                  </a:lnTo>
                  <a:lnTo>
                    <a:pt x="960" y="344"/>
                  </a:lnTo>
                  <a:lnTo>
                    <a:pt x="954" y="344"/>
                  </a:lnTo>
                  <a:lnTo>
                    <a:pt x="950" y="344"/>
                  </a:lnTo>
                  <a:lnTo>
                    <a:pt x="944" y="344"/>
                  </a:lnTo>
                  <a:lnTo>
                    <a:pt x="944" y="344"/>
                  </a:lnTo>
                  <a:lnTo>
                    <a:pt x="942" y="344"/>
                  </a:lnTo>
                  <a:lnTo>
                    <a:pt x="942" y="344"/>
                  </a:lnTo>
                  <a:lnTo>
                    <a:pt x="940" y="346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50"/>
                  </a:lnTo>
                  <a:lnTo>
                    <a:pt x="942" y="350"/>
                  </a:lnTo>
                  <a:lnTo>
                    <a:pt x="942" y="352"/>
                  </a:lnTo>
                  <a:lnTo>
                    <a:pt x="942" y="352"/>
                  </a:lnTo>
                  <a:lnTo>
                    <a:pt x="940" y="354"/>
                  </a:lnTo>
                  <a:lnTo>
                    <a:pt x="938" y="358"/>
                  </a:lnTo>
                  <a:close/>
                  <a:moveTo>
                    <a:pt x="870" y="536"/>
                  </a:moveTo>
                  <a:lnTo>
                    <a:pt x="870" y="534"/>
                  </a:lnTo>
                  <a:lnTo>
                    <a:pt x="870" y="534"/>
                  </a:lnTo>
                  <a:lnTo>
                    <a:pt x="870" y="534"/>
                  </a:lnTo>
                  <a:lnTo>
                    <a:pt x="868" y="534"/>
                  </a:lnTo>
                  <a:lnTo>
                    <a:pt x="868" y="534"/>
                  </a:lnTo>
                  <a:lnTo>
                    <a:pt x="868" y="532"/>
                  </a:lnTo>
                  <a:lnTo>
                    <a:pt x="866" y="532"/>
                  </a:lnTo>
                  <a:lnTo>
                    <a:pt x="866" y="532"/>
                  </a:lnTo>
                  <a:lnTo>
                    <a:pt x="866" y="532"/>
                  </a:lnTo>
                  <a:lnTo>
                    <a:pt x="864" y="532"/>
                  </a:lnTo>
                  <a:lnTo>
                    <a:pt x="860" y="532"/>
                  </a:lnTo>
                  <a:lnTo>
                    <a:pt x="856" y="532"/>
                  </a:lnTo>
                  <a:lnTo>
                    <a:pt x="850" y="532"/>
                  </a:lnTo>
                  <a:lnTo>
                    <a:pt x="848" y="532"/>
                  </a:lnTo>
                  <a:lnTo>
                    <a:pt x="844" y="532"/>
                  </a:lnTo>
                  <a:lnTo>
                    <a:pt x="842" y="534"/>
                  </a:lnTo>
                  <a:lnTo>
                    <a:pt x="842" y="534"/>
                  </a:lnTo>
                  <a:lnTo>
                    <a:pt x="840" y="534"/>
                  </a:lnTo>
                  <a:lnTo>
                    <a:pt x="836" y="540"/>
                  </a:lnTo>
                  <a:lnTo>
                    <a:pt x="836" y="544"/>
                  </a:lnTo>
                  <a:lnTo>
                    <a:pt x="836" y="546"/>
                  </a:lnTo>
                  <a:lnTo>
                    <a:pt x="836" y="546"/>
                  </a:lnTo>
                  <a:lnTo>
                    <a:pt x="836" y="546"/>
                  </a:lnTo>
                  <a:lnTo>
                    <a:pt x="836" y="550"/>
                  </a:lnTo>
                  <a:lnTo>
                    <a:pt x="836" y="550"/>
                  </a:lnTo>
                  <a:lnTo>
                    <a:pt x="836" y="550"/>
                  </a:lnTo>
                  <a:lnTo>
                    <a:pt x="836" y="552"/>
                  </a:lnTo>
                  <a:lnTo>
                    <a:pt x="836" y="552"/>
                  </a:lnTo>
                  <a:lnTo>
                    <a:pt x="838" y="554"/>
                  </a:lnTo>
                  <a:lnTo>
                    <a:pt x="840" y="554"/>
                  </a:lnTo>
                  <a:lnTo>
                    <a:pt x="840" y="554"/>
                  </a:lnTo>
                  <a:lnTo>
                    <a:pt x="840" y="554"/>
                  </a:lnTo>
                  <a:lnTo>
                    <a:pt x="844" y="556"/>
                  </a:lnTo>
                  <a:lnTo>
                    <a:pt x="844" y="556"/>
                  </a:lnTo>
                  <a:lnTo>
                    <a:pt x="844" y="556"/>
                  </a:lnTo>
                  <a:lnTo>
                    <a:pt x="846" y="556"/>
                  </a:lnTo>
                  <a:lnTo>
                    <a:pt x="850" y="556"/>
                  </a:lnTo>
                  <a:lnTo>
                    <a:pt x="854" y="556"/>
                  </a:lnTo>
                  <a:lnTo>
                    <a:pt x="858" y="556"/>
                  </a:lnTo>
                  <a:lnTo>
                    <a:pt x="860" y="554"/>
                  </a:lnTo>
                  <a:lnTo>
                    <a:pt x="860" y="554"/>
                  </a:lnTo>
                  <a:lnTo>
                    <a:pt x="862" y="554"/>
                  </a:lnTo>
                  <a:lnTo>
                    <a:pt x="864" y="554"/>
                  </a:lnTo>
                  <a:lnTo>
                    <a:pt x="864" y="554"/>
                  </a:lnTo>
                  <a:lnTo>
                    <a:pt x="864" y="554"/>
                  </a:lnTo>
                  <a:lnTo>
                    <a:pt x="866" y="552"/>
                  </a:lnTo>
                  <a:lnTo>
                    <a:pt x="866" y="552"/>
                  </a:lnTo>
                  <a:lnTo>
                    <a:pt x="868" y="550"/>
                  </a:lnTo>
                  <a:lnTo>
                    <a:pt x="870" y="548"/>
                  </a:lnTo>
                  <a:lnTo>
                    <a:pt x="870" y="548"/>
                  </a:lnTo>
                  <a:lnTo>
                    <a:pt x="870" y="548"/>
                  </a:lnTo>
                  <a:lnTo>
                    <a:pt x="872" y="544"/>
                  </a:lnTo>
                  <a:lnTo>
                    <a:pt x="872" y="544"/>
                  </a:lnTo>
                  <a:lnTo>
                    <a:pt x="872" y="542"/>
                  </a:lnTo>
                  <a:lnTo>
                    <a:pt x="872" y="542"/>
                  </a:lnTo>
                  <a:lnTo>
                    <a:pt x="872" y="542"/>
                  </a:lnTo>
                  <a:lnTo>
                    <a:pt x="872" y="540"/>
                  </a:lnTo>
                  <a:lnTo>
                    <a:pt x="872" y="538"/>
                  </a:lnTo>
                  <a:lnTo>
                    <a:pt x="872" y="538"/>
                  </a:lnTo>
                  <a:lnTo>
                    <a:pt x="872" y="538"/>
                  </a:lnTo>
                  <a:lnTo>
                    <a:pt x="872" y="536"/>
                  </a:lnTo>
                  <a:lnTo>
                    <a:pt x="872" y="536"/>
                  </a:lnTo>
                  <a:lnTo>
                    <a:pt x="870" y="536"/>
                  </a:lnTo>
                  <a:lnTo>
                    <a:pt x="870" y="536"/>
                  </a:lnTo>
                  <a:close/>
                  <a:moveTo>
                    <a:pt x="890" y="574"/>
                  </a:moveTo>
                  <a:lnTo>
                    <a:pt x="890" y="574"/>
                  </a:lnTo>
                  <a:lnTo>
                    <a:pt x="892" y="574"/>
                  </a:lnTo>
                  <a:lnTo>
                    <a:pt x="892" y="574"/>
                  </a:lnTo>
                  <a:lnTo>
                    <a:pt x="892" y="574"/>
                  </a:lnTo>
                  <a:lnTo>
                    <a:pt x="894" y="574"/>
                  </a:lnTo>
                  <a:lnTo>
                    <a:pt x="896" y="576"/>
                  </a:lnTo>
                  <a:lnTo>
                    <a:pt x="898" y="576"/>
                  </a:lnTo>
                  <a:lnTo>
                    <a:pt x="898" y="576"/>
                  </a:lnTo>
                  <a:lnTo>
                    <a:pt x="900" y="576"/>
                  </a:lnTo>
                  <a:lnTo>
                    <a:pt x="902" y="576"/>
                  </a:lnTo>
                  <a:lnTo>
                    <a:pt x="902" y="576"/>
                  </a:lnTo>
                  <a:lnTo>
                    <a:pt x="902" y="576"/>
                  </a:lnTo>
                  <a:lnTo>
                    <a:pt x="904" y="574"/>
                  </a:lnTo>
                  <a:lnTo>
                    <a:pt x="904" y="574"/>
                  </a:lnTo>
                  <a:lnTo>
                    <a:pt x="906" y="574"/>
                  </a:lnTo>
                  <a:lnTo>
                    <a:pt x="908" y="570"/>
                  </a:lnTo>
                  <a:lnTo>
                    <a:pt x="908" y="570"/>
                  </a:lnTo>
                  <a:lnTo>
                    <a:pt x="910" y="570"/>
                  </a:lnTo>
                  <a:lnTo>
                    <a:pt x="910" y="566"/>
                  </a:lnTo>
                  <a:lnTo>
                    <a:pt x="910" y="566"/>
                  </a:lnTo>
                  <a:lnTo>
                    <a:pt x="910" y="564"/>
                  </a:lnTo>
                  <a:lnTo>
                    <a:pt x="912" y="560"/>
                  </a:lnTo>
                  <a:lnTo>
                    <a:pt x="912" y="560"/>
                  </a:lnTo>
                  <a:lnTo>
                    <a:pt x="912" y="560"/>
                  </a:lnTo>
                  <a:lnTo>
                    <a:pt x="910" y="556"/>
                  </a:lnTo>
                  <a:lnTo>
                    <a:pt x="910" y="556"/>
                  </a:lnTo>
                  <a:lnTo>
                    <a:pt x="910" y="554"/>
                  </a:lnTo>
                  <a:lnTo>
                    <a:pt x="908" y="550"/>
                  </a:lnTo>
                  <a:lnTo>
                    <a:pt x="908" y="550"/>
                  </a:lnTo>
                  <a:lnTo>
                    <a:pt x="908" y="550"/>
                  </a:lnTo>
                  <a:lnTo>
                    <a:pt x="904" y="546"/>
                  </a:lnTo>
                  <a:lnTo>
                    <a:pt x="904" y="546"/>
                  </a:lnTo>
                  <a:lnTo>
                    <a:pt x="904" y="546"/>
                  </a:lnTo>
                  <a:lnTo>
                    <a:pt x="902" y="544"/>
                  </a:lnTo>
                  <a:lnTo>
                    <a:pt x="902" y="544"/>
                  </a:lnTo>
                  <a:lnTo>
                    <a:pt x="902" y="544"/>
                  </a:lnTo>
                  <a:lnTo>
                    <a:pt x="898" y="544"/>
                  </a:lnTo>
                  <a:lnTo>
                    <a:pt x="898" y="544"/>
                  </a:lnTo>
                  <a:lnTo>
                    <a:pt x="896" y="544"/>
                  </a:lnTo>
                  <a:lnTo>
                    <a:pt x="896" y="544"/>
                  </a:lnTo>
                  <a:lnTo>
                    <a:pt x="896" y="546"/>
                  </a:lnTo>
                  <a:lnTo>
                    <a:pt x="894" y="548"/>
                  </a:lnTo>
                  <a:lnTo>
                    <a:pt x="894" y="550"/>
                  </a:lnTo>
                  <a:lnTo>
                    <a:pt x="894" y="552"/>
                  </a:lnTo>
                  <a:lnTo>
                    <a:pt x="892" y="554"/>
                  </a:lnTo>
                  <a:lnTo>
                    <a:pt x="892" y="554"/>
                  </a:lnTo>
                  <a:lnTo>
                    <a:pt x="892" y="556"/>
                  </a:lnTo>
                  <a:lnTo>
                    <a:pt x="892" y="560"/>
                  </a:lnTo>
                  <a:lnTo>
                    <a:pt x="892" y="562"/>
                  </a:lnTo>
                  <a:lnTo>
                    <a:pt x="892" y="562"/>
                  </a:lnTo>
                  <a:lnTo>
                    <a:pt x="890" y="564"/>
                  </a:lnTo>
                  <a:lnTo>
                    <a:pt x="890" y="566"/>
                  </a:lnTo>
                  <a:lnTo>
                    <a:pt x="890" y="566"/>
                  </a:lnTo>
                  <a:lnTo>
                    <a:pt x="890" y="566"/>
                  </a:lnTo>
                  <a:lnTo>
                    <a:pt x="890" y="568"/>
                  </a:lnTo>
                  <a:lnTo>
                    <a:pt x="890" y="568"/>
                  </a:lnTo>
                  <a:lnTo>
                    <a:pt x="888" y="570"/>
                  </a:lnTo>
                  <a:lnTo>
                    <a:pt x="890" y="570"/>
                  </a:lnTo>
                  <a:lnTo>
                    <a:pt x="890" y="570"/>
                  </a:lnTo>
                  <a:lnTo>
                    <a:pt x="890" y="572"/>
                  </a:lnTo>
                  <a:lnTo>
                    <a:pt x="890" y="574"/>
                  </a:lnTo>
                  <a:close/>
                  <a:moveTo>
                    <a:pt x="884" y="626"/>
                  </a:moveTo>
                  <a:lnTo>
                    <a:pt x="884" y="626"/>
                  </a:lnTo>
                  <a:lnTo>
                    <a:pt x="884" y="626"/>
                  </a:lnTo>
                  <a:lnTo>
                    <a:pt x="882" y="628"/>
                  </a:lnTo>
                  <a:lnTo>
                    <a:pt x="882" y="628"/>
                  </a:lnTo>
                  <a:lnTo>
                    <a:pt x="882" y="628"/>
                  </a:lnTo>
                  <a:lnTo>
                    <a:pt x="880" y="632"/>
                  </a:lnTo>
                  <a:lnTo>
                    <a:pt x="880" y="632"/>
                  </a:lnTo>
                  <a:lnTo>
                    <a:pt x="880" y="632"/>
                  </a:lnTo>
                  <a:lnTo>
                    <a:pt x="880" y="634"/>
                  </a:lnTo>
                  <a:lnTo>
                    <a:pt x="880" y="634"/>
                  </a:lnTo>
                  <a:lnTo>
                    <a:pt x="880" y="636"/>
                  </a:lnTo>
                  <a:lnTo>
                    <a:pt x="880" y="638"/>
                  </a:lnTo>
                  <a:lnTo>
                    <a:pt x="880" y="642"/>
                  </a:lnTo>
                  <a:lnTo>
                    <a:pt x="882" y="646"/>
                  </a:lnTo>
                  <a:lnTo>
                    <a:pt x="882" y="650"/>
                  </a:lnTo>
                  <a:lnTo>
                    <a:pt x="882" y="650"/>
                  </a:lnTo>
                  <a:lnTo>
                    <a:pt x="884" y="652"/>
                  </a:lnTo>
                  <a:lnTo>
                    <a:pt x="884" y="652"/>
                  </a:lnTo>
                  <a:lnTo>
                    <a:pt x="886" y="652"/>
                  </a:lnTo>
                  <a:lnTo>
                    <a:pt x="890" y="652"/>
                  </a:lnTo>
                  <a:lnTo>
                    <a:pt x="890" y="652"/>
                  </a:lnTo>
                  <a:lnTo>
                    <a:pt x="892" y="652"/>
                  </a:lnTo>
                  <a:lnTo>
                    <a:pt x="894" y="648"/>
                  </a:lnTo>
                  <a:lnTo>
                    <a:pt x="894" y="648"/>
                  </a:lnTo>
                  <a:lnTo>
                    <a:pt x="896" y="648"/>
                  </a:lnTo>
                  <a:lnTo>
                    <a:pt x="896" y="646"/>
                  </a:lnTo>
                  <a:lnTo>
                    <a:pt x="896" y="646"/>
                  </a:lnTo>
                  <a:lnTo>
                    <a:pt x="898" y="644"/>
                  </a:lnTo>
                  <a:lnTo>
                    <a:pt x="898" y="640"/>
                  </a:lnTo>
                  <a:lnTo>
                    <a:pt x="898" y="640"/>
                  </a:lnTo>
                  <a:lnTo>
                    <a:pt x="898" y="640"/>
                  </a:lnTo>
                  <a:lnTo>
                    <a:pt x="898" y="636"/>
                  </a:lnTo>
                  <a:lnTo>
                    <a:pt x="898" y="636"/>
                  </a:lnTo>
                  <a:lnTo>
                    <a:pt x="898" y="636"/>
                  </a:lnTo>
                  <a:lnTo>
                    <a:pt x="896" y="632"/>
                  </a:lnTo>
                  <a:lnTo>
                    <a:pt x="896" y="632"/>
                  </a:lnTo>
                  <a:lnTo>
                    <a:pt x="896" y="632"/>
                  </a:lnTo>
                  <a:lnTo>
                    <a:pt x="894" y="628"/>
                  </a:lnTo>
                  <a:lnTo>
                    <a:pt x="894" y="628"/>
                  </a:lnTo>
                  <a:lnTo>
                    <a:pt x="894" y="628"/>
                  </a:lnTo>
                  <a:lnTo>
                    <a:pt x="892" y="624"/>
                  </a:lnTo>
                  <a:lnTo>
                    <a:pt x="892" y="624"/>
                  </a:lnTo>
                  <a:lnTo>
                    <a:pt x="890" y="622"/>
                  </a:lnTo>
                  <a:lnTo>
                    <a:pt x="890" y="622"/>
                  </a:lnTo>
                  <a:lnTo>
                    <a:pt x="888" y="622"/>
                  </a:lnTo>
                  <a:lnTo>
                    <a:pt x="884" y="626"/>
                  </a:lnTo>
                  <a:close/>
                  <a:moveTo>
                    <a:pt x="892" y="732"/>
                  </a:moveTo>
                  <a:lnTo>
                    <a:pt x="892" y="734"/>
                  </a:lnTo>
                  <a:lnTo>
                    <a:pt x="892" y="736"/>
                  </a:lnTo>
                  <a:lnTo>
                    <a:pt x="892" y="738"/>
                  </a:lnTo>
                  <a:lnTo>
                    <a:pt x="892" y="738"/>
                  </a:lnTo>
                  <a:lnTo>
                    <a:pt x="894" y="740"/>
                  </a:lnTo>
                  <a:lnTo>
                    <a:pt x="898" y="742"/>
                  </a:lnTo>
                  <a:lnTo>
                    <a:pt x="902" y="744"/>
                  </a:lnTo>
                  <a:lnTo>
                    <a:pt x="904" y="744"/>
                  </a:lnTo>
                  <a:lnTo>
                    <a:pt x="904" y="744"/>
                  </a:lnTo>
                  <a:lnTo>
                    <a:pt x="906" y="744"/>
                  </a:lnTo>
                  <a:lnTo>
                    <a:pt x="908" y="746"/>
                  </a:lnTo>
                  <a:lnTo>
                    <a:pt x="908" y="746"/>
                  </a:lnTo>
                  <a:lnTo>
                    <a:pt x="908" y="744"/>
                  </a:lnTo>
                  <a:lnTo>
                    <a:pt x="910" y="744"/>
                  </a:lnTo>
                  <a:lnTo>
                    <a:pt x="910" y="744"/>
                  </a:lnTo>
                  <a:lnTo>
                    <a:pt x="912" y="742"/>
                  </a:lnTo>
                  <a:lnTo>
                    <a:pt x="912" y="740"/>
                  </a:lnTo>
                  <a:lnTo>
                    <a:pt x="912" y="740"/>
                  </a:lnTo>
                  <a:lnTo>
                    <a:pt x="912" y="740"/>
                  </a:lnTo>
                  <a:lnTo>
                    <a:pt x="914" y="736"/>
                  </a:lnTo>
                  <a:lnTo>
                    <a:pt x="914" y="734"/>
                  </a:lnTo>
                  <a:lnTo>
                    <a:pt x="914" y="732"/>
                  </a:lnTo>
                  <a:lnTo>
                    <a:pt x="916" y="732"/>
                  </a:lnTo>
                  <a:lnTo>
                    <a:pt x="918" y="730"/>
                  </a:lnTo>
                  <a:lnTo>
                    <a:pt x="920" y="728"/>
                  </a:lnTo>
                  <a:lnTo>
                    <a:pt x="924" y="726"/>
                  </a:lnTo>
                  <a:lnTo>
                    <a:pt x="928" y="722"/>
                  </a:lnTo>
                  <a:lnTo>
                    <a:pt x="930" y="720"/>
                  </a:lnTo>
                  <a:lnTo>
                    <a:pt x="932" y="718"/>
                  </a:lnTo>
                  <a:lnTo>
                    <a:pt x="932" y="716"/>
                  </a:lnTo>
                  <a:lnTo>
                    <a:pt x="932" y="716"/>
                  </a:lnTo>
                  <a:lnTo>
                    <a:pt x="934" y="714"/>
                  </a:lnTo>
                  <a:lnTo>
                    <a:pt x="934" y="714"/>
                  </a:lnTo>
                  <a:lnTo>
                    <a:pt x="934" y="714"/>
                  </a:lnTo>
                  <a:lnTo>
                    <a:pt x="934" y="712"/>
                  </a:lnTo>
                  <a:lnTo>
                    <a:pt x="934" y="710"/>
                  </a:lnTo>
                  <a:lnTo>
                    <a:pt x="934" y="710"/>
                  </a:lnTo>
                  <a:lnTo>
                    <a:pt x="934" y="710"/>
                  </a:lnTo>
                  <a:lnTo>
                    <a:pt x="934" y="708"/>
                  </a:lnTo>
                  <a:lnTo>
                    <a:pt x="934" y="708"/>
                  </a:lnTo>
                  <a:lnTo>
                    <a:pt x="932" y="708"/>
                  </a:lnTo>
                  <a:lnTo>
                    <a:pt x="932" y="706"/>
                  </a:lnTo>
                  <a:lnTo>
                    <a:pt x="932" y="706"/>
                  </a:lnTo>
                  <a:lnTo>
                    <a:pt x="930" y="706"/>
                  </a:lnTo>
                  <a:lnTo>
                    <a:pt x="928" y="704"/>
                  </a:lnTo>
                  <a:lnTo>
                    <a:pt x="928" y="704"/>
                  </a:lnTo>
                  <a:lnTo>
                    <a:pt x="928" y="704"/>
                  </a:lnTo>
                  <a:lnTo>
                    <a:pt x="920" y="704"/>
                  </a:lnTo>
                  <a:lnTo>
                    <a:pt x="912" y="704"/>
                  </a:lnTo>
                  <a:lnTo>
                    <a:pt x="904" y="704"/>
                  </a:lnTo>
                  <a:lnTo>
                    <a:pt x="898" y="704"/>
                  </a:lnTo>
                  <a:lnTo>
                    <a:pt x="898" y="704"/>
                  </a:lnTo>
                  <a:lnTo>
                    <a:pt x="896" y="704"/>
                  </a:lnTo>
                  <a:lnTo>
                    <a:pt x="894" y="706"/>
                  </a:lnTo>
                  <a:lnTo>
                    <a:pt x="894" y="710"/>
                  </a:lnTo>
                  <a:lnTo>
                    <a:pt x="894" y="714"/>
                  </a:lnTo>
                  <a:lnTo>
                    <a:pt x="894" y="718"/>
                  </a:lnTo>
                  <a:lnTo>
                    <a:pt x="892" y="720"/>
                  </a:lnTo>
                  <a:lnTo>
                    <a:pt x="892" y="722"/>
                  </a:lnTo>
                  <a:lnTo>
                    <a:pt x="892" y="724"/>
                  </a:lnTo>
                  <a:lnTo>
                    <a:pt x="892" y="726"/>
                  </a:lnTo>
                  <a:lnTo>
                    <a:pt x="892" y="728"/>
                  </a:lnTo>
                  <a:lnTo>
                    <a:pt x="892" y="730"/>
                  </a:lnTo>
                  <a:lnTo>
                    <a:pt x="892" y="732"/>
                  </a:lnTo>
                  <a:close/>
                  <a:moveTo>
                    <a:pt x="1166" y="894"/>
                  </a:moveTo>
                  <a:lnTo>
                    <a:pt x="1166" y="894"/>
                  </a:lnTo>
                  <a:lnTo>
                    <a:pt x="1166" y="894"/>
                  </a:lnTo>
                  <a:lnTo>
                    <a:pt x="1164" y="894"/>
                  </a:lnTo>
                  <a:lnTo>
                    <a:pt x="1164" y="894"/>
                  </a:lnTo>
                  <a:lnTo>
                    <a:pt x="1162" y="894"/>
                  </a:lnTo>
                  <a:lnTo>
                    <a:pt x="1162" y="892"/>
                  </a:lnTo>
                  <a:lnTo>
                    <a:pt x="1162" y="892"/>
                  </a:lnTo>
                  <a:lnTo>
                    <a:pt x="1160" y="892"/>
                  </a:lnTo>
                  <a:lnTo>
                    <a:pt x="1158" y="890"/>
                  </a:lnTo>
                  <a:lnTo>
                    <a:pt x="1156" y="888"/>
                  </a:lnTo>
                  <a:lnTo>
                    <a:pt x="1154" y="886"/>
                  </a:lnTo>
                  <a:lnTo>
                    <a:pt x="1152" y="884"/>
                  </a:lnTo>
                  <a:lnTo>
                    <a:pt x="1150" y="882"/>
                  </a:lnTo>
                  <a:lnTo>
                    <a:pt x="1148" y="880"/>
                  </a:lnTo>
                  <a:lnTo>
                    <a:pt x="1144" y="876"/>
                  </a:lnTo>
                  <a:lnTo>
                    <a:pt x="1144" y="876"/>
                  </a:lnTo>
                  <a:lnTo>
                    <a:pt x="1144" y="876"/>
                  </a:lnTo>
                  <a:lnTo>
                    <a:pt x="1142" y="876"/>
                  </a:lnTo>
                  <a:lnTo>
                    <a:pt x="1142" y="876"/>
                  </a:lnTo>
                  <a:lnTo>
                    <a:pt x="1140" y="876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4" y="876"/>
                  </a:lnTo>
                  <a:lnTo>
                    <a:pt x="1132" y="876"/>
                  </a:lnTo>
                  <a:lnTo>
                    <a:pt x="1130" y="878"/>
                  </a:lnTo>
                  <a:lnTo>
                    <a:pt x="1128" y="878"/>
                  </a:lnTo>
                  <a:lnTo>
                    <a:pt x="1124" y="880"/>
                  </a:lnTo>
                  <a:lnTo>
                    <a:pt x="1124" y="880"/>
                  </a:lnTo>
                  <a:lnTo>
                    <a:pt x="1124" y="882"/>
                  </a:lnTo>
                  <a:lnTo>
                    <a:pt x="1124" y="882"/>
                  </a:lnTo>
                  <a:lnTo>
                    <a:pt x="1124" y="884"/>
                  </a:lnTo>
                  <a:lnTo>
                    <a:pt x="1128" y="888"/>
                  </a:lnTo>
                  <a:lnTo>
                    <a:pt x="1130" y="890"/>
                  </a:lnTo>
                  <a:lnTo>
                    <a:pt x="1136" y="894"/>
                  </a:lnTo>
                  <a:lnTo>
                    <a:pt x="1138" y="894"/>
                  </a:lnTo>
                  <a:lnTo>
                    <a:pt x="1138" y="896"/>
                  </a:lnTo>
                  <a:lnTo>
                    <a:pt x="1138" y="896"/>
                  </a:lnTo>
                  <a:lnTo>
                    <a:pt x="1138" y="896"/>
                  </a:lnTo>
                  <a:lnTo>
                    <a:pt x="1140" y="898"/>
                  </a:lnTo>
                  <a:lnTo>
                    <a:pt x="1140" y="898"/>
                  </a:lnTo>
                  <a:lnTo>
                    <a:pt x="1140" y="898"/>
                  </a:lnTo>
                  <a:lnTo>
                    <a:pt x="1142" y="900"/>
                  </a:lnTo>
                  <a:lnTo>
                    <a:pt x="1142" y="900"/>
                  </a:lnTo>
                  <a:lnTo>
                    <a:pt x="1142" y="900"/>
                  </a:lnTo>
                  <a:lnTo>
                    <a:pt x="1146" y="900"/>
                  </a:lnTo>
                  <a:lnTo>
                    <a:pt x="1148" y="900"/>
                  </a:lnTo>
                  <a:lnTo>
                    <a:pt x="1150" y="902"/>
                  </a:lnTo>
                  <a:lnTo>
                    <a:pt x="1150" y="902"/>
                  </a:lnTo>
                  <a:lnTo>
                    <a:pt x="1150" y="902"/>
                  </a:lnTo>
                  <a:lnTo>
                    <a:pt x="1158" y="902"/>
                  </a:lnTo>
                  <a:lnTo>
                    <a:pt x="1164" y="900"/>
                  </a:lnTo>
                  <a:lnTo>
                    <a:pt x="1164" y="900"/>
                  </a:lnTo>
                  <a:lnTo>
                    <a:pt x="1166" y="900"/>
                  </a:lnTo>
                  <a:lnTo>
                    <a:pt x="1166" y="898"/>
                  </a:lnTo>
                  <a:lnTo>
                    <a:pt x="1166" y="898"/>
                  </a:lnTo>
                  <a:lnTo>
                    <a:pt x="1168" y="898"/>
                  </a:lnTo>
                  <a:lnTo>
                    <a:pt x="1168" y="896"/>
                  </a:lnTo>
                  <a:lnTo>
                    <a:pt x="1166" y="896"/>
                  </a:lnTo>
                  <a:lnTo>
                    <a:pt x="1166" y="896"/>
                  </a:lnTo>
                  <a:lnTo>
                    <a:pt x="1166" y="894"/>
                  </a:lnTo>
                  <a:lnTo>
                    <a:pt x="1166" y="89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2" name="Freeform 27"/>
            <p:cNvSpPr>
              <a:spLocks noEditPoints="1"/>
            </p:cNvSpPr>
            <p:nvPr/>
          </p:nvSpPr>
          <p:spPr bwMode="auto">
            <a:xfrm>
              <a:off x="38941" y="1797108"/>
              <a:ext cx="2749367" cy="2016581"/>
            </a:xfrm>
            <a:custGeom>
              <a:avLst/>
              <a:gdLst>
                <a:gd name="T0" fmla="*/ 300 w 1672"/>
                <a:gd name="T1" fmla="*/ 1176 h 1238"/>
                <a:gd name="T2" fmla="*/ 310 w 1672"/>
                <a:gd name="T3" fmla="*/ 1196 h 1238"/>
                <a:gd name="T4" fmla="*/ 356 w 1672"/>
                <a:gd name="T5" fmla="*/ 1236 h 1238"/>
                <a:gd name="T6" fmla="*/ 1656 w 1672"/>
                <a:gd name="T7" fmla="*/ 728 h 1238"/>
                <a:gd name="T8" fmla="*/ 1628 w 1672"/>
                <a:gd name="T9" fmla="*/ 750 h 1238"/>
                <a:gd name="T10" fmla="*/ 1532 w 1672"/>
                <a:gd name="T11" fmla="*/ 788 h 1238"/>
                <a:gd name="T12" fmla="*/ 1432 w 1672"/>
                <a:gd name="T13" fmla="*/ 848 h 1238"/>
                <a:gd name="T14" fmla="*/ 1432 w 1672"/>
                <a:gd name="T15" fmla="*/ 796 h 1238"/>
                <a:gd name="T16" fmla="*/ 1410 w 1672"/>
                <a:gd name="T17" fmla="*/ 758 h 1238"/>
                <a:gd name="T18" fmla="*/ 1366 w 1672"/>
                <a:gd name="T19" fmla="*/ 840 h 1238"/>
                <a:gd name="T20" fmla="*/ 1400 w 1672"/>
                <a:gd name="T21" fmla="*/ 746 h 1238"/>
                <a:gd name="T22" fmla="*/ 1324 w 1672"/>
                <a:gd name="T23" fmla="*/ 722 h 1238"/>
                <a:gd name="T24" fmla="*/ 1238 w 1672"/>
                <a:gd name="T25" fmla="*/ 702 h 1238"/>
                <a:gd name="T26" fmla="*/ 860 w 1672"/>
                <a:gd name="T27" fmla="*/ 704 h 1238"/>
                <a:gd name="T28" fmla="*/ 814 w 1672"/>
                <a:gd name="T29" fmla="*/ 738 h 1238"/>
                <a:gd name="T30" fmla="*/ 886 w 1672"/>
                <a:gd name="T31" fmla="*/ 992 h 1238"/>
                <a:gd name="T32" fmla="*/ 954 w 1672"/>
                <a:gd name="T33" fmla="*/ 1004 h 1238"/>
                <a:gd name="T34" fmla="*/ 1052 w 1672"/>
                <a:gd name="T35" fmla="*/ 1034 h 1238"/>
                <a:gd name="T36" fmla="*/ 1130 w 1672"/>
                <a:gd name="T37" fmla="*/ 1068 h 1238"/>
                <a:gd name="T38" fmla="*/ 1184 w 1672"/>
                <a:gd name="T39" fmla="*/ 1116 h 1238"/>
                <a:gd name="T40" fmla="*/ 1246 w 1672"/>
                <a:gd name="T41" fmla="*/ 1072 h 1238"/>
                <a:gd name="T42" fmla="*/ 1350 w 1672"/>
                <a:gd name="T43" fmla="*/ 1056 h 1238"/>
                <a:gd name="T44" fmla="*/ 1412 w 1672"/>
                <a:gd name="T45" fmla="*/ 1056 h 1238"/>
                <a:gd name="T46" fmla="*/ 1466 w 1672"/>
                <a:gd name="T47" fmla="*/ 1138 h 1238"/>
                <a:gd name="T48" fmla="*/ 1452 w 1672"/>
                <a:gd name="T49" fmla="*/ 1036 h 1238"/>
                <a:gd name="T50" fmla="*/ 1546 w 1672"/>
                <a:gd name="T51" fmla="*/ 912 h 1238"/>
                <a:gd name="T52" fmla="*/ 1632 w 1672"/>
                <a:gd name="T53" fmla="*/ 848 h 1238"/>
                <a:gd name="T54" fmla="*/ 1640 w 1672"/>
                <a:gd name="T55" fmla="*/ 796 h 1238"/>
                <a:gd name="T56" fmla="*/ 678 w 1672"/>
                <a:gd name="T57" fmla="*/ 506 h 1238"/>
                <a:gd name="T58" fmla="*/ 622 w 1672"/>
                <a:gd name="T59" fmla="*/ 436 h 1238"/>
                <a:gd name="T60" fmla="*/ 582 w 1672"/>
                <a:gd name="T61" fmla="*/ 430 h 1238"/>
                <a:gd name="T62" fmla="*/ 572 w 1672"/>
                <a:gd name="T63" fmla="*/ 324 h 1238"/>
                <a:gd name="T64" fmla="*/ 576 w 1672"/>
                <a:gd name="T65" fmla="*/ 66 h 1238"/>
                <a:gd name="T66" fmla="*/ 458 w 1672"/>
                <a:gd name="T67" fmla="*/ 38 h 1238"/>
                <a:gd name="T68" fmla="*/ 388 w 1672"/>
                <a:gd name="T69" fmla="*/ 22 h 1238"/>
                <a:gd name="T70" fmla="*/ 356 w 1672"/>
                <a:gd name="T71" fmla="*/ 2 h 1238"/>
                <a:gd name="T72" fmla="*/ 300 w 1672"/>
                <a:gd name="T73" fmla="*/ 26 h 1238"/>
                <a:gd name="T74" fmla="*/ 256 w 1672"/>
                <a:gd name="T75" fmla="*/ 54 h 1238"/>
                <a:gd name="T76" fmla="*/ 194 w 1672"/>
                <a:gd name="T77" fmla="*/ 118 h 1238"/>
                <a:gd name="T78" fmla="*/ 228 w 1672"/>
                <a:gd name="T79" fmla="*/ 180 h 1238"/>
                <a:gd name="T80" fmla="*/ 238 w 1672"/>
                <a:gd name="T81" fmla="*/ 222 h 1238"/>
                <a:gd name="T82" fmla="*/ 166 w 1672"/>
                <a:gd name="T83" fmla="*/ 236 h 1238"/>
                <a:gd name="T84" fmla="*/ 204 w 1672"/>
                <a:gd name="T85" fmla="*/ 276 h 1238"/>
                <a:gd name="T86" fmla="*/ 274 w 1672"/>
                <a:gd name="T87" fmla="*/ 306 h 1238"/>
                <a:gd name="T88" fmla="*/ 206 w 1672"/>
                <a:gd name="T89" fmla="*/ 378 h 1238"/>
                <a:gd name="T90" fmla="*/ 210 w 1672"/>
                <a:gd name="T91" fmla="*/ 406 h 1238"/>
                <a:gd name="T92" fmla="*/ 252 w 1672"/>
                <a:gd name="T93" fmla="*/ 448 h 1238"/>
                <a:gd name="T94" fmla="*/ 304 w 1672"/>
                <a:gd name="T95" fmla="*/ 464 h 1238"/>
                <a:gd name="T96" fmla="*/ 274 w 1672"/>
                <a:gd name="T97" fmla="*/ 516 h 1238"/>
                <a:gd name="T98" fmla="*/ 160 w 1672"/>
                <a:gd name="T99" fmla="*/ 580 h 1238"/>
                <a:gd name="T100" fmla="*/ 28 w 1672"/>
                <a:gd name="T101" fmla="*/ 616 h 1238"/>
                <a:gd name="T102" fmla="*/ 116 w 1672"/>
                <a:gd name="T103" fmla="*/ 614 h 1238"/>
                <a:gd name="T104" fmla="*/ 196 w 1672"/>
                <a:gd name="T105" fmla="*/ 594 h 1238"/>
                <a:gd name="T106" fmla="*/ 386 w 1672"/>
                <a:gd name="T107" fmla="*/ 442 h 1238"/>
                <a:gd name="T108" fmla="*/ 382 w 1672"/>
                <a:gd name="T109" fmla="*/ 474 h 1238"/>
                <a:gd name="T110" fmla="*/ 488 w 1672"/>
                <a:gd name="T111" fmla="*/ 414 h 1238"/>
                <a:gd name="T112" fmla="*/ 538 w 1672"/>
                <a:gd name="T113" fmla="*/ 418 h 1238"/>
                <a:gd name="T114" fmla="*/ 598 w 1672"/>
                <a:gd name="T115" fmla="*/ 466 h 1238"/>
                <a:gd name="T116" fmla="*/ 624 w 1672"/>
                <a:gd name="T117" fmla="*/ 510 h 1238"/>
                <a:gd name="T118" fmla="*/ 634 w 1672"/>
                <a:gd name="T119" fmla="*/ 482 h 1238"/>
                <a:gd name="T120" fmla="*/ 642 w 1672"/>
                <a:gd name="T121" fmla="*/ 510 h 1238"/>
                <a:gd name="T122" fmla="*/ 648 w 1672"/>
                <a:gd name="T123" fmla="*/ 548 h 1238"/>
                <a:gd name="T124" fmla="*/ 688 w 1672"/>
                <a:gd name="T125" fmla="*/ 52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2" h="1238">
                  <a:moveTo>
                    <a:pt x="370" y="1220"/>
                  </a:moveTo>
                  <a:lnTo>
                    <a:pt x="366" y="1216"/>
                  </a:lnTo>
                  <a:lnTo>
                    <a:pt x="364" y="1212"/>
                  </a:lnTo>
                  <a:lnTo>
                    <a:pt x="362" y="1210"/>
                  </a:lnTo>
                  <a:lnTo>
                    <a:pt x="360" y="1208"/>
                  </a:lnTo>
                  <a:lnTo>
                    <a:pt x="358" y="1204"/>
                  </a:lnTo>
                  <a:lnTo>
                    <a:pt x="356" y="1200"/>
                  </a:lnTo>
                  <a:lnTo>
                    <a:pt x="354" y="1194"/>
                  </a:lnTo>
                  <a:lnTo>
                    <a:pt x="354" y="1194"/>
                  </a:lnTo>
                  <a:lnTo>
                    <a:pt x="352" y="1192"/>
                  </a:lnTo>
                  <a:lnTo>
                    <a:pt x="348" y="1190"/>
                  </a:lnTo>
                  <a:lnTo>
                    <a:pt x="342" y="1188"/>
                  </a:lnTo>
                  <a:lnTo>
                    <a:pt x="338" y="1186"/>
                  </a:lnTo>
                  <a:lnTo>
                    <a:pt x="332" y="1186"/>
                  </a:lnTo>
                  <a:lnTo>
                    <a:pt x="328" y="1186"/>
                  </a:lnTo>
                  <a:lnTo>
                    <a:pt x="322" y="1186"/>
                  </a:lnTo>
                  <a:lnTo>
                    <a:pt x="316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2"/>
                  </a:lnTo>
                  <a:lnTo>
                    <a:pt x="308" y="1182"/>
                  </a:lnTo>
                  <a:lnTo>
                    <a:pt x="308" y="1182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4" y="1178"/>
                  </a:lnTo>
                  <a:lnTo>
                    <a:pt x="304" y="1178"/>
                  </a:lnTo>
                  <a:lnTo>
                    <a:pt x="304" y="1176"/>
                  </a:lnTo>
                  <a:lnTo>
                    <a:pt x="300" y="1176"/>
                  </a:lnTo>
                  <a:lnTo>
                    <a:pt x="300" y="1176"/>
                  </a:lnTo>
                  <a:lnTo>
                    <a:pt x="298" y="1176"/>
                  </a:lnTo>
                  <a:lnTo>
                    <a:pt x="294" y="1176"/>
                  </a:lnTo>
                  <a:lnTo>
                    <a:pt x="294" y="1176"/>
                  </a:lnTo>
                  <a:lnTo>
                    <a:pt x="292" y="1176"/>
                  </a:lnTo>
                  <a:lnTo>
                    <a:pt x="290" y="1178"/>
                  </a:lnTo>
                  <a:lnTo>
                    <a:pt x="286" y="1180"/>
                  </a:lnTo>
                  <a:lnTo>
                    <a:pt x="284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6"/>
                  </a:lnTo>
                  <a:lnTo>
                    <a:pt x="276" y="1188"/>
                  </a:lnTo>
                  <a:lnTo>
                    <a:pt x="276" y="1188"/>
                  </a:lnTo>
                  <a:lnTo>
                    <a:pt x="278" y="1192"/>
                  </a:lnTo>
                  <a:lnTo>
                    <a:pt x="278" y="1192"/>
                  </a:lnTo>
                  <a:lnTo>
                    <a:pt x="280" y="1192"/>
                  </a:lnTo>
                  <a:lnTo>
                    <a:pt x="286" y="1192"/>
                  </a:lnTo>
                  <a:lnTo>
                    <a:pt x="292" y="1192"/>
                  </a:lnTo>
                  <a:lnTo>
                    <a:pt x="298" y="1192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6" y="1190"/>
                  </a:lnTo>
                  <a:lnTo>
                    <a:pt x="306" y="1190"/>
                  </a:lnTo>
                  <a:lnTo>
                    <a:pt x="308" y="1190"/>
                  </a:lnTo>
                  <a:lnTo>
                    <a:pt x="308" y="1188"/>
                  </a:lnTo>
                  <a:lnTo>
                    <a:pt x="308" y="1192"/>
                  </a:lnTo>
                  <a:lnTo>
                    <a:pt x="310" y="1194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6" y="1202"/>
                  </a:lnTo>
                  <a:lnTo>
                    <a:pt x="318" y="1202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4" y="1204"/>
                  </a:lnTo>
                  <a:lnTo>
                    <a:pt x="326" y="1206"/>
                  </a:lnTo>
                  <a:lnTo>
                    <a:pt x="330" y="1206"/>
                  </a:lnTo>
                  <a:lnTo>
                    <a:pt x="332" y="1208"/>
                  </a:lnTo>
                  <a:lnTo>
                    <a:pt x="334" y="1208"/>
                  </a:lnTo>
                  <a:lnTo>
                    <a:pt x="336" y="1210"/>
                  </a:lnTo>
                  <a:lnTo>
                    <a:pt x="336" y="1210"/>
                  </a:lnTo>
                  <a:lnTo>
                    <a:pt x="336" y="1212"/>
                  </a:lnTo>
                  <a:lnTo>
                    <a:pt x="338" y="1212"/>
                  </a:lnTo>
                  <a:lnTo>
                    <a:pt x="340" y="1214"/>
                  </a:lnTo>
                  <a:lnTo>
                    <a:pt x="342" y="1214"/>
                  </a:lnTo>
                  <a:lnTo>
                    <a:pt x="342" y="1216"/>
                  </a:lnTo>
                  <a:lnTo>
                    <a:pt x="344" y="1218"/>
                  </a:lnTo>
                  <a:lnTo>
                    <a:pt x="344" y="1222"/>
                  </a:lnTo>
                  <a:lnTo>
                    <a:pt x="344" y="1226"/>
                  </a:lnTo>
                  <a:lnTo>
                    <a:pt x="346" y="1230"/>
                  </a:lnTo>
                  <a:lnTo>
                    <a:pt x="346" y="1232"/>
                  </a:lnTo>
                  <a:lnTo>
                    <a:pt x="346" y="1232"/>
                  </a:lnTo>
                  <a:lnTo>
                    <a:pt x="348" y="1234"/>
                  </a:lnTo>
                  <a:lnTo>
                    <a:pt x="350" y="1236"/>
                  </a:lnTo>
                  <a:lnTo>
                    <a:pt x="350" y="1236"/>
                  </a:lnTo>
                  <a:lnTo>
                    <a:pt x="352" y="1238"/>
                  </a:lnTo>
                  <a:lnTo>
                    <a:pt x="352" y="1238"/>
                  </a:lnTo>
                  <a:lnTo>
                    <a:pt x="354" y="1238"/>
                  </a:lnTo>
                  <a:lnTo>
                    <a:pt x="356" y="1236"/>
                  </a:lnTo>
                  <a:lnTo>
                    <a:pt x="358" y="1234"/>
                  </a:lnTo>
                  <a:lnTo>
                    <a:pt x="362" y="1232"/>
                  </a:lnTo>
                  <a:lnTo>
                    <a:pt x="362" y="1232"/>
                  </a:lnTo>
                  <a:lnTo>
                    <a:pt x="364" y="1230"/>
                  </a:lnTo>
                  <a:lnTo>
                    <a:pt x="366" y="1230"/>
                  </a:lnTo>
                  <a:lnTo>
                    <a:pt x="368" y="1230"/>
                  </a:lnTo>
                  <a:lnTo>
                    <a:pt x="372" y="1228"/>
                  </a:lnTo>
                  <a:lnTo>
                    <a:pt x="372" y="1228"/>
                  </a:lnTo>
                  <a:lnTo>
                    <a:pt x="374" y="1226"/>
                  </a:lnTo>
                  <a:lnTo>
                    <a:pt x="374" y="1226"/>
                  </a:lnTo>
                  <a:lnTo>
                    <a:pt x="374" y="1224"/>
                  </a:lnTo>
                  <a:lnTo>
                    <a:pt x="370" y="1220"/>
                  </a:lnTo>
                  <a:close/>
                  <a:moveTo>
                    <a:pt x="1672" y="778"/>
                  </a:moveTo>
                  <a:lnTo>
                    <a:pt x="1672" y="778"/>
                  </a:lnTo>
                  <a:lnTo>
                    <a:pt x="1672" y="776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68" y="774"/>
                  </a:lnTo>
                  <a:lnTo>
                    <a:pt x="1666" y="772"/>
                  </a:lnTo>
                  <a:lnTo>
                    <a:pt x="1662" y="770"/>
                  </a:lnTo>
                  <a:lnTo>
                    <a:pt x="1662" y="768"/>
                  </a:lnTo>
                  <a:lnTo>
                    <a:pt x="1660" y="766"/>
                  </a:lnTo>
                  <a:lnTo>
                    <a:pt x="1660" y="764"/>
                  </a:lnTo>
                  <a:lnTo>
                    <a:pt x="1660" y="762"/>
                  </a:lnTo>
                  <a:lnTo>
                    <a:pt x="1660" y="754"/>
                  </a:lnTo>
                  <a:lnTo>
                    <a:pt x="1660" y="748"/>
                  </a:lnTo>
                  <a:lnTo>
                    <a:pt x="1660" y="744"/>
                  </a:lnTo>
                  <a:lnTo>
                    <a:pt x="1660" y="742"/>
                  </a:lnTo>
                  <a:lnTo>
                    <a:pt x="1660" y="738"/>
                  </a:lnTo>
                  <a:lnTo>
                    <a:pt x="1658" y="732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28"/>
                  </a:lnTo>
                  <a:lnTo>
                    <a:pt x="1656" y="728"/>
                  </a:lnTo>
                  <a:lnTo>
                    <a:pt x="1656" y="728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4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48" y="728"/>
                  </a:lnTo>
                  <a:lnTo>
                    <a:pt x="1646" y="728"/>
                  </a:lnTo>
                  <a:lnTo>
                    <a:pt x="1644" y="730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0" y="730"/>
                  </a:lnTo>
                  <a:lnTo>
                    <a:pt x="1638" y="730"/>
                  </a:lnTo>
                  <a:lnTo>
                    <a:pt x="1636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2" y="728"/>
                  </a:lnTo>
                  <a:lnTo>
                    <a:pt x="1632" y="728"/>
                  </a:lnTo>
                  <a:lnTo>
                    <a:pt x="1630" y="728"/>
                  </a:lnTo>
                  <a:lnTo>
                    <a:pt x="1630" y="730"/>
                  </a:lnTo>
                  <a:lnTo>
                    <a:pt x="1630" y="730"/>
                  </a:lnTo>
                  <a:lnTo>
                    <a:pt x="1628" y="730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4"/>
                  </a:lnTo>
                  <a:lnTo>
                    <a:pt x="1628" y="738"/>
                  </a:lnTo>
                  <a:lnTo>
                    <a:pt x="1628" y="740"/>
                  </a:lnTo>
                  <a:lnTo>
                    <a:pt x="1628" y="746"/>
                  </a:lnTo>
                  <a:lnTo>
                    <a:pt x="1628" y="748"/>
                  </a:lnTo>
                  <a:lnTo>
                    <a:pt x="1628" y="750"/>
                  </a:lnTo>
                  <a:lnTo>
                    <a:pt x="1626" y="752"/>
                  </a:lnTo>
                  <a:lnTo>
                    <a:pt x="1626" y="752"/>
                  </a:lnTo>
                  <a:lnTo>
                    <a:pt x="1622" y="756"/>
                  </a:lnTo>
                  <a:lnTo>
                    <a:pt x="1618" y="758"/>
                  </a:lnTo>
                  <a:lnTo>
                    <a:pt x="1616" y="760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2" y="766"/>
                  </a:lnTo>
                  <a:lnTo>
                    <a:pt x="1608" y="772"/>
                  </a:lnTo>
                  <a:lnTo>
                    <a:pt x="1606" y="776"/>
                  </a:lnTo>
                  <a:lnTo>
                    <a:pt x="1606" y="776"/>
                  </a:lnTo>
                  <a:lnTo>
                    <a:pt x="1604" y="778"/>
                  </a:lnTo>
                  <a:lnTo>
                    <a:pt x="1602" y="778"/>
                  </a:lnTo>
                  <a:lnTo>
                    <a:pt x="1600" y="780"/>
                  </a:lnTo>
                  <a:lnTo>
                    <a:pt x="1596" y="780"/>
                  </a:lnTo>
                  <a:lnTo>
                    <a:pt x="1592" y="780"/>
                  </a:lnTo>
                  <a:lnTo>
                    <a:pt x="1584" y="780"/>
                  </a:lnTo>
                  <a:lnTo>
                    <a:pt x="1580" y="780"/>
                  </a:lnTo>
                  <a:lnTo>
                    <a:pt x="1578" y="780"/>
                  </a:lnTo>
                  <a:lnTo>
                    <a:pt x="1570" y="778"/>
                  </a:lnTo>
                  <a:lnTo>
                    <a:pt x="1564" y="778"/>
                  </a:lnTo>
                  <a:lnTo>
                    <a:pt x="1558" y="778"/>
                  </a:lnTo>
                  <a:lnTo>
                    <a:pt x="1554" y="778"/>
                  </a:lnTo>
                  <a:lnTo>
                    <a:pt x="1550" y="778"/>
                  </a:lnTo>
                  <a:lnTo>
                    <a:pt x="1548" y="778"/>
                  </a:lnTo>
                  <a:lnTo>
                    <a:pt x="1546" y="778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38" y="782"/>
                  </a:lnTo>
                  <a:lnTo>
                    <a:pt x="1538" y="784"/>
                  </a:lnTo>
                  <a:lnTo>
                    <a:pt x="1536" y="786"/>
                  </a:lnTo>
                  <a:lnTo>
                    <a:pt x="1534" y="786"/>
                  </a:lnTo>
                  <a:lnTo>
                    <a:pt x="1534" y="788"/>
                  </a:lnTo>
                  <a:lnTo>
                    <a:pt x="1534" y="788"/>
                  </a:lnTo>
                  <a:lnTo>
                    <a:pt x="1532" y="788"/>
                  </a:lnTo>
                  <a:lnTo>
                    <a:pt x="1532" y="792"/>
                  </a:lnTo>
                  <a:lnTo>
                    <a:pt x="1530" y="794"/>
                  </a:lnTo>
                  <a:lnTo>
                    <a:pt x="1528" y="798"/>
                  </a:lnTo>
                  <a:lnTo>
                    <a:pt x="1526" y="802"/>
                  </a:lnTo>
                  <a:lnTo>
                    <a:pt x="1526" y="804"/>
                  </a:lnTo>
                  <a:lnTo>
                    <a:pt x="1524" y="808"/>
                  </a:lnTo>
                  <a:lnTo>
                    <a:pt x="1522" y="808"/>
                  </a:lnTo>
                  <a:lnTo>
                    <a:pt x="1518" y="810"/>
                  </a:lnTo>
                  <a:lnTo>
                    <a:pt x="1516" y="812"/>
                  </a:lnTo>
                  <a:lnTo>
                    <a:pt x="1508" y="812"/>
                  </a:lnTo>
                  <a:lnTo>
                    <a:pt x="1506" y="812"/>
                  </a:lnTo>
                  <a:lnTo>
                    <a:pt x="1502" y="814"/>
                  </a:lnTo>
                  <a:lnTo>
                    <a:pt x="1498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4" y="816"/>
                  </a:lnTo>
                  <a:lnTo>
                    <a:pt x="1492" y="816"/>
                  </a:lnTo>
                  <a:lnTo>
                    <a:pt x="1492" y="816"/>
                  </a:lnTo>
                  <a:lnTo>
                    <a:pt x="1490" y="816"/>
                  </a:lnTo>
                  <a:lnTo>
                    <a:pt x="1488" y="818"/>
                  </a:lnTo>
                  <a:lnTo>
                    <a:pt x="1488" y="820"/>
                  </a:lnTo>
                  <a:lnTo>
                    <a:pt x="1486" y="820"/>
                  </a:lnTo>
                  <a:lnTo>
                    <a:pt x="1484" y="822"/>
                  </a:lnTo>
                  <a:lnTo>
                    <a:pt x="1482" y="824"/>
                  </a:lnTo>
                  <a:lnTo>
                    <a:pt x="1480" y="826"/>
                  </a:lnTo>
                  <a:lnTo>
                    <a:pt x="1476" y="828"/>
                  </a:lnTo>
                  <a:lnTo>
                    <a:pt x="1468" y="836"/>
                  </a:lnTo>
                  <a:lnTo>
                    <a:pt x="1464" y="838"/>
                  </a:lnTo>
                  <a:lnTo>
                    <a:pt x="1460" y="842"/>
                  </a:lnTo>
                  <a:lnTo>
                    <a:pt x="1456" y="844"/>
                  </a:lnTo>
                  <a:lnTo>
                    <a:pt x="1452" y="846"/>
                  </a:lnTo>
                  <a:lnTo>
                    <a:pt x="1450" y="846"/>
                  </a:lnTo>
                  <a:lnTo>
                    <a:pt x="1444" y="848"/>
                  </a:lnTo>
                  <a:lnTo>
                    <a:pt x="1440" y="848"/>
                  </a:lnTo>
                  <a:lnTo>
                    <a:pt x="1436" y="848"/>
                  </a:lnTo>
                  <a:lnTo>
                    <a:pt x="1432" y="848"/>
                  </a:lnTo>
                  <a:lnTo>
                    <a:pt x="1428" y="848"/>
                  </a:lnTo>
                  <a:lnTo>
                    <a:pt x="1426" y="848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4"/>
                  </a:lnTo>
                  <a:lnTo>
                    <a:pt x="1426" y="844"/>
                  </a:lnTo>
                  <a:lnTo>
                    <a:pt x="1428" y="840"/>
                  </a:lnTo>
                  <a:lnTo>
                    <a:pt x="1430" y="836"/>
                  </a:lnTo>
                  <a:lnTo>
                    <a:pt x="1434" y="830"/>
                  </a:lnTo>
                  <a:lnTo>
                    <a:pt x="1436" y="826"/>
                  </a:lnTo>
                  <a:lnTo>
                    <a:pt x="1438" y="822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2" y="812"/>
                  </a:lnTo>
                  <a:lnTo>
                    <a:pt x="1442" y="812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2" y="796"/>
                  </a:lnTo>
                  <a:lnTo>
                    <a:pt x="1432" y="796"/>
                  </a:lnTo>
                  <a:lnTo>
                    <a:pt x="1432" y="798"/>
                  </a:lnTo>
                  <a:lnTo>
                    <a:pt x="1428" y="798"/>
                  </a:lnTo>
                  <a:lnTo>
                    <a:pt x="1424" y="802"/>
                  </a:lnTo>
                  <a:lnTo>
                    <a:pt x="1422" y="804"/>
                  </a:lnTo>
                  <a:lnTo>
                    <a:pt x="1418" y="806"/>
                  </a:lnTo>
                  <a:lnTo>
                    <a:pt x="1416" y="808"/>
                  </a:lnTo>
                  <a:lnTo>
                    <a:pt x="1418" y="804"/>
                  </a:lnTo>
                  <a:lnTo>
                    <a:pt x="1420" y="800"/>
                  </a:lnTo>
                  <a:lnTo>
                    <a:pt x="1422" y="796"/>
                  </a:lnTo>
                  <a:lnTo>
                    <a:pt x="1424" y="792"/>
                  </a:lnTo>
                  <a:lnTo>
                    <a:pt x="1424" y="786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0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0" y="758"/>
                  </a:lnTo>
                  <a:lnTo>
                    <a:pt x="1410" y="758"/>
                  </a:lnTo>
                  <a:lnTo>
                    <a:pt x="1408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4" y="760"/>
                  </a:lnTo>
                  <a:lnTo>
                    <a:pt x="1394" y="760"/>
                  </a:lnTo>
                  <a:lnTo>
                    <a:pt x="1394" y="762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88" y="768"/>
                  </a:lnTo>
                  <a:lnTo>
                    <a:pt x="1384" y="772"/>
                  </a:lnTo>
                  <a:lnTo>
                    <a:pt x="1382" y="776"/>
                  </a:lnTo>
                  <a:lnTo>
                    <a:pt x="1382" y="780"/>
                  </a:lnTo>
                  <a:lnTo>
                    <a:pt x="1378" y="786"/>
                  </a:lnTo>
                  <a:lnTo>
                    <a:pt x="1376" y="794"/>
                  </a:lnTo>
                  <a:lnTo>
                    <a:pt x="1374" y="798"/>
                  </a:lnTo>
                  <a:lnTo>
                    <a:pt x="1374" y="802"/>
                  </a:lnTo>
                  <a:lnTo>
                    <a:pt x="1374" y="808"/>
                  </a:lnTo>
                  <a:lnTo>
                    <a:pt x="1374" y="812"/>
                  </a:lnTo>
                  <a:lnTo>
                    <a:pt x="1376" y="820"/>
                  </a:lnTo>
                  <a:lnTo>
                    <a:pt x="1376" y="826"/>
                  </a:lnTo>
                  <a:lnTo>
                    <a:pt x="1378" y="828"/>
                  </a:lnTo>
                  <a:lnTo>
                    <a:pt x="1376" y="832"/>
                  </a:lnTo>
                  <a:lnTo>
                    <a:pt x="1376" y="834"/>
                  </a:lnTo>
                  <a:lnTo>
                    <a:pt x="1376" y="836"/>
                  </a:lnTo>
                  <a:lnTo>
                    <a:pt x="1374" y="838"/>
                  </a:lnTo>
                  <a:lnTo>
                    <a:pt x="1372" y="838"/>
                  </a:lnTo>
                  <a:lnTo>
                    <a:pt x="1370" y="840"/>
                  </a:lnTo>
                  <a:lnTo>
                    <a:pt x="1366" y="840"/>
                  </a:lnTo>
                  <a:lnTo>
                    <a:pt x="1366" y="842"/>
                  </a:lnTo>
                  <a:lnTo>
                    <a:pt x="1364" y="840"/>
                  </a:lnTo>
                  <a:lnTo>
                    <a:pt x="1364" y="840"/>
                  </a:lnTo>
                  <a:lnTo>
                    <a:pt x="1362" y="838"/>
                  </a:lnTo>
                  <a:lnTo>
                    <a:pt x="1362" y="836"/>
                  </a:lnTo>
                  <a:lnTo>
                    <a:pt x="1360" y="832"/>
                  </a:lnTo>
                  <a:lnTo>
                    <a:pt x="1360" y="828"/>
                  </a:lnTo>
                  <a:lnTo>
                    <a:pt x="1358" y="822"/>
                  </a:lnTo>
                  <a:lnTo>
                    <a:pt x="1358" y="816"/>
                  </a:lnTo>
                  <a:lnTo>
                    <a:pt x="1358" y="812"/>
                  </a:lnTo>
                  <a:lnTo>
                    <a:pt x="1358" y="808"/>
                  </a:lnTo>
                  <a:lnTo>
                    <a:pt x="1358" y="798"/>
                  </a:lnTo>
                  <a:lnTo>
                    <a:pt x="1360" y="790"/>
                  </a:lnTo>
                  <a:lnTo>
                    <a:pt x="1360" y="790"/>
                  </a:lnTo>
                  <a:lnTo>
                    <a:pt x="1362" y="782"/>
                  </a:lnTo>
                  <a:lnTo>
                    <a:pt x="1364" y="780"/>
                  </a:lnTo>
                  <a:lnTo>
                    <a:pt x="1366" y="776"/>
                  </a:lnTo>
                  <a:lnTo>
                    <a:pt x="1368" y="774"/>
                  </a:lnTo>
                  <a:lnTo>
                    <a:pt x="1372" y="770"/>
                  </a:lnTo>
                  <a:lnTo>
                    <a:pt x="1376" y="768"/>
                  </a:lnTo>
                  <a:lnTo>
                    <a:pt x="1380" y="766"/>
                  </a:lnTo>
                  <a:lnTo>
                    <a:pt x="1384" y="764"/>
                  </a:lnTo>
                  <a:lnTo>
                    <a:pt x="1388" y="762"/>
                  </a:lnTo>
                  <a:lnTo>
                    <a:pt x="1392" y="760"/>
                  </a:lnTo>
                  <a:lnTo>
                    <a:pt x="1392" y="760"/>
                  </a:lnTo>
                  <a:lnTo>
                    <a:pt x="1392" y="758"/>
                  </a:lnTo>
                  <a:lnTo>
                    <a:pt x="1394" y="756"/>
                  </a:lnTo>
                  <a:lnTo>
                    <a:pt x="1394" y="756"/>
                  </a:lnTo>
                  <a:lnTo>
                    <a:pt x="1396" y="756"/>
                  </a:lnTo>
                  <a:lnTo>
                    <a:pt x="1398" y="754"/>
                  </a:lnTo>
                  <a:lnTo>
                    <a:pt x="1398" y="752"/>
                  </a:lnTo>
                  <a:lnTo>
                    <a:pt x="1398" y="752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6"/>
                  </a:lnTo>
                  <a:lnTo>
                    <a:pt x="1400" y="746"/>
                  </a:lnTo>
                  <a:lnTo>
                    <a:pt x="1400" y="744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0"/>
                  </a:lnTo>
                  <a:lnTo>
                    <a:pt x="1400" y="740"/>
                  </a:lnTo>
                  <a:lnTo>
                    <a:pt x="1400" y="738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6" y="736"/>
                  </a:lnTo>
                  <a:lnTo>
                    <a:pt x="1396" y="736"/>
                  </a:lnTo>
                  <a:lnTo>
                    <a:pt x="1394" y="734"/>
                  </a:lnTo>
                  <a:lnTo>
                    <a:pt x="1392" y="734"/>
                  </a:lnTo>
                  <a:lnTo>
                    <a:pt x="1386" y="732"/>
                  </a:lnTo>
                  <a:lnTo>
                    <a:pt x="1382" y="732"/>
                  </a:lnTo>
                  <a:lnTo>
                    <a:pt x="1376" y="732"/>
                  </a:lnTo>
                  <a:lnTo>
                    <a:pt x="1368" y="732"/>
                  </a:lnTo>
                  <a:lnTo>
                    <a:pt x="1362" y="732"/>
                  </a:lnTo>
                  <a:lnTo>
                    <a:pt x="1356" y="732"/>
                  </a:lnTo>
                  <a:lnTo>
                    <a:pt x="1348" y="732"/>
                  </a:lnTo>
                  <a:lnTo>
                    <a:pt x="1342" y="732"/>
                  </a:lnTo>
                  <a:lnTo>
                    <a:pt x="1334" y="732"/>
                  </a:lnTo>
                  <a:lnTo>
                    <a:pt x="1326" y="734"/>
                  </a:lnTo>
                  <a:lnTo>
                    <a:pt x="1320" y="736"/>
                  </a:lnTo>
                  <a:lnTo>
                    <a:pt x="1312" y="736"/>
                  </a:lnTo>
                  <a:lnTo>
                    <a:pt x="1308" y="736"/>
                  </a:lnTo>
                  <a:lnTo>
                    <a:pt x="1306" y="736"/>
                  </a:lnTo>
                  <a:lnTo>
                    <a:pt x="1304" y="736"/>
                  </a:lnTo>
                  <a:lnTo>
                    <a:pt x="1302" y="736"/>
                  </a:lnTo>
                  <a:lnTo>
                    <a:pt x="1304" y="736"/>
                  </a:lnTo>
                  <a:lnTo>
                    <a:pt x="1306" y="734"/>
                  </a:lnTo>
                  <a:lnTo>
                    <a:pt x="1308" y="732"/>
                  </a:lnTo>
                  <a:lnTo>
                    <a:pt x="1314" y="728"/>
                  </a:lnTo>
                  <a:lnTo>
                    <a:pt x="1318" y="724"/>
                  </a:lnTo>
                  <a:lnTo>
                    <a:pt x="1324" y="722"/>
                  </a:lnTo>
                  <a:lnTo>
                    <a:pt x="1326" y="720"/>
                  </a:lnTo>
                  <a:lnTo>
                    <a:pt x="1328" y="718"/>
                  </a:lnTo>
                  <a:lnTo>
                    <a:pt x="1328" y="716"/>
                  </a:lnTo>
                  <a:lnTo>
                    <a:pt x="1328" y="716"/>
                  </a:lnTo>
                  <a:lnTo>
                    <a:pt x="1330" y="716"/>
                  </a:lnTo>
                  <a:lnTo>
                    <a:pt x="1330" y="714"/>
                  </a:lnTo>
                  <a:lnTo>
                    <a:pt x="1330" y="714"/>
                  </a:lnTo>
                  <a:lnTo>
                    <a:pt x="1330" y="712"/>
                  </a:lnTo>
                  <a:lnTo>
                    <a:pt x="1330" y="710"/>
                  </a:lnTo>
                  <a:lnTo>
                    <a:pt x="1330" y="710"/>
                  </a:lnTo>
                  <a:lnTo>
                    <a:pt x="1328" y="710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2" y="706"/>
                  </a:lnTo>
                  <a:lnTo>
                    <a:pt x="1318" y="706"/>
                  </a:lnTo>
                  <a:lnTo>
                    <a:pt x="1314" y="706"/>
                  </a:lnTo>
                  <a:lnTo>
                    <a:pt x="1310" y="706"/>
                  </a:lnTo>
                  <a:lnTo>
                    <a:pt x="1306" y="704"/>
                  </a:lnTo>
                  <a:lnTo>
                    <a:pt x="1302" y="704"/>
                  </a:lnTo>
                  <a:lnTo>
                    <a:pt x="1296" y="704"/>
                  </a:lnTo>
                  <a:lnTo>
                    <a:pt x="1292" y="704"/>
                  </a:lnTo>
                  <a:lnTo>
                    <a:pt x="1282" y="704"/>
                  </a:lnTo>
                  <a:lnTo>
                    <a:pt x="1272" y="704"/>
                  </a:lnTo>
                  <a:lnTo>
                    <a:pt x="1260" y="704"/>
                  </a:lnTo>
                  <a:lnTo>
                    <a:pt x="1258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4" y="704"/>
                  </a:lnTo>
                  <a:lnTo>
                    <a:pt x="1254" y="704"/>
                  </a:lnTo>
                  <a:lnTo>
                    <a:pt x="1252" y="704"/>
                  </a:lnTo>
                  <a:lnTo>
                    <a:pt x="1250" y="704"/>
                  </a:lnTo>
                  <a:lnTo>
                    <a:pt x="1248" y="702"/>
                  </a:lnTo>
                  <a:lnTo>
                    <a:pt x="1244" y="702"/>
                  </a:lnTo>
                  <a:lnTo>
                    <a:pt x="1238" y="702"/>
                  </a:lnTo>
                  <a:lnTo>
                    <a:pt x="1232" y="702"/>
                  </a:lnTo>
                  <a:lnTo>
                    <a:pt x="1210" y="702"/>
                  </a:lnTo>
                  <a:lnTo>
                    <a:pt x="1206" y="702"/>
                  </a:lnTo>
                  <a:lnTo>
                    <a:pt x="1192" y="702"/>
                  </a:lnTo>
                  <a:lnTo>
                    <a:pt x="1180" y="702"/>
                  </a:lnTo>
                  <a:lnTo>
                    <a:pt x="1164" y="702"/>
                  </a:lnTo>
                  <a:lnTo>
                    <a:pt x="1148" y="702"/>
                  </a:lnTo>
                  <a:lnTo>
                    <a:pt x="1132" y="702"/>
                  </a:lnTo>
                  <a:lnTo>
                    <a:pt x="1116" y="702"/>
                  </a:lnTo>
                  <a:lnTo>
                    <a:pt x="1100" y="702"/>
                  </a:lnTo>
                  <a:lnTo>
                    <a:pt x="1084" y="702"/>
                  </a:lnTo>
                  <a:lnTo>
                    <a:pt x="1068" y="702"/>
                  </a:lnTo>
                  <a:lnTo>
                    <a:pt x="1052" y="702"/>
                  </a:lnTo>
                  <a:lnTo>
                    <a:pt x="1038" y="702"/>
                  </a:lnTo>
                  <a:lnTo>
                    <a:pt x="1026" y="702"/>
                  </a:lnTo>
                  <a:lnTo>
                    <a:pt x="1020" y="702"/>
                  </a:lnTo>
                  <a:lnTo>
                    <a:pt x="932" y="702"/>
                  </a:lnTo>
                  <a:lnTo>
                    <a:pt x="916" y="702"/>
                  </a:lnTo>
                  <a:lnTo>
                    <a:pt x="910" y="702"/>
                  </a:lnTo>
                  <a:lnTo>
                    <a:pt x="902" y="702"/>
                  </a:lnTo>
                  <a:lnTo>
                    <a:pt x="896" y="704"/>
                  </a:lnTo>
                  <a:lnTo>
                    <a:pt x="890" y="704"/>
                  </a:lnTo>
                  <a:lnTo>
                    <a:pt x="886" y="704"/>
                  </a:lnTo>
                  <a:lnTo>
                    <a:pt x="880" y="704"/>
                  </a:lnTo>
                  <a:lnTo>
                    <a:pt x="876" y="704"/>
                  </a:lnTo>
                  <a:lnTo>
                    <a:pt x="872" y="704"/>
                  </a:lnTo>
                  <a:lnTo>
                    <a:pt x="870" y="704"/>
                  </a:lnTo>
                  <a:lnTo>
                    <a:pt x="868" y="704"/>
                  </a:lnTo>
                  <a:lnTo>
                    <a:pt x="866" y="702"/>
                  </a:lnTo>
                  <a:lnTo>
                    <a:pt x="866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2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58" y="706"/>
                  </a:lnTo>
                  <a:lnTo>
                    <a:pt x="858" y="706"/>
                  </a:lnTo>
                  <a:lnTo>
                    <a:pt x="858" y="708"/>
                  </a:lnTo>
                  <a:lnTo>
                    <a:pt x="858" y="710"/>
                  </a:lnTo>
                  <a:lnTo>
                    <a:pt x="858" y="710"/>
                  </a:lnTo>
                  <a:lnTo>
                    <a:pt x="860" y="710"/>
                  </a:lnTo>
                  <a:lnTo>
                    <a:pt x="860" y="714"/>
                  </a:lnTo>
                  <a:lnTo>
                    <a:pt x="862" y="718"/>
                  </a:lnTo>
                  <a:lnTo>
                    <a:pt x="864" y="722"/>
                  </a:lnTo>
                  <a:lnTo>
                    <a:pt x="866" y="728"/>
                  </a:lnTo>
                  <a:lnTo>
                    <a:pt x="868" y="732"/>
                  </a:lnTo>
                  <a:lnTo>
                    <a:pt x="868" y="734"/>
                  </a:lnTo>
                  <a:lnTo>
                    <a:pt x="868" y="736"/>
                  </a:lnTo>
                  <a:lnTo>
                    <a:pt x="868" y="738"/>
                  </a:lnTo>
                  <a:lnTo>
                    <a:pt x="868" y="738"/>
                  </a:lnTo>
                  <a:lnTo>
                    <a:pt x="866" y="740"/>
                  </a:lnTo>
                  <a:lnTo>
                    <a:pt x="866" y="740"/>
                  </a:lnTo>
                  <a:lnTo>
                    <a:pt x="862" y="742"/>
                  </a:lnTo>
                  <a:lnTo>
                    <a:pt x="856" y="742"/>
                  </a:lnTo>
                  <a:lnTo>
                    <a:pt x="854" y="742"/>
                  </a:lnTo>
                  <a:lnTo>
                    <a:pt x="850" y="740"/>
                  </a:lnTo>
                  <a:lnTo>
                    <a:pt x="844" y="740"/>
                  </a:lnTo>
                  <a:lnTo>
                    <a:pt x="840" y="738"/>
                  </a:lnTo>
                  <a:lnTo>
                    <a:pt x="834" y="736"/>
                  </a:lnTo>
                  <a:lnTo>
                    <a:pt x="828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18" y="734"/>
                  </a:lnTo>
                  <a:lnTo>
                    <a:pt x="818" y="734"/>
                  </a:lnTo>
                  <a:lnTo>
                    <a:pt x="816" y="736"/>
                  </a:lnTo>
                  <a:lnTo>
                    <a:pt x="814" y="736"/>
                  </a:lnTo>
                  <a:lnTo>
                    <a:pt x="814" y="736"/>
                  </a:lnTo>
                  <a:lnTo>
                    <a:pt x="814" y="738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2" y="742"/>
                  </a:lnTo>
                  <a:lnTo>
                    <a:pt x="812" y="746"/>
                  </a:lnTo>
                  <a:lnTo>
                    <a:pt x="812" y="750"/>
                  </a:lnTo>
                  <a:lnTo>
                    <a:pt x="814" y="754"/>
                  </a:lnTo>
                  <a:lnTo>
                    <a:pt x="814" y="758"/>
                  </a:lnTo>
                  <a:lnTo>
                    <a:pt x="814" y="764"/>
                  </a:lnTo>
                  <a:lnTo>
                    <a:pt x="816" y="770"/>
                  </a:lnTo>
                  <a:lnTo>
                    <a:pt x="816" y="778"/>
                  </a:lnTo>
                  <a:lnTo>
                    <a:pt x="818" y="786"/>
                  </a:lnTo>
                  <a:lnTo>
                    <a:pt x="820" y="802"/>
                  </a:lnTo>
                  <a:lnTo>
                    <a:pt x="820" y="810"/>
                  </a:lnTo>
                  <a:lnTo>
                    <a:pt x="822" y="818"/>
                  </a:lnTo>
                  <a:lnTo>
                    <a:pt x="822" y="824"/>
                  </a:lnTo>
                  <a:lnTo>
                    <a:pt x="822" y="832"/>
                  </a:lnTo>
                  <a:lnTo>
                    <a:pt x="822" y="844"/>
                  </a:lnTo>
                  <a:lnTo>
                    <a:pt x="822" y="852"/>
                  </a:lnTo>
                  <a:lnTo>
                    <a:pt x="822" y="858"/>
                  </a:lnTo>
                  <a:lnTo>
                    <a:pt x="822" y="866"/>
                  </a:lnTo>
                  <a:lnTo>
                    <a:pt x="824" y="872"/>
                  </a:lnTo>
                  <a:lnTo>
                    <a:pt x="828" y="886"/>
                  </a:lnTo>
                  <a:lnTo>
                    <a:pt x="832" y="902"/>
                  </a:lnTo>
                  <a:lnTo>
                    <a:pt x="838" y="916"/>
                  </a:lnTo>
                  <a:lnTo>
                    <a:pt x="840" y="922"/>
                  </a:lnTo>
                  <a:lnTo>
                    <a:pt x="844" y="930"/>
                  </a:lnTo>
                  <a:lnTo>
                    <a:pt x="848" y="938"/>
                  </a:lnTo>
                  <a:lnTo>
                    <a:pt x="854" y="946"/>
                  </a:lnTo>
                  <a:lnTo>
                    <a:pt x="858" y="956"/>
                  </a:lnTo>
                  <a:lnTo>
                    <a:pt x="864" y="964"/>
                  </a:lnTo>
                  <a:lnTo>
                    <a:pt x="870" y="972"/>
                  </a:lnTo>
                  <a:lnTo>
                    <a:pt x="876" y="980"/>
                  </a:lnTo>
                  <a:lnTo>
                    <a:pt x="882" y="986"/>
                  </a:lnTo>
                  <a:lnTo>
                    <a:pt x="884" y="990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6" y="998"/>
                  </a:lnTo>
                  <a:lnTo>
                    <a:pt x="896" y="998"/>
                  </a:lnTo>
                  <a:lnTo>
                    <a:pt x="898" y="998"/>
                  </a:lnTo>
                  <a:lnTo>
                    <a:pt x="902" y="1000"/>
                  </a:lnTo>
                  <a:lnTo>
                    <a:pt x="906" y="1002"/>
                  </a:lnTo>
                  <a:lnTo>
                    <a:pt x="912" y="1002"/>
                  </a:lnTo>
                  <a:lnTo>
                    <a:pt x="916" y="1002"/>
                  </a:lnTo>
                  <a:lnTo>
                    <a:pt x="918" y="1002"/>
                  </a:lnTo>
                  <a:lnTo>
                    <a:pt x="922" y="1004"/>
                  </a:lnTo>
                  <a:lnTo>
                    <a:pt x="924" y="1004"/>
                  </a:lnTo>
                  <a:lnTo>
                    <a:pt x="926" y="1006"/>
                  </a:lnTo>
                  <a:lnTo>
                    <a:pt x="926" y="1008"/>
                  </a:lnTo>
                  <a:lnTo>
                    <a:pt x="928" y="1010"/>
                  </a:lnTo>
                  <a:lnTo>
                    <a:pt x="930" y="1010"/>
                  </a:lnTo>
                  <a:lnTo>
                    <a:pt x="930" y="1010"/>
                  </a:lnTo>
                  <a:lnTo>
                    <a:pt x="930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6" y="1014"/>
                  </a:lnTo>
                  <a:lnTo>
                    <a:pt x="936" y="1014"/>
                  </a:lnTo>
                  <a:lnTo>
                    <a:pt x="938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2" y="1012"/>
                  </a:lnTo>
                  <a:lnTo>
                    <a:pt x="946" y="1010"/>
                  </a:lnTo>
                  <a:lnTo>
                    <a:pt x="948" y="1008"/>
                  </a:lnTo>
                  <a:lnTo>
                    <a:pt x="952" y="1006"/>
                  </a:lnTo>
                  <a:lnTo>
                    <a:pt x="954" y="1004"/>
                  </a:lnTo>
                  <a:lnTo>
                    <a:pt x="956" y="1004"/>
                  </a:lnTo>
                  <a:lnTo>
                    <a:pt x="956" y="1004"/>
                  </a:lnTo>
                  <a:lnTo>
                    <a:pt x="958" y="1004"/>
                  </a:lnTo>
                  <a:lnTo>
                    <a:pt x="958" y="1004"/>
                  </a:lnTo>
                  <a:lnTo>
                    <a:pt x="958" y="1006"/>
                  </a:lnTo>
                  <a:lnTo>
                    <a:pt x="960" y="1006"/>
                  </a:lnTo>
                  <a:lnTo>
                    <a:pt x="960" y="1008"/>
                  </a:lnTo>
                  <a:lnTo>
                    <a:pt x="962" y="1010"/>
                  </a:lnTo>
                  <a:lnTo>
                    <a:pt x="964" y="1012"/>
                  </a:lnTo>
                  <a:lnTo>
                    <a:pt x="964" y="1012"/>
                  </a:lnTo>
                  <a:lnTo>
                    <a:pt x="964" y="1014"/>
                  </a:lnTo>
                  <a:lnTo>
                    <a:pt x="966" y="1016"/>
                  </a:lnTo>
                  <a:lnTo>
                    <a:pt x="970" y="1018"/>
                  </a:lnTo>
                  <a:lnTo>
                    <a:pt x="974" y="1020"/>
                  </a:lnTo>
                  <a:lnTo>
                    <a:pt x="980" y="1022"/>
                  </a:lnTo>
                  <a:lnTo>
                    <a:pt x="984" y="1024"/>
                  </a:lnTo>
                  <a:lnTo>
                    <a:pt x="994" y="1028"/>
                  </a:lnTo>
                  <a:lnTo>
                    <a:pt x="998" y="1030"/>
                  </a:lnTo>
                  <a:lnTo>
                    <a:pt x="1002" y="1032"/>
                  </a:lnTo>
                  <a:lnTo>
                    <a:pt x="1004" y="1032"/>
                  </a:lnTo>
                  <a:lnTo>
                    <a:pt x="1008" y="1034"/>
                  </a:lnTo>
                  <a:lnTo>
                    <a:pt x="1010" y="1034"/>
                  </a:lnTo>
                  <a:lnTo>
                    <a:pt x="1012" y="1034"/>
                  </a:lnTo>
                  <a:lnTo>
                    <a:pt x="1016" y="1036"/>
                  </a:lnTo>
                  <a:lnTo>
                    <a:pt x="1018" y="1036"/>
                  </a:lnTo>
                  <a:lnTo>
                    <a:pt x="1020" y="1036"/>
                  </a:lnTo>
                  <a:lnTo>
                    <a:pt x="1024" y="1036"/>
                  </a:lnTo>
                  <a:lnTo>
                    <a:pt x="1028" y="1036"/>
                  </a:lnTo>
                  <a:lnTo>
                    <a:pt x="1036" y="1036"/>
                  </a:lnTo>
                  <a:lnTo>
                    <a:pt x="1040" y="1036"/>
                  </a:lnTo>
                  <a:lnTo>
                    <a:pt x="1044" y="1036"/>
                  </a:lnTo>
                  <a:lnTo>
                    <a:pt x="1048" y="1034"/>
                  </a:lnTo>
                  <a:lnTo>
                    <a:pt x="1048" y="1034"/>
                  </a:lnTo>
                  <a:lnTo>
                    <a:pt x="1050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4" y="1032"/>
                  </a:lnTo>
                  <a:lnTo>
                    <a:pt x="1054" y="1032"/>
                  </a:lnTo>
                  <a:lnTo>
                    <a:pt x="1056" y="1030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2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60" y="1020"/>
                  </a:lnTo>
                  <a:lnTo>
                    <a:pt x="1062" y="1022"/>
                  </a:lnTo>
                  <a:lnTo>
                    <a:pt x="1066" y="1024"/>
                  </a:lnTo>
                  <a:lnTo>
                    <a:pt x="1068" y="1026"/>
                  </a:lnTo>
                  <a:lnTo>
                    <a:pt x="1072" y="1028"/>
                  </a:lnTo>
                  <a:lnTo>
                    <a:pt x="1080" y="1034"/>
                  </a:lnTo>
                  <a:lnTo>
                    <a:pt x="1084" y="1036"/>
                  </a:lnTo>
                  <a:lnTo>
                    <a:pt x="1088" y="1040"/>
                  </a:lnTo>
                  <a:lnTo>
                    <a:pt x="1094" y="1046"/>
                  </a:lnTo>
                  <a:lnTo>
                    <a:pt x="1100" y="1050"/>
                  </a:lnTo>
                  <a:lnTo>
                    <a:pt x="1106" y="1056"/>
                  </a:lnTo>
                  <a:lnTo>
                    <a:pt x="1112" y="1060"/>
                  </a:lnTo>
                  <a:lnTo>
                    <a:pt x="1116" y="1064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2" y="1066"/>
                  </a:lnTo>
                  <a:lnTo>
                    <a:pt x="1132" y="1066"/>
                  </a:lnTo>
                  <a:lnTo>
                    <a:pt x="1134" y="1066"/>
                  </a:lnTo>
                  <a:lnTo>
                    <a:pt x="1136" y="1064"/>
                  </a:lnTo>
                  <a:lnTo>
                    <a:pt x="1138" y="1062"/>
                  </a:lnTo>
                  <a:lnTo>
                    <a:pt x="1140" y="1062"/>
                  </a:lnTo>
                  <a:lnTo>
                    <a:pt x="1140" y="1060"/>
                  </a:lnTo>
                  <a:lnTo>
                    <a:pt x="1142" y="1060"/>
                  </a:lnTo>
                  <a:lnTo>
                    <a:pt x="1146" y="1062"/>
                  </a:lnTo>
                  <a:lnTo>
                    <a:pt x="1148" y="1064"/>
                  </a:lnTo>
                  <a:lnTo>
                    <a:pt x="1152" y="1066"/>
                  </a:lnTo>
                  <a:lnTo>
                    <a:pt x="1156" y="1068"/>
                  </a:lnTo>
                  <a:lnTo>
                    <a:pt x="1160" y="1070"/>
                  </a:lnTo>
                  <a:lnTo>
                    <a:pt x="1164" y="1072"/>
                  </a:lnTo>
                  <a:lnTo>
                    <a:pt x="1166" y="1076"/>
                  </a:lnTo>
                  <a:lnTo>
                    <a:pt x="1168" y="1078"/>
                  </a:lnTo>
                  <a:lnTo>
                    <a:pt x="1170" y="1080"/>
                  </a:lnTo>
                  <a:lnTo>
                    <a:pt x="1172" y="1082"/>
                  </a:lnTo>
                  <a:lnTo>
                    <a:pt x="1172" y="1082"/>
                  </a:lnTo>
                  <a:lnTo>
                    <a:pt x="1172" y="1086"/>
                  </a:lnTo>
                  <a:lnTo>
                    <a:pt x="1172" y="1090"/>
                  </a:lnTo>
                  <a:lnTo>
                    <a:pt x="1172" y="1096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2"/>
                  </a:lnTo>
                  <a:lnTo>
                    <a:pt x="1174" y="1102"/>
                  </a:lnTo>
                  <a:lnTo>
                    <a:pt x="1174" y="1104"/>
                  </a:lnTo>
                  <a:lnTo>
                    <a:pt x="1176" y="1108"/>
                  </a:lnTo>
                  <a:lnTo>
                    <a:pt x="1176" y="1108"/>
                  </a:lnTo>
                  <a:lnTo>
                    <a:pt x="1178" y="1108"/>
                  </a:lnTo>
                  <a:lnTo>
                    <a:pt x="1180" y="1112"/>
                  </a:lnTo>
                  <a:lnTo>
                    <a:pt x="1180" y="1112"/>
                  </a:lnTo>
                  <a:lnTo>
                    <a:pt x="1180" y="1114"/>
                  </a:lnTo>
                  <a:lnTo>
                    <a:pt x="1184" y="1116"/>
                  </a:lnTo>
                  <a:lnTo>
                    <a:pt x="1184" y="1116"/>
                  </a:lnTo>
                  <a:lnTo>
                    <a:pt x="1186" y="1118"/>
                  </a:lnTo>
                  <a:lnTo>
                    <a:pt x="1188" y="1118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2" y="1120"/>
                  </a:lnTo>
                  <a:lnTo>
                    <a:pt x="1196" y="1120"/>
                  </a:lnTo>
                  <a:lnTo>
                    <a:pt x="1204" y="1120"/>
                  </a:lnTo>
                  <a:lnTo>
                    <a:pt x="1206" y="1120"/>
                  </a:lnTo>
                  <a:lnTo>
                    <a:pt x="1210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8" y="1114"/>
                  </a:lnTo>
                  <a:lnTo>
                    <a:pt x="1218" y="1114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0"/>
                  </a:lnTo>
                  <a:lnTo>
                    <a:pt x="1218" y="1108"/>
                  </a:lnTo>
                  <a:lnTo>
                    <a:pt x="1218" y="1106"/>
                  </a:lnTo>
                  <a:lnTo>
                    <a:pt x="1218" y="1104"/>
                  </a:lnTo>
                  <a:lnTo>
                    <a:pt x="1216" y="1102"/>
                  </a:lnTo>
                  <a:lnTo>
                    <a:pt x="1216" y="1100"/>
                  </a:lnTo>
                  <a:lnTo>
                    <a:pt x="1218" y="1098"/>
                  </a:lnTo>
                  <a:lnTo>
                    <a:pt x="1218" y="1096"/>
                  </a:lnTo>
                  <a:lnTo>
                    <a:pt x="1220" y="1094"/>
                  </a:lnTo>
                  <a:lnTo>
                    <a:pt x="1224" y="1088"/>
                  </a:lnTo>
                  <a:lnTo>
                    <a:pt x="1228" y="1082"/>
                  </a:lnTo>
                  <a:lnTo>
                    <a:pt x="1232" y="1080"/>
                  </a:lnTo>
                  <a:lnTo>
                    <a:pt x="1234" y="1078"/>
                  </a:lnTo>
                  <a:lnTo>
                    <a:pt x="1238" y="1076"/>
                  </a:lnTo>
                  <a:lnTo>
                    <a:pt x="1242" y="1074"/>
                  </a:lnTo>
                  <a:lnTo>
                    <a:pt x="1246" y="1072"/>
                  </a:lnTo>
                  <a:lnTo>
                    <a:pt x="1252" y="1068"/>
                  </a:lnTo>
                  <a:lnTo>
                    <a:pt x="1256" y="1066"/>
                  </a:lnTo>
                  <a:lnTo>
                    <a:pt x="1262" y="1066"/>
                  </a:lnTo>
                  <a:lnTo>
                    <a:pt x="1266" y="1064"/>
                  </a:lnTo>
                  <a:lnTo>
                    <a:pt x="1272" y="1062"/>
                  </a:lnTo>
                  <a:lnTo>
                    <a:pt x="1276" y="1062"/>
                  </a:lnTo>
                  <a:lnTo>
                    <a:pt x="1282" y="1062"/>
                  </a:lnTo>
                  <a:lnTo>
                    <a:pt x="1286" y="1064"/>
                  </a:lnTo>
                  <a:lnTo>
                    <a:pt x="1292" y="1064"/>
                  </a:lnTo>
                  <a:lnTo>
                    <a:pt x="1298" y="1066"/>
                  </a:lnTo>
                  <a:lnTo>
                    <a:pt x="1302" y="1066"/>
                  </a:lnTo>
                  <a:lnTo>
                    <a:pt x="1308" y="1068"/>
                  </a:lnTo>
                  <a:lnTo>
                    <a:pt x="1312" y="1068"/>
                  </a:lnTo>
                  <a:lnTo>
                    <a:pt x="1316" y="1070"/>
                  </a:lnTo>
                  <a:lnTo>
                    <a:pt x="1320" y="1070"/>
                  </a:lnTo>
                  <a:lnTo>
                    <a:pt x="1322" y="1072"/>
                  </a:lnTo>
                  <a:lnTo>
                    <a:pt x="1324" y="1072"/>
                  </a:lnTo>
                  <a:lnTo>
                    <a:pt x="1328" y="1072"/>
                  </a:lnTo>
                  <a:lnTo>
                    <a:pt x="1330" y="1074"/>
                  </a:lnTo>
                  <a:lnTo>
                    <a:pt x="1332" y="1074"/>
                  </a:lnTo>
                  <a:lnTo>
                    <a:pt x="1332" y="1074"/>
                  </a:lnTo>
                  <a:lnTo>
                    <a:pt x="1334" y="1074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8" y="1072"/>
                  </a:lnTo>
                  <a:lnTo>
                    <a:pt x="1338" y="1072"/>
                  </a:lnTo>
                  <a:lnTo>
                    <a:pt x="1340" y="1070"/>
                  </a:lnTo>
                  <a:lnTo>
                    <a:pt x="1340" y="1068"/>
                  </a:lnTo>
                  <a:lnTo>
                    <a:pt x="1340" y="1068"/>
                  </a:lnTo>
                  <a:lnTo>
                    <a:pt x="1342" y="1068"/>
                  </a:lnTo>
                  <a:lnTo>
                    <a:pt x="1342" y="1066"/>
                  </a:lnTo>
                  <a:lnTo>
                    <a:pt x="1344" y="1064"/>
                  </a:lnTo>
                  <a:lnTo>
                    <a:pt x="1346" y="1060"/>
                  </a:lnTo>
                  <a:lnTo>
                    <a:pt x="1348" y="1058"/>
                  </a:lnTo>
                  <a:lnTo>
                    <a:pt x="1348" y="1056"/>
                  </a:lnTo>
                  <a:lnTo>
                    <a:pt x="1350" y="1056"/>
                  </a:lnTo>
                  <a:lnTo>
                    <a:pt x="1352" y="1054"/>
                  </a:lnTo>
                  <a:lnTo>
                    <a:pt x="1356" y="1054"/>
                  </a:lnTo>
                  <a:lnTo>
                    <a:pt x="1360" y="1054"/>
                  </a:lnTo>
                  <a:lnTo>
                    <a:pt x="1364" y="1054"/>
                  </a:lnTo>
                  <a:lnTo>
                    <a:pt x="1368" y="1054"/>
                  </a:lnTo>
                  <a:lnTo>
                    <a:pt x="1372" y="1054"/>
                  </a:lnTo>
                  <a:lnTo>
                    <a:pt x="1376" y="1054"/>
                  </a:lnTo>
                  <a:lnTo>
                    <a:pt x="1378" y="1054"/>
                  </a:lnTo>
                  <a:lnTo>
                    <a:pt x="1380" y="1054"/>
                  </a:lnTo>
                  <a:lnTo>
                    <a:pt x="1382" y="1054"/>
                  </a:lnTo>
                  <a:lnTo>
                    <a:pt x="1382" y="1056"/>
                  </a:lnTo>
                  <a:lnTo>
                    <a:pt x="1384" y="1056"/>
                  </a:lnTo>
                  <a:lnTo>
                    <a:pt x="1384" y="1058"/>
                  </a:lnTo>
                  <a:lnTo>
                    <a:pt x="1384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8" y="1058"/>
                  </a:lnTo>
                  <a:lnTo>
                    <a:pt x="1388" y="1058"/>
                  </a:lnTo>
                  <a:lnTo>
                    <a:pt x="1392" y="1060"/>
                  </a:lnTo>
                  <a:lnTo>
                    <a:pt x="1394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6" y="1058"/>
                  </a:lnTo>
                  <a:lnTo>
                    <a:pt x="1408" y="1056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2" y="1056"/>
                  </a:lnTo>
                  <a:lnTo>
                    <a:pt x="1412" y="1056"/>
                  </a:lnTo>
                  <a:lnTo>
                    <a:pt x="1414" y="1058"/>
                  </a:lnTo>
                  <a:lnTo>
                    <a:pt x="1416" y="1060"/>
                  </a:lnTo>
                  <a:lnTo>
                    <a:pt x="1420" y="1064"/>
                  </a:lnTo>
                  <a:lnTo>
                    <a:pt x="1424" y="1070"/>
                  </a:lnTo>
                  <a:lnTo>
                    <a:pt x="1428" y="1076"/>
                  </a:lnTo>
                  <a:lnTo>
                    <a:pt x="1432" y="1080"/>
                  </a:lnTo>
                  <a:lnTo>
                    <a:pt x="1434" y="1086"/>
                  </a:lnTo>
                  <a:lnTo>
                    <a:pt x="1436" y="1088"/>
                  </a:lnTo>
                  <a:lnTo>
                    <a:pt x="1438" y="1092"/>
                  </a:lnTo>
                  <a:lnTo>
                    <a:pt x="1438" y="1094"/>
                  </a:lnTo>
                  <a:lnTo>
                    <a:pt x="1438" y="1098"/>
                  </a:lnTo>
                  <a:lnTo>
                    <a:pt x="1436" y="1100"/>
                  </a:lnTo>
                  <a:lnTo>
                    <a:pt x="1436" y="1102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8" y="1116"/>
                  </a:lnTo>
                  <a:lnTo>
                    <a:pt x="1440" y="1118"/>
                  </a:lnTo>
                  <a:lnTo>
                    <a:pt x="1444" y="1126"/>
                  </a:lnTo>
                  <a:lnTo>
                    <a:pt x="1448" y="1128"/>
                  </a:lnTo>
                  <a:lnTo>
                    <a:pt x="1450" y="1132"/>
                  </a:lnTo>
                  <a:lnTo>
                    <a:pt x="1452" y="1134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60" y="1138"/>
                  </a:lnTo>
                  <a:lnTo>
                    <a:pt x="1460" y="1138"/>
                  </a:lnTo>
                  <a:lnTo>
                    <a:pt x="1462" y="1138"/>
                  </a:lnTo>
                  <a:lnTo>
                    <a:pt x="1464" y="1138"/>
                  </a:lnTo>
                  <a:lnTo>
                    <a:pt x="1466" y="1138"/>
                  </a:lnTo>
                  <a:lnTo>
                    <a:pt x="1466" y="1138"/>
                  </a:lnTo>
                  <a:lnTo>
                    <a:pt x="1468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4" y="1134"/>
                  </a:lnTo>
                  <a:lnTo>
                    <a:pt x="1474" y="1134"/>
                  </a:lnTo>
                  <a:lnTo>
                    <a:pt x="1474" y="1132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28"/>
                  </a:lnTo>
                  <a:lnTo>
                    <a:pt x="1476" y="1126"/>
                  </a:lnTo>
                  <a:lnTo>
                    <a:pt x="1478" y="1120"/>
                  </a:lnTo>
                  <a:lnTo>
                    <a:pt x="1478" y="1114"/>
                  </a:lnTo>
                  <a:lnTo>
                    <a:pt x="1478" y="1106"/>
                  </a:lnTo>
                  <a:lnTo>
                    <a:pt x="1476" y="1100"/>
                  </a:lnTo>
                  <a:lnTo>
                    <a:pt x="1476" y="1094"/>
                  </a:lnTo>
                  <a:lnTo>
                    <a:pt x="1476" y="1086"/>
                  </a:lnTo>
                  <a:lnTo>
                    <a:pt x="1474" y="1082"/>
                  </a:lnTo>
                  <a:lnTo>
                    <a:pt x="1474" y="1082"/>
                  </a:lnTo>
                  <a:lnTo>
                    <a:pt x="1474" y="1080"/>
                  </a:lnTo>
                  <a:lnTo>
                    <a:pt x="1472" y="1076"/>
                  </a:lnTo>
                  <a:lnTo>
                    <a:pt x="1470" y="1072"/>
                  </a:lnTo>
                  <a:lnTo>
                    <a:pt x="1466" y="1066"/>
                  </a:lnTo>
                  <a:lnTo>
                    <a:pt x="1462" y="1064"/>
                  </a:lnTo>
                  <a:lnTo>
                    <a:pt x="1460" y="1060"/>
                  </a:lnTo>
                  <a:lnTo>
                    <a:pt x="1458" y="1056"/>
                  </a:lnTo>
                  <a:lnTo>
                    <a:pt x="1456" y="1052"/>
                  </a:lnTo>
                  <a:lnTo>
                    <a:pt x="1454" y="1050"/>
                  </a:lnTo>
                  <a:lnTo>
                    <a:pt x="1452" y="1046"/>
                  </a:lnTo>
                  <a:lnTo>
                    <a:pt x="1452" y="1044"/>
                  </a:lnTo>
                  <a:lnTo>
                    <a:pt x="1452" y="1040"/>
                  </a:lnTo>
                  <a:lnTo>
                    <a:pt x="1452" y="1038"/>
                  </a:lnTo>
                  <a:lnTo>
                    <a:pt x="1452" y="1036"/>
                  </a:lnTo>
                  <a:lnTo>
                    <a:pt x="1452" y="1034"/>
                  </a:lnTo>
                  <a:lnTo>
                    <a:pt x="1454" y="1030"/>
                  </a:lnTo>
                  <a:lnTo>
                    <a:pt x="1458" y="1026"/>
                  </a:lnTo>
                  <a:lnTo>
                    <a:pt x="1460" y="1024"/>
                  </a:lnTo>
                  <a:lnTo>
                    <a:pt x="1462" y="1022"/>
                  </a:lnTo>
                  <a:lnTo>
                    <a:pt x="1464" y="1020"/>
                  </a:lnTo>
                  <a:lnTo>
                    <a:pt x="1468" y="1018"/>
                  </a:lnTo>
                  <a:lnTo>
                    <a:pt x="1474" y="1014"/>
                  </a:lnTo>
                  <a:lnTo>
                    <a:pt x="1482" y="1008"/>
                  </a:lnTo>
                  <a:lnTo>
                    <a:pt x="1490" y="1002"/>
                  </a:lnTo>
                  <a:lnTo>
                    <a:pt x="1498" y="998"/>
                  </a:lnTo>
                  <a:lnTo>
                    <a:pt x="1504" y="992"/>
                  </a:lnTo>
                  <a:lnTo>
                    <a:pt x="1508" y="990"/>
                  </a:lnTo>
                  <a:lnTo>
                    <a:pt x="1510" y="988"/>
                  </a:lnTo>
                  <a:lnTo>
                    <a:pt x="1516" y="984"/>
                  </a:lnTo>
                  <a:lnTo>
                    <a:pt x="1520" y="982"/>
                  </a:lnTo>
                  <a:lnTo>
                    <a:pt x="1526" y="978"/>
                  </a:lnTo>
                  <a:lnTo>
                    <a:pt x="1530" y="976"/>
                  </a:lnTo>
                  <a:lnTo>
                    <a:pt x="1534" y="972"/>
                  </a:lnTo>
                  <a:lnTo>
                    <a:pt x="1538" y="968"/>
                  </a:lnTo>
                  <a:lnTo>
                    <a:pt x="1540" y="964"/>
                  </a:lnTo>
                  <a:lnTo>
                    <a:pt x="1540" y="964"/>
                  </a:lnTo>
                  <a:lnTo>
                    <a:pt x="1542" y="964"/>
                  </a:lnTo>
                  <a:lnTo>
                    <a:pt x="1544" y="960"/>
                  </a:lnTo>
                  <a:lnTo>
                    <a:pt x="1544" y="960"/>
                  </a:lnTo>
                  <a:lnTo>
                    <a:pt x="1544" y="958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48"/>
                  </a:lnTo>
                  <a:lnTo>
                    <a:pt x="1546" y="942"/>
                  </a:lnTo>
                  <a:lnTo>
                    <a:pt x="1546" y="936"/>
                  </a:lnTo>
                  <a:lnTo>
                    <a:pt x="1546" y="928"/>
                  </a:lnTo>
                  <a:lnTo>
                    <a:pt x="1544" y="922"/>
                  </a:lnTo>
                  <a:lnTo>
                    <a:pt x="1544" y="916"/>
                  </a:lnTo>
                  <a:lnTo>
                    <a:pt x="1544" y="918"/>
                  </a:lnTo>
                  <a:lnTo>
                    <a:pt x="1546" y="912"/>
                  </a:lnTo>
                  <a:lnTo>
                    <a:pt x="1548" y="906"/>
                  </a:lnTo>
                  <a:lnTo>
                    <a:pt x="1550" y="902"/>
                  </a:lnTo>
                  <a:lnTo>
                    <a:pt x="1552" y="896"/>
                  </a:lnTo>
                  <a:lnTo>
                    <a:pt x="1556" y="892"/>
                  </a:lnTo>
                  <a:lnTo>
                    <a:pt x="1560" y="888"/>
                  </a:lnTo>
                  <a:lnTo>
                    <a:pt x="1562" y="884"/>
                  </a:lnTo>
                  <a:lnTo>
                    <a:pt x="1566" y="880"/>
                  </a:lnTo>
                  <a:lnTo>
                    <a:pt x="1570" y="876"/>
                  </a:lnTo>
                  <a:lnTo>
                    <a:pt x="1572" y="874"/>
                  </a:lnTo>
                  <a:lnTo>
                    <a:pt x="1574" y="872"/>
                  </a:lnTo>
                  <a:lnTo>
                    <a:pt x="1578" y="872"/>
                  </a:lnTo>
                  <a:lnTo>
                    <a:pt x="1580" y="870"/>
                  </a:lnTo>
                  <a:lnTo>
                    <a:pt x="1586" y="870"/>
                  </a:lnTo>
                  <a:lnTo>
                    <a:pt x="1590" y="868"/>
                  </a:lnTo>
                  <a:lnTo>
                    <a:pt x="1594" y="866"/>
                  </a:lnTo>
                  <a:lnTo>
                    <a:pt x="1598" y="866"/>
                  </a:lnTo>
                  <a:lnTo>
                    <a:pt x="1604" y="864"/>
                  </a:lnTo>
                  <a:lnTo>
                    <a:pt x="1608" y="862"/>
                  </a:lnTo>
                  <a:lnTo>
                    <a:pt x="1614" y="862"/>
                  </a:lnTo>
                  <a:lnTo>
                    <a:pt x="1620" y="860"/>
                  </a:lnTo>
                  <a:lnTo>
                    <a:pt x="1624" y="858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0"/>
                  </a:lnTo>
                  <a:lnTo>
                    <a:pt x="1632" y="848"/>
                  </a:lnTo>
                  <a:lnTo>
                    <a:pt x="1632" y="848"/>
                  </a:lnTo>
                  <a:lnTo>
                    <a:pt x="1632" y="846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28" y="842"/>
                  </a:lnTo>
                  <a:lnTo>
                    <a:pt x="1626" y="840"/>
                  </a:lnTo>
                  <a:lnTo>
                    <a:pt x="1624" y="838"/>
                  </a:lnTo>
                  <a:lnTo>
                    <a:pt x="1622" y="836"/>
                  </a:lnTo>
                  <a:lnTo>
                    <a:pt x="1622" y="836"/>
                  </a:lnTo>
                  <a:lnTo>
                    <a:pt x="1622" y="834"/>
                  </a:lnTo>
                  <a:lnTo>
                    <a:pt x="1622" y="830"/>
                  </a:lnTo>
                  <a:lnTo>
                    <a:pt x="1622" y="824"/>
                  </a:lnTo>
                  <a:lnTo>
                    <a:pt x="1622" y="822"/>
                  </a:lnTo>
                  <a:lnTo>
                    <a:pt x="1622" y="820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4"/>
                  </a:lnTo>
                  <a:lnTo>
                    <a:pt x="1626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08"/>
                  </a:lnTo>
                  <a:lnTo>
                    <a:pt x="1636" y="808"/>
                  </a:lnTo>
                  <a:lnTo>
                    <a:pt x="1636" y="802"/>
                  </a:lnTo>
                  <a:lnTo>
                    <a:pt x="1638" y="798"/>
                  </a:lnTo>
                  <a:lnTo>
                    <a:pt x="1638" y="798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4" y="796"/>
                  </a:lnTo>
                  <a:lnTo>
                    <a:pt x="1648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6" y="794"/>
                  </a:lnTo>
                  <a:lnTo>
                    <a:pt x="1660" y="794"/>
                  </a:lnTo>
                  <a:lnTo>
                    <a:pt x="1664" y="790"/>
                  </a:lnTo>
                  <a:lnTo>
                    <a:pt x="1666" y="788"/>
                  </a:lnTo>
                  <a:lnTo>
                    <a:pt x="1670" y="784"/>
                  </a:lnTo>
                  <a:lnTo>
                    <a:pt x="1670" y="782"/>
                  </a:lnTo>
                  <a:lnTo>
                    <a:pt x="1670" y="782"/>
                  </a:lnTo>
                  <a:lnTo>
                    <a:pt x="1672" y="782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78"/>
                  </a:lnTo>
                  <a:close/>
                  <a:moveTo>
                    <a:pt x="688" y="518"/>
                  </a:moveTo>
                  <a:lnTo>
                    <a:pt x="688" y="516"/>
                  </a:lnTo>
                  <a:lnTo>
                    <a:pt x="688" y="516"/>
                  </a:lnTo>
                  <a:lnTo>
                    <a:pt x="688" y="516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4" y="512"/>
                  </a:lnTo>
                  <a:lnTo>
                    <a:pt x="684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0" y="510"/>
                  </a:lnTo>
                  <a:lnTo>
                    <a:pt x="678" y="508"/>
                  </a:lnTo>
                  <a:lnTo>
                    <a:pt x="678" y="506"/>
                  </a:lnTo>
                  <a:lnTo>
                    <a:pt x="678" y="506"/>
                  </a:lnTo>
                  <a:lnTo>
                    <a:pt x="676" y="506"/>
                  </a:lnTo>
                  <a:lnTo>
                    <a:pt x="672" y="504"/>
                  </a:lnTo>
                  <a:lnTo>
                    <a:pt x="670" y="504"/>
                  </a:lnTo>
                  <a:lnTo>
                    <a:pt x="668" y="504"/>
                  </a:lnTo>
                  <a:lnTo>
                    <a:pt x="668" y="504"/>
                  </a:lnTo>
                  <a:lnTo>
                    <a:pt x="666" y="502"/>
                  </a:lnTo>
                  <a:lnTo>
                    <a:pt x="666" y="502"/>
                  </a:lnTo>
                  <a:lnTo>
                    <a:pt x="664" y="502"/>
                  </a:lnTo>
                  <a:lnTo>
                    <a:pt x="664" y="500"/>
                  </a:lnTo>
                  <a:lnTo>
                    <a:pt x="664" y="498"/>
                  </a:lnTo>
                  <a:lnTo>
                    <a:pt x="662" y="494"/>
                  </a:lnTo>
                  <a:lnTo>
                    <a:pt x="662" y="494"/>
                  </a:lnTo>
                  <a:lnTo>
                    <a:pt x="662" y="492"/>
                  </a:lnTo>
                  <a:lnTo>
                    <a:pt x="660" y="490"/>
                  </a:lnTo>
                  <a:lnTo>
                    <a:pt x="658" y="490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2" y="482"/>
                  </a:lnTo>
                  <a:lnTo>
                    <a:pt x="650" y="478"/>
                  </a:lnTo>
                  <a:lnTo>
                    <a:pt x="648" y="476"/>
                  </a:lnTo>
                  <a:lnTo>
                    <a:pt x="646" y="472"/>
                  </a:lnTo>
                  <a:lnTo>
                    <a:pt x="646" y="472"/>
                  </a:lnTo>
                  <a:lnTo>
                    <a:pt x="646" y="470"/>
                  </a:lnTo>
                  <a:lnTo>
                    <a:pt x="644" y="466"/>
                  </a:lnTo>
                  <a:lnTo>
                    <a:pt x="642" y="462"/>
                  </a:lnTo>
                  <a:lnTo>
                    <a:pt x="640" y="456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2" y="446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4" y="438"/>
                  </a:lnTo>
                  <a:lnTo>
                    <a:pt x="622" y="436"/>
                  </a:lnTo>
                  <a:lnTo>
                    <a:pt x="620" y="436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18" y="432"/>
                  </a:lnTo>
                  <a:lnTo>
                    <a:pt x="616" y="430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06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4"/>
                  </a:lnTo>
                  <a:lnTo>
                    <a:pt x="600" y="434"/>
                  </a:lnTo>
                  <a:lnTo>
                    <a:pt x="600" y="436"/>
                  </a:lnTo>
                  <a:lnTo>
                    <a:pt x="600" y="440"/>
                  </a:lnTo>
                  <a:lnTo>
                    <a:pt x="600" y="440"/>
                  </a:lnTo>
                  <a:lnTo>
                    <a:pt x="598" y="440"/>
                  </a:lnTo>
                  <a:lnTo>
                    <a:pt x="594" y="440"/>
                  </a:lnTo>
                  <a:lnTo>
                    <a:pt x="594" y="440"/>
                  </a:lnTo>
                  <a:lnTo>
                    <a:pt x="592" y="440"/>
                  </a:lnTo>
                  <a:lnTo>
                    <a:pt x="592" y="438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86" y="434"/>
                  </a:lnTo>
                  <a:lnTo>
                    <a:pt x="582" y="430"/>
                  </a:lnTo>
                  <a:lnTo>
                    <a:pt x="580" y="428"/>
                  </a:lnTo>
                  <a:lnTo>
                    <a:pt x="578" y="422"/>
                  </a:lnTo>
                  <a:lnTo>
                    <a:pt x="578" y="422"/>
                  </a:lnTo>
                  <a:lnTo>
                    <a:pt x="578" y="420"/>
                  </a:lnTo>
                  <a:lnTo>
                    <a:pt x="578" y="418"/>
                  </a:lnTo>
                  <a:lnTo>
                    <a:pt x="578" y="418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4"/>
                  </a:lnTo>
                  <a:lnTo>
                    <a:pt x="574" y="414"/>
                  </a:lnTo>
                  <a:lnTo>
                    <a:pt x="574" y="414"/>
                  </a:lnTo>
                  <a:lnTo>
                    <a:pt x="574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4" y="408"/>
                  </a:lnTo>
                  <a:lnTo>
                    <a:pt x="574" y="406"/>
                  </a:lnTo>
                  <a:lnTo>
                    <a:pt x="574" y="404"/>
                  </a:lnTo>
                  <a:lnTo>
                    <a:pt x="574" y="400"/>
                  </a:lnTo>
                  <a:lnTo>
                    <a:pt x="574" y="396"/>
                  </a:lnTo>
                  <a:lnTo>
                    <a:pt x="574" y="394"/>
                  </a:lnTo>
                  <a:lnTo>
                    <a:pt x="572" y="392"/>
                  </a:lnTo>
                  <a:lnTo>
                    <a:pt x="572" y="390"/>
                  </a:lnTo>
                  <a:lnTo>
                    <a:pt x="572" y="386"/>
                  </a:lnTo>
                  <a:lnTo>
                    <a:pt x="572" y="382"/>
                  </a:lnTo>
                  <a:lnTo>
                    <a:pt x="572" y="378"/>
                  </a:lnTo>
                  <a:lnTo>
                    <a:pt x="572" y="372"/>
                  </a:lnTo>
                  <a:lnTo>
                    <a:pt x="572" y="364"/>
                  </a:lnTo>
                  <a:lnTo>
                    <a:pt x="572" y="358"/>
                  </a:lnTo>
                  <a:lnTo>
                    <a:pt x="572" y="348"/>
                  </a:lnTo>
                  <a:lnTo>
                    <a:pt x="572" y="338"/>
                  </a:lnTo>
                  <a:lnTo>
                    <a:pt x="572" y="330"/>
                  </a:lnTo>
                  <a:lnTo>
                    <a:pt x="572" y="324"/>
                  </a:lnTo>
                  <a:lnTo>
                    <a:pt x="572" y="316"/>
                  </a:lnTo>
                  <a:lnTo>
                    <a:pt x="572" y="310"/>
                  </a:lnTo>
                  <a:lnTo>
                    <a:pt x="572" y="302"/>
                  </a:lnTo>
                  <a:lnTo>
                    <a:pt x="572" y="292"/>
                  </a:lnTo>
                  <a:lnTo>
                    <a:pt x="572" y="276"/>
                  </a:lnTo>
                  <a:lnTo>
                    <a:pt x="572" y="256"/>
                  </a:lnTo>
                  <a:lnTo>
                    <a:pt x="572" y="238"/>
                  </a:lnTo>
                  <a:lnTo>
                    <a:pt x="572" y="218"/>
                  </a:lnTo>
                  <a:lnTo>
                    <a:pt x="572" y="200"/>
                  </a:lnTo>
                  <a:lnTo>
                    <a:pt x="572" y="180"/>
                  </a:lnTo>
                  <a:lnTo>
                    <a:pt x="572" y="162"/>
                  </a:lnTo>
                  <a:lnTo>
                    <a:pt x="572" y="144"/>
                  </a:lnTo>
                  <a:lnTo>
                    <a:pt x="572" y="136"/>
                  </a:lnTo>
                  <a:lnTo>
                    <a:pt x="572" y="130"/>
                  </a:lnTo>
                  <a:lnTo>
                    <a:pt x="572" y="122"/>
                  </a:lnTo>
                  <a:lnTo>
                    <a:pt x="572" y="114"/>
                  </a:lnTo>
                  <a:lnTo>
                    <a:pt x="572" y="108"/>
                  </a:lnTo>
                  <a:lnTo>
                    <a:pt x="574" y="102"/>
                  </a:lnTo>
                  <a:lnTo>
                    <a:pt x="574" y="88"/>
                  </a:lnTo>
                  <a:lnTo>
                    <a:pt x="574" y="86"/>
                  </a:lnTo>
                  <a:lnTo>
                    <a:pt x="574" y="82"/>
                  </a:lnTo>
                  <a:lnTo>
                    <a:pt x="574" y="80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6" y="74"/>
                  </a:lnTo>
                  <a:lnTo>
                    <a:pt x="576" y="74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0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4"/>
                  </a:lnTo>
                  <a:lnTo>
                    <a:pt x="576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0" y="64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68" y="68"/>
                  </a:lnTo>
                  <a:lnTo>
                    <a:pt x="566" y="68"/>
                  </a:lnTo>
                  <a:lnTo>
                    <a:pt x="560" y="66"/>
                  </a:lnTo>
                  <a:lnTo>
                    <a:pt x="554" y="66"/>
                  </a:lnTo>
                  <a:lnTo>
                    <a:pt x="546" y="66"/>
                  </a:lnTo>
                  <a:lnTo>
                    <a:pt x="538" y="66"/>
                  </a:lnTo>
                  <a:lnTo>
                    <a:pt x="532" y="68"/>
                  </a:lnTo>
                  <a:lnTo>
                    <a:pt x="524" y="68"/>
                  </a:lnTo>
                  <a:lnTo>
                    <a:pt x="518" y="66"/>
                  </a:lnTo>
                  <a:lnTo>
                    <a:pt x="508" y="66"/>
                  </a:lnTo>
                  <a:lnTo>
                    <a:pt x="498" y="64"/>
                  </a:lnTo>
                  <a:lnTo>
                    <a:pt x="490" y="62"/>
                  </a:lnTo>
                  <a:lnTo>
                    <a:pt x="486" y="60"/>
                  </a:lnTo>
                  <a:lnTo>
                    <a:pt x="482" y="60"/>
                  </a:lnTo>
                  <a:lnTo>
                    <a:pt x="478" y="56"/>
                  </a:lnTo>
                  <a:lnTo>
                    <a:pt x="478" y="58"/>
                  </a:lnTo>
                  <a:lnTo>
                    <a:pt x="474" y="54"/>
                  </a:lnTo>
                  <a:lnTo>
                    <a:pt x="470" y="50"/>
                  </a:lnTo>
                  <a:lnTo>
                    <a:pt x="464" y="44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58" y="38"/>
                  </a:lnTo>
                  <a:lnTo>
                    <a:pt x="458" y="38"/>
                  </a:lnTo>
                  <a:lnTo>
                    <a:pt x="456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4" y="38"/>
                  </a:lnTo>
                  <a:lnTo>
                    <a:pt x="444" y="38"/>
                  </a:lnTo>
                  <a:lnTo>
                    <a:pt x="444" y="40"/>
                  </a:lnTo>
                  <a:lnTo>
                    <a:pt x="440" y="42"/>
                  </a:lnTo>
                  <a:lnTo>
                    <a:pt x="436" y="44"/>
                  </a:lnTo>
                  <a:lnTo>
                    <a:pt x="434" y="46"/>
                  </a:lnTo>
                  <a:lnTo>
                    <a:pt x="430" y="48"/>
                  </a:lnTo>
                  <a:lnTo>
                    <a:pt x="428" y="50"/>
                  </a:lnTo>
                  <a:lnTo>
                    <a:pt x="426" y="50"/>
                  </a:lnTo>
                  <a:lnTo>
                    <a:pt x="424" y="50"/>
                  </a:lnTo>
                  <a:lnTo>
                    <a:pt x="422" y="50"/>
                  </a:lnTo>
                  <a:lnTo>
                    <a:pt x="420" y="50"/>
                  </a:lnTo>
                  <a:lnTo>
                    <a:pt x="420" y="50"/>
                  </a:lnTo>
                  <a:lnTo>
                    <a:pt x="418" y="46"/>
                  </a:lnTo>
                  <a:lnTo>
                    <a:pt x="414" y="44"/>
                  </a:lnTo>
                  <a:lnTo>
                    <a:pt x="412" y="42"/>
                  </a:lnTo>
                  <a:lnTo>
                    <a:pt x="412" y="40"/>
                  </a:lnTo>
                  <a:lnTo>
                    <a:pt x="408" y="36"/>
                  </a:lnTo>
                  <a:lnTo>
                    <a:pt x="406" y="32"/>
                  </a:lnTo>
                  <a:lnTo>
                    <a:pt x="404" y="30"/>
                  </a:lnTo>
                  <a:lnTo>
                    <a:pt x="402" y="28"/>
                  </a:lnTo>
                  <a:lnTo>
                    <a:pt x="400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2" y="22"/>
                  </a:lnTo>
                  <a:lnTo>
                    <a:pt x="388" y="22"/>
                  </a:lnTo>
                  <a:lnTo>
                    <a:pt x="384" y="20"/>
                  </a:lnTo>
                  <a:lnTo>
                    <a:pt x="382" y="20"/>
                  </a:lnTo>
                  <a:lnTo>
                    <a:pt x="382" y="20"/>
                  </a:lnTo>
                  <a:lnTo>
                    <a:pt x="380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4" y="20"/>
                  </a:lnTo>
                  <a:lnTo>
                    <a:pt x="370" y="22"/>
                  </a:lnTo>
                  <a:lnTo>
                    <a:pt x="368" y="24"/>
                  </a:lnTo>
                  <a:lnTo>
                    <a:pt x="364" y="26"/>
                  </a:lnTo>
                  <a:lnTo>
                    <a:pt x="360" y="28"/>
                  </a:lnTo>
                  <a:lnTo>
                    <a:pt x="358" y="30"/>
                  </a:lnTo>
                  <a:lnTo>
                    <a:pt x="354" y="34"/>
                  </a:lnTo>
                  <a:lnTo>
                    <a:pt x="352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2" y="30"/>
                  </a:lnTo>
                  <a:lnTo>
                    <a:pt x="352" y="26"/>
                  </a:lnTo>
                  <a:lnTo>
                    <a:pt x="354" y="24"/>
                  </a:lnTo>
                  <a:lnTo>
                    <a:pt x="354" y="22"/>
                  </a:lnTo>
                  <a:lnTo>
                    <a:pt x="358" y="16"/>
                  </a:lnTo>
                  <a:lnTo>
                    <a:pt x="360" y="14"/>
                  </a:lnTo>
                  <a:lnTo>
                    <a:pt x="360" y="12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4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46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2" y="0"/>
                  </a:lnTo>
                  <a:lnTo>
                    <a:pt x="342" y="0"/>
                  </a:lnTo>
                  <a:lnTo>
                    <a:pt x="340" y="2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8" y="4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8"/>
                  </a:lnTo>
                  <a:lnTo>
                    <a:pt x="334" y="12"/>
                  </a:lnTo>
                  <a:lnTo>
                    <a:pt x="334" y="16"/>
                  </a:lnTo>
                  <a:lnTo>
                    <a:pt x="334" y="20"/>
                  </a:lnTo>
                  <a:lnTo>
                    <a:pt x="332" y="22"/>
                  </a:lnTo>
                  <a:lnTo>
                    <a:pt x="332" y="24"/>
                  </a:lnTo>
                  <a:lnTo>
                    <a:pt x="330" y="26"/>
                  </a:lnTo>
                  <a:lnTo>
                    <a:pt x="328" y="26"/>
                  </a:lnTo>
                  <a:lnTo>
                    <a:pt x="326" y="26"/>
                  </a:lnTo>
                  <a:lnTo>
                    <a:pt x="322" y="26"/>
                  </a:lnTo>
                  <a:lnTo>
                    <a:pt x="318" y="26"/>
                  </a:lnTo>
                  <a:lnTo>
                    <a:pt x="312" y="26"/>
                  </a:lnTo>
                  <a:lnTo>
                    <a:pt x="308" y="26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0" y="26"/>
                  </a:lnTo>
                  <a:lnTo>
                    <a:pt x="298" y="26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2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8"/>
                  </a:lnTo>
                  <a:lnTo>
                    <a:pt x="294" y="42"/>
                  </a:lnTo>
                  <a:lnTo>
                    <a:pt x="292" y="44"/>
                  </a:lnTo>
                  <a:lnTo>
                    <a:pt x="294" y="46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2" y="54"/>
                  </a:lnTo>
                  <a:lnTo>
                    <a:pt x="290" y="52"/>
                  </a:lnTo>
                  <a:lnTo>
                    <a:pt x="286" y="52"/>
                  </a:lnTo>
                  <a:lnTo>
                    <a:pt x="284" y="50"/>
                  </a:lnTo>
                  <a:lnTo>
                    <a:pt x="282" y="50"/>
                  </a:lnTo>
                  <a:lnTo>
                    <a:pt x="280" y="50"/>
                  </a:lnTo>
                  <a:lnTo>
                    <a:pt x="272" y="50"/>
                  </a:lnTo>
                  <a:lnTo>
                    <a:pt x="270" y="48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58" y="52"/>
                  </a:lnTo>
                  <a:lnTo>
                    <a:pt x="256" y="54"/>
                  </a:lnTo>
                  <a:lnTo>
                    <a:pt x="252" y="56"/>
                  </a:lnTo>
                  <a:lnTo>
                    <a:pt x="250" y="58"/>
                  </a:lnTo>
                  <a:lnTo>
                    <a:pt x="248" y="62"/>
                  </a:lnTo>
                  <a:lnTo>
                    <a:pt x="244" y="68"/>
                  </a:lnTo>
                  <a:lnTo>
                    <a:pt x="242" y="72"/>
                  </a:lnTo>
                  <a:lnTo>
                    <a:pt x="242" y="74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6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38" y="94"/>
                  </a:lnTo>
                  <a:lnTo>
                    <a:pt x="236" y="96"/>
                  </a:lnTo>
                  <a:lnTo>
                    <a:pt x="232" y="96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4" y="102"/>
                  </a:lnTo>
                  <a:lnTo>
                    <a:pt x="222" y="104"/>
                  </a:lnTo>
                  <a:lnTo>
                    <a:pt x="218" y="108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2" y="112"/>
                  </a:lnTo>
                  <a:lnTo>
                    <a:pt x="206" y="112"/>
                  </a:lnTo>
                  <a:lnTo>
                    <a:pt x="200" y="114"/>
                  </a:lnTo>
                  <a:lnTo>
                    <a:pt x="198" y="114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4" y="118"/>
                  </a:lnTo>
                  <a:lnTo>
                    <a:pt x="194" y="118"/>
                  </a:lnTo>
                  <a:lnTo>
                    <a:pt x="194" y="120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0" y="122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8" y="146"/>
                  </a:lnTo>
                  <a:lnTo>
                    <a:pt x="202" y="148"/>
                  </a:lnTo>
                  <a:lnTo>
                    <a:pt x="206" y="150"/>
                  </a:lnTo>
                  <a:lnTo>
                    <a:pt x="212" y="156"/>
                  </a:lnTo>
                  <a:lnTo>
                    <a:pt x="216" y="158"/>
                  </a:lnTo>
                  <a:lnTo>
                    <a:pt x="220" y="160"/>
                  </a:lnTo>
                  <a:lnTo>
                    <a:pt x="224" y="162"/>
                  </a:lnTo>
                  <a:lnTo>
                    <a:pt x="226" y="166"/>
                  </a:lnTo>
                  <a:lnTo>
                    <a:pt x="228" y="168"/>
                  </a:lnTo>
                  <a:lnTo>
                    <a:pt x="228" y="170"/>
                  </a:lnTo>
                  <a:lnTo>
                    <a:pt x="228" y="172"/>
                  </a:lnTo>
                  <a:lnTo>
                    <a:pt x="228" y="174"/>
                  </a:lnTo>
                  <a:lnTo>
                    <a:pt x="228" y="178"/>
                  </a:lnTo>
                  <a:lnTo>
                    <a:pt x="228" y="180"/>
                  </a:lnTo>
                  <a:lnTo>
                    <a:pt x="228" y="180"/>
                  </a:lnTo>
                  <a:lnTo>
                    <a:pt x="230" y="180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6" y="188"/>
                  </a:lnTo>
                  <a:lnTo>
                    <a:pt x="238" y="188"/>
                  </a:lnTo>
                  <a:lnTo>
                    <a:pt x="242" y="188"/>
                  </a:lnTo>
                  <a:lnTo>
                    <a:pt x="246" y="188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8" y="188"/>
                  </a:lnTo>
                  <a:lnTo>
                    <a:pt x="262" y="190"/>
                  </a:lnTo>
                  <a:lnTo>
                    <a:pt x="266" y="192"/>
                  </a:lnTo>
                  <a:lnTo>
                    <a:pt x="270" y="196"/>
                  </a:lnTo>
                  <a:lnTo>
                    <a:pt x="272" y="198"/>
                  </a:lnTo>
                  <a:lnTo>
                    <a:pt x="272" y="200"/>
                  </a:lnTo>
                  <a:lnTo>
                    <a:pt x="274" y="202"/>
                  </a:lnTo>
                  <a:lnTo>
                    <a:pt x="274" y="204"/>
                  </a:lnTo>
                  <a:lnTo>
                    <a:pt x="274" y="208"/>
                  </a:lnTo>
                  <a:lnTo>
                    <a:pt x="274" y="206"/>
                  </a:lnTo>
                  <a:lnTo>
                    <a:pt x="276" y="210"/>
                  </a:lnTo>
                  <a:lnTo>
                    <a:pt x="274" y="212"/>
                  </a:lnTo>
                  <a:lnTo>
                    <a:pt x="274" y="212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0" y="216"/>
                  </a:lnTo>
                  <a:lnTo>
                    <a:pt x="266" y="218"/>
                  </a:lnTo>
                  <a:lnTo>
                    <a:pt x="260" y="218"/>
                  </a:lnTo>
                  <a:lnTo>
                    <a:pt x="254" y="220"/>
                  </a:lnTo>
                  <a:lnTo>
                    <a:pt x="248" y="222"/>
                  </a:lnTo>
                  <a:lnTo>
                    <a:pt x="242" y="222"/>
                  </a:lnTo>
                  <a:lnTo>
                    <a:pt x="238" y="222"/>
                  </a:lnTo>
                  <a:lnTo>
                    <a:pt x="236" y="222"/>
                  </a:lnTo>
                  <a:lnTo>
                    <a:pt x="236" y="222"/>
                  </a:lnTo>
                  <a:lnTo>
                    <a:pt x="234" y="220"/>
                  </a:lnTo>
                  <a:lnTo>
                    <a:pt x="236" y="218"/>
                  </a:lnTo>
                  <a:lnTo>
                    <a:pt x="236" y="214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4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26" y="202"/>
                  </a:lnTo>
                  <a:lnTo>
                    <a:pt x="224" y="204"/>
                  </a:lnTo>
                  <a:lnTo>
                    <a:pt x="220" y="206"/>
                  </a:lnTo>
                  <a:lnTo>
                    <a:pt x="216" y="208"/>
                  </a:lnTo>
                  <a:lnTo>
                    <a:pt x="208" y="212"/>
                  </a:lnTo>
                  <a:lnTo>
                    <a:pt x="198" y="216"/>
                  </a:lnTo>
                  <a:lnTo>
                    <a:pt x="188" y="222"/>
                  </a:lnTo>
                  <a:lnTo>
                    <a:pt x="184" y="224"/>
                  </a:lnTo>
                  <a:lnTo>
                    <a:pt x="180" y="226"/>
                  </a:lnTo>
                  <a:lnTo>
                    <a:pt x="176" y="228"/>
                  </a:lnTo>
                  <a:lnTo>
                    <a:pt x="172" y="230"/>
                  </a:lnTo>
                  <a:lnTo>
                    <a:pt x="170" y="232"/>
                  </a:lnTo>
                  <a:lnTo>
                    <a:pt x="168" y="234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70" y="242"/>
                  </a:lnTo>
                  <a:lnTo>
                    <a:pt x="172" y="242"/>
                  </a:lnTo>
                  <a:lnTo>
                    <a:pt x="176" y="242"/>
                  </a:lnTo>
                  <a:lnTo>
                    <a:pt x="178" y="242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6"/>
                  </a:lnTo>
                  <a:lnTo>
                    <a:pt x="184" y="248"/>
                  </a:lnTo>
                  <a:lnTo>
                    <a:pt x="186" y="252"/>
                  </a:lnTo>
                  <a:lnTo>
                    <a:pt x="188" y="256"/>
                  </a:lnTo>
                  <a:lnTo>
                    <a:pt x="188" y="260"/>
                  </a:lnTo>
                  <a:lnTo>
                    <a:pt x="190" y="264"/>
                  </a:lnTo>
                  <a:lnTo>
                    <a:pt x="192" y="266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8" y="272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2" y="276"/>
                  </a:lnTo>
                  <a:lnTo>
                    <a:pt x="204" y="276"/>
                  </a:lnTo>
                  <a:lnTo>
                    <a:pt x="206" y="276"/>
                  </a:lnTo>
                  <a:lnTo>
                    <a:pt x="210" y="276"/>
                  </a:lnTo>
                  <a:lnTo>
                    <a:pt x="214" y="276"/>
                  </a:lnTo>
                  <a:lnTo>
                    <a:pt x="218" y="276"/>
                  </a:lnTo>
                  <a:lnTo>
                    <a:pt x="222" y="276"/>
                  </a:lnTo>
                  <a:lnTo>
                    <a:pt x="226" y="278"/>
                  </a:lnTo>
                  <a:lnTo>
                    <a:pt x="232" y="276"/>
                  </a:lnTo>
                  <a:lnTo>
                    <a:pt x="236" y="276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50" y="274"/>
                  </a:lnTo>
                  <a:lnTo>
                    <a:pt x="250" y="272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4" y="270"/>
                  </a:lnTo>
                  <a:lnTo>
                    <a:pt x="256" y="270"/>
                  </a:lnTo>
                  <a:lnTo>
                    <a:pt x="260" y="270"/>
                  </a:lnTo>
                  <a:lnTo>
                    <a:pt x="266" y="272"/>
                  </a:lnTo>
                  <a:lnTo>
                    <a:pt x="268" y="272"/>
                  </a:lnTo>
                  <a:lnTo>
                    <a:pt x="270" y="272"/>
                  </a:lnTo>
                  <a:lnTo>
                    <a:pt x="272" y="274"/>
                  </a:lnTo>
                  <a:lnTo>
                    <a:pt x="274" y="276"/>
                  </a:lnTo>
                  <a:lnTo>
                    <a:pt x="274" y="278"/>
                  </a:lnTo>
                  <a:lnTo>
                    <a:pt x="276" y="280"/>
                  </a:lnTo>
                  <a:lnTo>
                    <a:pt x="276" y="284"/>
                  </a:lnTo>
                  <a:lnTo>
                    <a:pt x="278" y="288"/>
                  </a:lnTo>
                  <a:lnTo>
                    <a:pt x="278" y="294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304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0" y="308"/>
                  </a:lnTo>
                  <a:lnTo>
                    <a:pt x="266" y="310"/>
                  </a:lnTo>
                  <a:lnTo>
                    <a:pt x="258" y="312"/>
                  </a:lnTo>
                  <a:lnTo>
                    <a:pt x="254" y="312"/>
                  </a:lnTo>
                  <a:lnTo>
                    <a:pt x="252" y="314"/>
                  </a:lnTo>
                  <a:lnTo>
                    <a:pt x="248" y="316"/>
                  </a:lnTo>
                  <a:lnTo>
                    <a:pt x="244" y="316"/>
                  </a:lnTo>
                  <a:lnTo>
                    <a:pt x="236" y="318"/>
                  </a:lnTo>
                  <a:lnTo>
                    <a:pt x="228" y="320"/>
                  </a:lnTo>
                  <a:lnTo>
                    <a:pt x="224" y="322"/>
                  </a:lnTo>
                  <a:lnTo>
                    <a:pt x="220" y="324"/>
                  </a:lnTo>
                  <a:lnTo>
                    <a:pt x="218" y="326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06" y="340"/>
                  </a:lnTo>
                  <a:lnTo>
                    <a:pt x="204" y="348"/>
                  </a:lnTo>
                  <a:lnTo>
                    <a:pt x="202" y="354"/>
                  </a:lnTo>
                  <a:lnTo>
                    <a:pt x="200" y="360"/>
                  </a:lnTo>
                  <a:lnTo>
                    <a:pt x="200" y="364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2" y="372"/>
                  </a:lnTo>
                  <a:lnTo>
                    <a:pt x="202" y="372"/>
                  </a:lnTo>
                  <a:lnTo>
                    <a:pt x="202" y="374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8" y="380"/>
                  </a:lnTo>
                  <a:lnTo>
                    <a:pt x="212" y="382"/>
                  </a:lnTo>
                  <a:lnTo>
                    <a:pt x="218" y="384"/>
                  </a:lnTo>
                  <a:lnTo>
                    <a:pt x="220" y="386"/>
                  </a:lnTo>
                  <a:lnTo>
                    <a:pt x="222" y="388"/>
                  </a:lnTo>
                  <a:lnTo>
                    <a:pt x="224" y="390"/>
                  </a:lnTo>
                  <a:lnTo>
                    <a:pt x="228" y="392"/>
                  </a:lnTo>
                  <a:lnTo>
                    <a:pt x="230" y="394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0" y="396"/>
                  </a:lnTo>
                  <a:lnTo>
                    <a:pt x="224" y="394"/>
                  </a:lnTo>
                  <a:lnTo>
                    <a:pt x="218" y="394"/>
                  </a:lnTo>
                  <a:lnTo>
                    <a:pt x="214" y="394"/>
                  </a:lnTo>
                  <a:lnTo>
                    <a:pt x="212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08" y="394"/>
                  </a:lnTo>
                  <a:lnTo>
                    <a:pt x="208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6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2"/>
                  </a:lnTo>
                  <a:lnTo>
                    <a:pt x="206" y="402"/>
                  </a:lnTo>
                  <a:lnTo>
                    <a:pt x="206" y="404"/>
                  </a:lnTo>
                  <a:lnTo>
                    <a:pt x="210" y="406"/>
                  </a:lnTo>
                  <a:lnTo>
                    <a:pt x="212" y="410"/>
                  </a:lnTo>
                  <a:lnTo>
                    <a:pt x="216" y="414"/>
                  </a:lnTo>
                  <a:lnTo>
                    <a:pt x="218" y="418"/>
                  </a:lnTo>
                  <a:lnTo>
                    <a:pt x="222" y="420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4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30" y="424"/>
                  </a:lnTo>
                  <a:lnTo>
                    <a:pt x="230" y="424"/>
                  </a:lnTo>
                  <a:lnTo>
                    <a:pt x="230" y="426"/>
                  </a:lnTo>
                  <a:lnTo>
                    <a:pt x="232" y="426"/>
                  </a:lnTo>
                  <a:lnTo>
                    <a:pt x="234" y="424"/>
                  </a:lnTo>
                  <a:lnTo>
                    <a:pt x="234" y="424"/>
                  </a:lnTo>
                  <a:lnTo>
                    <a:pt x="236" y="424"/>
                  </a:lnTo>
                  <a:lnTo>
                    <a:pt x="240" y="422"/>
                  </a:lnTo>
                  <a:lnTo>
                    <a:pt x="244" y="422"/>
                  </a:lnTo>
                  <a:lnTo>
                    <a:pt x="246" y="420"/>
                  </a:lnTo>
                  <a:lnTo>
                    <a:pt x="248" y="418"/>
                  </a:lnTo>
                  <a:lnTo>
                    <a:pt x="254" y="414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6"/>
                  </a:lnTo>
                  <a:lnTo>
                    <a:pt x="254" y="420"/>
                  </a:lnTo>
                  <a:lnTo>
                    <a:pt x="254" y="426"/>
                  </a:lnTo>
                  <a:lnTo>
                    <a:pt x="252" y="432"/>
                  </a:lnTo>
                  <a:lnTo>
                    <a:pt x="252" y="438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2" y="444"/>
                  </a:lnTo>
                  <a:lnTo>
                    <a:pt x="252" y="446"/>
                  </a:lnTo>
                  <a:lnTo>
                    <a:pt x="252" y="446"/>
                  </a:lnTo>
                  <a:lnTo>
                    <a:pt x="252" y="448"/>
                  </a:lnTo>
                  <a:lnTo>
                    <a:pt x="252" y="450"/>
                  </a:lnTo>
                  <a:lnTo>
                    <a:pt x="252" y="450"/>
                  </a:lnTo>
                  <a:lnTo>
                    <a:pt x="254" y="450"/>
                  </a:lnTo>
                  <a:lnTo>
                    <a:pt x="254" y="452"/>
                  </a:lnTo>
                  <a:lnTo>
                    <a:pt x="254" y="452"/>
                  </a:lnTo>
                  <a:lnTo>
                    <a:pt x="256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6" y="458"/>
                  </a:lnTo>
                  <a:lnTo>
                    <a:pt x="270" y="458"/>
                  </a:lnTo>
                  <a:lnTo>
                    <a:pt x="272" y="458"/>
                  </a:lnTo>
                  <a:lnTo>
                    <a:pt x="272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8" y="458"/>
                  </a:lnTo>
                  <a:lnTo>
                    <a:pt x="284" y="456"/>
                  </a:lnTo>
                  <a:lnTo>
                    <a:pt x="288" y="456"/>
                  </a:lnTo>
                  <a:lnTo>
                    <a:pt x="290" y="454"/>
                  </a:lnTo>
                  <a:lnTo>
                    <a:pt x="292" y="454"/>
                  </a:lnTo>
                  <a:lnTo>
                    <a:pt x="292" y="456"/>
                  </a:lnTo>
                  <a:lnTo>
                    <a:pt x="294" y="456"/>
                  </a:lnTo>
                  <a:lnTo>
                    <a:pt x="294" y="458"/>
                  </a:lnTo>
                  <a:lnTo>
                    <a:pt x="296" y="460"/>
                  </a:lnTo>
                  <a:lnTo>
                    <a:pt x="298" y="462"/>
                  </a:lnTo>
                  <a:lnTo>
                    <a:pt x="300" y="462"/>
                  </a:lnTo>
                  <a:lnTo>
                    <a:pt x="300" y="462"/>
                  </a:lnTo>
                  <a:lnTo>
                    <a:pt x="300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4" y="464"/>
                  </a:lnTo>
                  <a:lnTo>
                    <a:pt x="304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8" y="462"/>
                  </a:lnTo>
                  <a:lnTo>
                    <a:pt x="310" y="462"/>
                  </a:lnTo>
                  <a:lnTo>
                    <a:pt x="310" y="462"/>
                  </a:lnTo>
                  <a:lnTo>
                    <a:pt x="310" y="460"/>
                  </a:lnTo>
                  <a:lnTo>
                    <a:pt x="310" y="458"/>
                  </a:lnTo>
                  <a:lnTo>
                    <a:pt x="312" y="456"/>
                  </a:lnTo>
                  <a:lnTo>
                    <a:pt x="312" y="454"/>
                  </a:lnTo>
                  <a:lnTo>
                    <a:pt x="314" y="452"/>
                  </a:lnTo>
                  <a:lnTo>
                    <a:pt x="314" y="450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22" y="446"/>
                  </a:lnTo>
                  <a:lnTo>
                    <a:pt x="324" y="446"/>
                  </a:lnTo>
                  <a:lnTo>
                    <a:pt x="324" y="446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50"/>
                  </a:lnTo>
                  <a:lnTo>
                    <a:pt x="326" y="454"/>
                  </a:lnTo>
                  <a:lnTo>
                    <a:pt x="326" y="456"/>
                  </a:lnTo>
                  <a:lnTo>
                    <a:pt x="324" y="464"/>
                  </a:lnTo>
                  <a:lnTo>
                    <a:pt x="322" y="468"/>
                  </a:lnTo>
                  <a:lnTo>
                    <a:pt x="322" y="470"/>
                  </a:lnTo>
                  <a:lnTo>
                    <a:pt x="318" y="476"/>
                  </a:lnTo>
                  <a:lnTo>
                    <a:pt x="316" y="482"/>
                  </a:lnTo>
                  <a:lnTo>
                    <a:pt x="310" y="488"/>
                  </a:lnTo>
                  <a:lnTo>
                    <a:pt x="306" y="492"/>
                  </a:lnTo>
                  <a:lnTo>
                    <a:pt x="300" y="498"/>
                  </a:lnTo>
                  <a:lnTo>
                    <a:pt x="294" y="502"/>
                  </a:lnTo>
                  <a:lnTo>
                    <a:pt x="288" y="508"/>
                  </a:lnTo>
                  <a:lnTo>
                    <a:pt x="280" y="512"/>
                  </a:lnTo>
                  <a:lnTo>
                    <a:pt x="274" y="516"/>
                  </a:lnTo>
                  <a:lnTo>
                    <a:pt x="266" y="520"/>
                  </a:lnTo>
                  <a:lnTo>
                    <a:pt x="260" y="522"/>
                  </a:lnTo>
                  <a:lnTo>
                    <a:pt x="252" y="526"/>
                  </a:lnTo>
                  <a:lnTo>
                    <a:pt x="246" y="530"/>
                  </a:lnTo>
                  <a:lnTo>
                    <a:pt x="240" y="532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4" y="542"/>
                  </a:lnTo>
                  <a:lnTo>
                    <a:pt x="224" y="542"/>
                  </a:lnTo>
                  <a:lnTo>
                    <a:pt x="224" y="544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18" y="552"/>
                  </a:lnTo>
                  <a:lnTo>
                    <a:pt x="218" y="556"/>
                  </a:lnTo>
                  <a:lnTo>
                    <a:pt x="216" y="558"/>
                  </a:lnTo>
                  <a:lnTo>
                    <a:pt x="214" y="560"/>
                  </a:lnTo>
                  <a:lnTo>
                    <a:pt x="212" y="562"/>
                  </a:lnTo>
                  <a:lnTo>
                    <a:pt x="210" y="562"/>
                  </a:lnTo>
                  <a:lnTo>
                    <a:pt x="208" y="562"/>
                  </a:lnTo>
                  <a:lnTo>
                    <a:pt x="200" y="564"/>
                  </a:lnTo>
                  <a:lnTo>
                    <a:pt x="192" y="564"/>
                  </a:lnTo>
                  <a:lnTo>
                    <a:pt x="188" y="564"/>
                  </a:lnTo>
                  <a:lnTo>
                    <a:pt x="186" y="564"/>
                  </a:lnTo>
                  <a:lnTo>
                    <a:pt x="182" y="566"/>
                  </a:lnTo>
                  <a:lnTo>
                    <a:pt x="180" y="566"/>
                  </a:lnTo>
                  <a:lnTo>
                    <a:pt x="176" y="568"/>
                  </a:lnTo>
                  <a:lnTo>
                    <a:pt x="174" y="570"/>
                  </a:lnTo>
                  <a:lnTo>
                    <a:pt x="170" y="574"/>
                  </a:lnTo>
                  <a:lnTo>
                    <a:pt x="166" y="576"/>
                  </a:lnTo>
                  <a:lnTo>
                    <a:pt x="162" y="578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8"/>
                  </a:lnTo>
                  <a:lnTo>
                    <a:pt x="152" y="594"/>
                  </a:lnTo>
                  <a:lnTo>
                    <a:pt x="152" y="596"/>
                  </a:lnTo>
                  <a:lnTo>
                    <a:pt x="150" y="598"/>
                  </a:lnTo>
                  <a:lnTo>
                    <a:pt x="150" y="600"/>
                  </a:lnTo>
                  <a:lnTo>
                    <a:pt x="146" y="600"/>
                  </a:lnTo>
                  <a:lnTo>
                    <a:pt x="144" y="602"/>
                  </a:lnTo>
                  <a:lnTo>
                    <a:pt x="140" y="602"/>
                  </a:lnTo>
                  <a:lnTo>
                    <a:pt x="134" y="602"/>
                  </a:lnTo>
                  <a:lnTo>
                    <a:pt x="128" y="602"/>
                  </a:lnTo>
                  <a:lnTo>
                    <a:pt x="116" y="602"/>
                  </a:lnTo>
                  <a:lnTo>
                    <a:pt x="110" y="604"/>
                  </a:lnTo>
                  <a:lnTo>
                    <a:pt x="106" y="604"/>
                  </a:lnTo>
                  <a:lnTo>
                    <a:pt x="100" y="606"/>
                  </a:lnTo>
                  <a:lnTo>
                    <a:pt x="96" y="608"/>
                  </a:lnTo>
                  <a:lnTo>
                    <a:pt x="94" y="608"/>
                  </a:lnTo>
                  <a:lnTo>
                    <a:pt x="90" y="610"/>
                  </a:lnTo>
                  <a:lnTo>
                    <a:pt x="88" y="612"/>
                  </a:lnTo>
                  <a:lnTo>
                    <a:pt x="86" y="612"/>
                  </a:lnTo>
                  <a:lnTo>
                    <a:pt x="76" y="616"/>
                  </a:lnTo>
                  <a:lnTo>
                    <a:pt x="72" y="616"/>
                  </a:lnTo>
                  <a:lnTo>
                    <a:pt x="66" y="616"/>
                  </a:lnTo>
                  <a:lnTo>
                    <a:pt x="60" y="616"/>
                  </a:lnTo>
                  <a:lnTo>
                    <a:pt x="54" y="616"/>
                  </a:lnTo>
                  <a:lnTo>
                    <a:pt x="46" y="614"/>
                  </a:lnTo>
                  <a:lnTo>
                    <a:pt x="40" y="614"/>
                  </a:lnTo>
                  <a:lnTo>
                    <a:pt x="32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2" y="618"/>
                  </a:lnTo>
                  <a:lnTo>
                    <a:pt x="16" y="620"/>
                  </a:lnTo>
                  <a:lnTo>
                    <a:pt x="12" y="622"/>
                  </a:lnTo>
                  <a:lnTo>
                    <a:pt x="8" y="624"/>
                  </a:lnTo>
                  <a:lnTo>
                    <a:pt x="4" y="628"/>
                  </a:lnTo>
                  <a:lnTo>
                    <a:pt x="2" y="630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4"/>
                  </a:lnTo>
                  <a:lnTo>
                    <a:pt x="0" y="634"/>
                  </a:lnTo>
                  <a:lnTo>
                    <a:pt x="0" y="636"/>
                  </a:lnTo>
                  <a:lnTo>
                    <a:pt x="0" y="636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4" y="638"/>
                  </a:lnTo>
                  <a:lnTo>
                    <a:pt x="6" y="636"/>
                  </a:lnTo>
                  <a:lnTo>
                    <a:pt x="10" y="636"/>
                  </a:lnTo>
                  <a:lnTo>
                    <a:pt x="14" y="634"/>
                  </a:lnTo>
                  <a:lnTo>
                    <a:pt x="18" y="632"/>
                  </a:lnTo>
                  <a:lnTo>
                    <a:pt x="24" y="632"/>
                  </a:lnTo>
                  <a:lnTo>
                    <a:pt x="28" y="630"/>
                  </a:lnTo>
                  <a:lnTo>
                    <a:pt x="32" y="630"/>
                  </a:lnTo>
                  <a:lnTo>
                    <a:pt x="40" y="628"/>
                  </a:lnTo>
                  <a:lnTo>
                    <a:pt x="48" y="626"/>
                  </a:lnTo>
                  <a:lnTo>
                    <a:pt x="58" y="626"/>
                  </a:lnTo>
                  <a:lnTo>
                    <a:pt x="66" y="624"/>
                  </a:lnTo>
                  <a:lnTo>
                    <a:pt x="72" y="622"/>
                  </a:lnTo>
                  <a:lnTo>
                    <a:pt x="78" y="622"/>
                  </a:lnTo>
                  <a:lnTo>
                    <a:pt x="84" y="620"/>
                  </a:lnTo>
                  <a:lnTo>
                    <a:pt x="88" y="620"/>
                  </a:lnTo>
                  <a:lnTo>
                    <a:pt x="90" y="618"/>
                  </a:lnTo>
                  <a:lnTo>
                    <a:pt x="100" y="616"/>
                  </a:lnTo>
                  <a:lnTo>
                    <a:pt x="110" y="614"/>
                  </a:lnTo>
                  <a:lnTo>
                    <a:pt x="116" y="614"/>
                  </a:lnTo>
                  <a:lnTo>
                    <a:pt x="122" y="612"/>
                  </a:lnTo>
                  <a:lnTo>
                    <a:pt x="134" y="612"/>
                  </a:lnTo>
                  <a:lnTo>
                    <a:pt x="140" y="612"/>
                  </a:lnTo>
                  <a:lnTo>
                    <a:pt x="146" y="612"/>
                  </a:lnTo>
                  <a:lnTo>
                    <a:pt x="152" y="612"/>
                  </a:lnTo>
                  <a:lnTo>
                    <a:pt x="156" y="612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4" y="610"/>
                  </a:lnTo>
                  <a:lnTo>
                    <a:pt x="164" y="610"/>
                  </a:lnTo>
                  <a:lnTo>
                    <a:pt x="164" y="608"/>
                  </a:lnTo>
                  <a:lnTo>
                    <a:pt x="168" y="608"/>
                  </a:lnTo>
                  <a:lnTo>
                    <a:pt x="170" y="606"/>
                  </a:lnTo>
                  <a:lnTo>
                    <a:pt x="174" y="602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8" y="600"/>
                  </a:lnTo>
                  <a:lnTo>
                    <a:pt x="180" y="600"/>
                  </a:lnTo>
                  <a:lnTo>
                    <a:pt x="182" y="600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8" y="602"/>
                  </a:lnTo>
                  <a:lnTo>
                    <a:pt x="188" y="602"/>
                  </a:lnTo>
                  <a:lnTo>
                    <a:pt x="190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6" y="594"/>
                  </a:lnTo>
                  <a:lnTo>
                    <a:pt x="198" y="590"/>
                  </a:lnTo>
                  <a:lnTo>
                    <a:pt x="200" y="586"/>
                  </a:lnTo>
                  <a:lnTo>
                    <a:pt x="204" y="582"/>
                  </a:lnTo>
                  <a:lnTo>
                    <a:pt x="206" y="578"/>
                  </a:lnTo>
                  <a:lnTo>
                    <a:pt x="210" y="574"/>
                  </a:lnTo>
                  <a:lnTo>
                    <a:pt x="216" y="570"/>
                  </a:lnTo>
                  <a:lnTo>
                    <a:pt x="218" y="568"/>
                  </a:lnTo>
                  <a:lnTo>
                    <a:pt x="222" y="566"/>
                  </a:lnTo>
                  <a:lnTo>
                    <a:pt x="230" y="562"/>
                  </a:lnTo>
                  <a:lnTo>
                    <a:pt x="238" y="558"/>
                  </a:lnTo>
                  <a:lnTo>
                    <a:pt x="248" y="554"/>
                  </a:lnTo>
                  <a:lnTo>
                    <a:pt x="258" y="548"/>
                  </a:lnTo>
                  <a:lnTo>
                    <a:pt x="268" y="544"/>
                  </a:lnTo>
                  <a:lnTo>
                    <a:pt x="278" y="540"/>
                  </a:lnTo>
                  <a:lnTo>
                    <a:pt x="286" y="534"/>
                  </a:lnTo>
                  <a:lnTo>
                    <a:pt x="302" y="526"/>
                  </a:lnTo>
                  <a:lnTo>
                    <a:pt x="316" y="518"/>
                  </a:lnTo>
                  <a:lnTo>
                    <a:pt x="330" y="510"/>
                  </a:lnTo>
                  <a:lnTo>
                    <a:pt x="338" y="504"/>
                  </a:lnTo>
                  <a:lnTo>
                    <a:pt x="344" y="500"/>
                  </a:lnTo>
                  <a:lnTo>
                    <a:pt x="350" y="494"/>
                  </a:lnTo>
                  <a:lnTo>
                    <a:pt x="356" y="486"/>
                  </a:lnTo>
                  <a:lnTo>
                    <a:pt x="362" y="478"/>
                  </a:lnTo>
                  <a:lnTo>
                    <a:pt x="368" y="472"/>
                  </a:lnTo>
                  <a:lnTo>
                    <a:pt x="374" y="464"/>
                  </a:lnTo>
                  <a:lnTo>
                    <a:pt x="378" y="458"/>
                  </a:lnTo>
                  <a:lnTo>
                    <a:pt x="382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0"/>
                  </a:lnTo>
                  <a:lnTo>
                    <a:pt x="384" y="440"/>
                  </a:lnTo>
                  <a:lnTo>
                    <a:pt x="384" y="440"/>
                  </a:lnTo>
                  <a:lnTo>
                    <a:pt x="390" y="440"/>
                  </a:lnTo>
                  <a:lnTo>
                    <a:pt x="396" y="440"/>
                  </a:lnTo>
                  <a:lnTo>
                    <a:pt x="398" y="440"/>
                  </a:lnTo>
                  <a:lnTo>
                    <a:pt x="400" y="440"/>
                  </a:lnTo>
                  <a:lnTo>
                    <a:pt x="402" y="440"/>
                  </a:lnTo>
                  <a:lnTo>
                    <a:pt x="404" y="440"/>
                  </a:lnTo>
                  <a:lnTo>
                    <a:pt x="404" y="440"/>
                  </a:lnTo>
                  <a:lnTo>
                    <a:pt x="402" y="442"/>
                  </a:lnTo>
                  <a:lnTo>
                    <a:pt x="400" y="444"/>
                  </a:lnTo>
                  <a:lnTo>
                    <a:pt x="398" y="446"/>
                  </a:lnTo>
                  <a:lnTo>
                    <a:pt x="396" y="450"/>
                  </a:lnTo>
                  <a:lnTo>
                    <a:pt x="394" y="452"/>
                  </a:lnTo>
                  <a:lnTo>
                    <a:pt x="388" y="458"/>
                  </a:lnTo>
                  <a:lnTo>
                    <a:pt x="380" y="464"/>
                  </a:lnTo>
                  <a:lnTo>
                    <a:pt x="378" y="468"/>
                  </a:lnTo>
                  <a:lnTo>
                    <a:pt x="376" y="470"/>
                  </a:lnTo>
                  <a:lnTo>
                    <a:pt x="374" y="472"/>
                  </a:lnTo>
                  <a:lnTo>
                    <a:pt x="372" y="474"/>
                  </a:lnTo>
                  <a:lnTo>
                    <a:pt x="370" y="474"/>
                  </a:lnTo>
                  <a:lnTo>
                    <a:pt x="370" y="474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8"/>
                  </a:lnTo>
                  <a:lnTo>
                    <a:pt x="370" y="478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0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80" y="476"/>
                  </a:lnTo>
                  <a:lnTo>
                    <a:pt x="382" y="474"/>
                  </a:lnTo>
                  <a:lnTo>
                    <a:pt x="388" y="470"/>
                  </a:lnTo>
                  <a:lnTo>
                    <a:pt x="394" y="464"/>
                  </a:lnTo>
                  <a:lnTo>
                    <a:pt x="400" y="460"/>
                  </a:lnTo>
                  <a:lnTo>
                    <a:pt x="406" y="456"/>
                  </a:lnTo>
                  <a:lnTo>
                    <a:pt x="408" y="454"/>
                  </a:lnTo>
                  <a:lnTo>
                    <a:pt x="410" y="452"/>
                  </a:lnTo>
                  <a:lnTo>
                    <a:pt x="418" y="446"/>
                  </a:lnTo>
                  <a:lnTo>
                    <a:pt x="424" y="442"/>
                  </a:lnTo>
                  <a:lnTo>
                    <a:pt x="430" y="438"/>
                  </a:lnTo>
                  <a:lnTo>
                    <a:pt x="436" y="432"/>
                  </a:lnTo>
                  <a:lnTo>
                    <a:pt x="442" y="428"/>
                  </a:lnTo>
                  <a:lnTo>
                    <a:pt x="448" y="424"/>
                  </a:lnTo>
                  <a:lnTo>
                    <a:pt x="454" y="422"/>
                  </a:lnTo>
                  <a:lnTo>
                    <a:pt x="456" y="420"/>
                  </a:lnTo>
                  <a:lnTo>
                    <a:pt x="456" y="420"/>
                  </a:lnTo>
                  <a:lnTo>
                    <a:pt x="458" y="420"/>
                  </a:lnTo>
                  <a:lnTo>
                    <a:pt x="458" y="420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2" y="422"/>
                  </a:lnTo>
                  <a:lnTo>
                    <a:pt x="462" y="422"/>
                  </a:lnTo>
                  <a:lnTo>
                    <a:pt x="462" y="424"/>
                  </a:lnTo>
                  <a:lnTo>
                    <a:pt x="464" y="424"/>
                  </a:lnTo>
                  <a:lnTo>
                    <a:pt x="464" y="424"/>
                  </a:lnTo>
                  <a:lnTo>
                    <a:pt x="468" y="424"/>
                  </a:lnTo>
                  <a:lnTo>
                    <a:pt x="472" y="424"/>
                  </a:lnTo>
                  <a:lnTo>
                    <a:pt x="474" y="422"/>
                  </a:lnTo>
                  <a:lnTo>
                    <a:pt x="474" y="422"/>
                  </a:lnTo>
                  <a:lnTo>
                    <a:pt x="476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80" y="420"/>
                  </a:lnTo>
                  <a:lnTo>
                    <a:pt x="482" y="420"/>
                  </a:lnTo>
                  <a:lnTo>
                    <a:pt x="484" y="418"/>
                  </a:lnTo>
                  <a:lnTo>
                    <a:pt x="488" y="414"/>
                  </a:lnTo>
                  <a:lnTo>
                    <a:pt x="492" y="410"/>
                  </a:lnTo>
                  <a:lnTo>
                    <a:pt x="492" y="408"/>
                  </a:lnTo>
                  <a:lnTo>
                    <a:pt x="494" y="406"/>
                  </a:lnTo>
                  <a:lnTo>
                    <a:pt x="494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8" y="406"/>
                  </a:lnTo>
                  <a:lnTo>
                    <a:pt x="500" y="404"/>
                  </a:lnTo>
                  <a:lnTo>
                    <a:pt x="502" y="404"/>
                  </a:lnTo>
                  <a:lnTo>
                    <a:pt x="506" y="402"/>
                  </a:lnTo>
                  <a:lnTo>
                    <a:pt x="510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4"/>
                  </a:lnTo>
                  <a:lnTo>
                    <a:pt x="510" y="408"/>
                  </a:lnTo>
                  <a:lnTo>
                    <a:pt x="510" y="410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2" y="420"/>
                  </a:lnTo>
                  <a:lnTo>
                    <a:pt x="512" y="420"/>
                  </a:lnTo>
                  <a:lnTo>
                    <a:pt x="514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8" y="422"/>
                  </a:lnTo>
                  <a:lnTo>
                    <a:pt x="520" y="422"/>
                  </a:lnTo>
                  <a:lnTo>
                    <a:pt x="522" y="422"/>
                  </a:lnTo>
                  <a:lnTo>
                    <a:pt x="526" y="420"/>
                  </a:lnTo>
                  <a:lnTo>
                    <a:pt x="532" y="418"/>
                  </a:lnTo>
                  <a:lnTo>
                    <a:pt x="536" y="418"/>
                  </a:lnTo>
                  <a:lnTo>
                    <a:pt x="538" y="418"/>
                  </a:lnTo>
                  <a:lnTo>
                    <a:pt x="540" y="418"/>
                  </a:lnTo>
                  <a:lnTo>
                    <a:pt x="542" y="418"/>
                  </a:lnTo>
                  <a:lnTo>
                    <a:pt x="546" y="420"/>
                  </a:lnTo>
                  <a:lnTo>
                    <a:pt x="548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4" y="424"/>
                  </a:lnTo>
                  <a:lnTo>
                    <a:pt x="554" y="424"/>
                  </a:lnTo>
                  <a:lnTo>
                    <a:pt x="556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4"/>
                  </a:lnTo>
                  <a:lnTo>
                    <a:pt x="560" y="426"/>
                  </a:lnTo>
                  <a:lnTo>
                    <a:pt x="560" y="428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4"/>
                  </a:lnTo>
                  <a:lnTo>
                    <a:pt x="564" y="436"/>
                  </a:lnTo>
                  <a:lnTo>
                    <a:pt x="568" y="438"/>
                  </a:lnTo>
                  <a:lnTo>
                    <a:pt x="576" y="444"/>
                  </a:lnTo>
                  <a:lnTo>
                    <a:pt x="578" y="448"/>
                  </a:lnTo>
                  <a:lnTo>
                    <a:pt x="582" y="452"/>
                  </a:lnTo>
                  <a:lnTo>
                    <a:pt x="584" y="456"/>
                  </a:lnTo>
                  <a:lnTo>
                    <a:pt x="586" y="458"/>
                  </a:lnTo>
                  <a:lnTo>
                    <a:pt x="586" y="458"/>
                  </a:lnTo>
                  <a:lnTo>
                    <a:pt x="588" y="460"/>
                  </a:lnTo>
                  <a:lnTo>
                    <a:pt x="590" y="462"/>
                  </a:lnTo>
                  <a:lnTo>
                    <a:pt x="590" y="462"/>
                  </a:lnTo>
                  <a:lnTo>
                    <a:pt x="592" y="464"/>
                  </a:lnTo>
                  <a:lnTo>
                    <a:pt x="594" y="466"/>
                  </a:lnTo>
                  <a:lnTo>
                    <a:pt x="594" y="466"/>
                  </a:lnTo>
                  <a:lnTo>
                    <a:pt x="598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598" y="468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4"/>
                  </a:lnTo>
                  <a:lnTo>
                    <a:pt x="600" y="478"/>
                  </a:lnTo>
                  <a:lnTo>
                    <a:pt x="600" y="478"/>
                  </a:lnTo>
                  <a:lnTo>
                    <a:pt x="602" y="478"/>
                  </a:lnTo>
                  <a:lnTo>
                    <a:pt x="602" y="480"/>
                  </a:lnTo>
                  <a:lnTo>
                    <a:pt x="604" y="482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10" y="490"/>
                  </a:lnTo>
                  <a:lnTo>
                    <a:pt x="612" y="494"/>
                  </a:lnTo>
                  <a:lnTo>
                    <a:pt x="614" y="498"/>
                  </a:lnTo>
                  <a:lnTo>
                    <a:pt x="614" y="502"/>
                  </a:lnTo>
                  <a:lnTo>
                    <a:pt x="614" y="502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6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10"/>
                  </a:lnTo>
                  <a:lnTo>
                    <a:pt x="618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6"/>
                  </a:lnTo>
                  <a:lnTo>
                    <a:pt x="628" y="504"/>
                  </a:lnTo>
                  <a:lnTo>
                    <a:pt x="628" y="504"/>
                  </a:lnTo>
                  <a:lnTo>
                    <a:pt x="628" y="502"/>
                  </a:lnTo>
                  <a:lnTo>
                    <a:pt x="628" y="500"/>
                  </a:lnTo>
                  <a:lnTo>
                    <a:pt x="628" y="500"/>
                  </a:lnTo>
                  <a:lnTo>
                    <a:pt x="628" y="498"/>
                  </a:lnTo>
                  <a:lnTo>
                    <a:pt x="626" y="496"/>
                  </a:lnTo>
                  <a:lnTo>
                    <a:pt x="626" y="494"/>
                  </a:lnTo>
                  <a:lnTo>
                    <a:pt x="624" y="492"/>
                  </a:lnTo>
                  <a:lnTo>
                    <a:pt x="624" y="490"/>
                  </a:lnTo>
                  <a:lnTo>
                    <a:pt x="626" y="490"/>
                  </a:lnTo>
                  <a:lnTo>
                    <a:pt x="626" y="490"/>
                  </a:lnTo>
                  <a:lnTo>
                    <a:pt x="628" y="490"/>
                  </a:lnTo>
                  <a:lnTo>
                    <a:pt x="630" y="490"/>
                  </a:lnTo>
                  <a:lnTo>
                    <a:pt x="630" y="490"/>
                  </a:lnTo>
                  <a:lnTo>
                    <a:pt x="630" y="488"/>
                  </a:lnTo>
                  <a:lnTo>
                    <a:pt x="632" y="486"/>
                  </a:lnTo>
                  <a:lnTo>
                    <a:pt x="632" y="486"/>
                  </a:lnTo>
                  <a:lnTo>
                    <a:pt x="632" y="484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0"/>
                  </a:lnTo>
                  <a:lnTo>
                    <a:pt x="630" y="478"/>
                  </a:lnTo>
                  <a:lnTo>
                    <a:pt x="630" y="474"/>
                  </a:lnTo>
                  <a:lnTo>
                    <a:pt x="630" y="472"/>
                  </a:lnTo>
                  <a:lnTo>
                    <a:pt x="630" y="470"/>
                  </a:lnTo>
                  <a:lnTo>
                    <a:pt x="630" y="472"/>
                  </a:lnTo>
                  <a:lnTo>
                    <a:pt x="632" y="472"/>
                  </a:lnTo>
                  <a:lnTo>
                    <a:pt x="634" y="476"/>
                  </a:lnTo>
                  <a:lnTo>
                    <a:pt x="634" y="482"/>
                  </a:lnTo>
                  <a:lnTo>
                    <a:pt x="636" y="488"/>
                  </a:lnTo>
                  <a:lnTo>
                    <a:pt x="636" y="488"/>
                  </a:lnTo>
                  <a:lnTo>
                    <a:pt x="638" y="490"/>
                  </a:lnTo>
                  <a:lnTo>
                    <a:pt x="640" y="490"/>
                  </a:lnTo>
                  <a:lnTo>
                    <a:pt x="644" y="492"/>
                  </a:lnTo>
                  <a:lnTo>
                    <a:pt x="644" y="494"/>
                  </a:lnTo>
                  <a:lnTo>
                    <a:pt x="644" y="494"/>
                  </a:lnTo>
                  <a:lnTo>
                    <a:pt x="644" y="492"/>
                  </a:lnTo>
                  <a:lnTo>
                    <a:pt x="640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500"/>
                  </a:lnTo>
                  <a:lnTo>
                    <a:pt x="630" y="504"/>
                  </a:lnTo>
                  <a:lnTo>
                    <a:pt x="630" y="504"/>
                  </a:lnTo>
                  <a:lnTo>
                    <a:pt x="632" y="506"/>
                  </a:lnTo>
                  <a:lnTo>
                    <a:pt x="632" y="506"/>
                  </a:lnTo>
                  <a:lnTo>
                    <a:pt x="634" y="506"/>
                  </a:lnTo>
                  <a:lnTo>
                    <a:pt x="634" y="508"/>
                  </a:lnTo>
                  <a:lnTo>
                    <a:pt x="636" y="508"/>
                  </a:lnTo>
                  <a:lnTo>
                    <a:pt x="640" y="508"/>
                  </a:lnTo>
                  <a:lnTo>
                    <a:pt x="642" y="510"/>
                  </a:lnTo>
                  <a:lnTo>
                    <a:pt x="642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6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2" y="512"/>
                  </a:lnTo>
                  <a:lnTo>
                    <a:pt x="642" y="512"/>
                  </a:lnTo>
                  <a:lnTo>
                    <a:pt x="640" y="514"/>
                  </a:lnTo>
                  <a:lnTo>
                    <a:pt x="640" y="518"/>
                  </a:lnTo>
                  <a:lnTo>
                    <a:pt x="640" y="520"/>
                  </a:lnTo>
                  <a:lnTo>
                    <a:pt x="640" y="522"/>
                  </a:lnTo>
                  <a:lnTo>
                    <a:pt x="640" y="524"/>
                  </a:lnTo>
                  <a:lnTo>
                    <a:pt x="640" y="528"/>
                  </a:lnTo>
                  <a:lnTo>
                    <a:pt x="640" y="530"/>
                  </a:lnTo>
                  <a:lnTo>
                    <a:pt x="640" y="530"/>
                  </a:lnTo>
                  <a:lnTo>
                    <a:pt x="640" y="532"/>
                  </a:lnTo>
                  <a:lnTo>
                    <a:pt x="640" y="534"/>
                  </a:lnTo>
                  <a:lnTo>
                    <a:pt x="640" y="536"/>
                  </a:lnTo>
                  <a:lnTo>
                    <a:pt x="640" y="538"/>
                  </a:lnTo>
                  <a:lnTo>
                    <a:pt x="642" y="540"/>
                  </a:lnTo>
                  <a:lnTo>
                    <a:pt x="642" y="540"/>
                  </a:lnTo>
                  <a:lnTo>
                    <a:pt x="642" y="542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50" y="548"/>
                  </a:lnTo>
                  <a:lnTo>
                    <a:pt x="650" y="548"/>
                  </a:lnTo>
                  <a:lnTo>
                    <a:pt x="652" y="548"/>
                  </a:lnTo>
                  <a:lnTo>
                    <a:pt x="654" y="546"/>
                  </a:lnTo>
                  <a:lnTo>
                    <a:pt x="656" y="546"/>
                  </a:lnTo>
                  <a:lnTo>
                    <a:pt x="656" y="546"/>
                  </a:lnTo>
                  <a:lnTo>
                    <a:pt x="658" y="544"/>
                  </a:lnTo>
                  <a:lnTo>
                    <a:pt x="662" y="542"/>
                  </a:lnTo>
                  <a:lnTo>
                    <a:pt x="664" y="542"/>
                  </a:lnTo>
                  <a:lnTo>
                    <a:pt x="666" y="540"/>
                  </a:lnTo>
                  <a:lnTo>
                    <a:pt x="668" y="540"/>
                  </a:lnTo>
                  <a:lnTo>
                    <a:pt x="668" y="540"/>
                  </a:lnTo>
                  <a:lnTo>
                    <a:pt x="670" y="542"/>
                  </a:lnTo>
                  <a:lnTo>
                    <a:pt x="672" y="542"/>
                  </a:lnTo>
                  <a:lnTo>
                    <a:pt x="672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6" y="542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80" y="546"/>
                  </a:lnTo>
                  <a:lnTo>
                    <a:pt x="680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4" y="544"/>
                  </a:lnTo>
                  <a:lnTo>
                    <a:pt x="686" y="544"/>
                  </a:lnTo>
                  <a:lnTo>
                    <a:pt x="686" y="544"/>
                  </a:lnTo>
                  <a:lnTo>
                    <a:pt x="686" y="542"/>
                  </a:lnTo>
                  <a:lnTo>
                    <a:pt x="686" y="540"/>
                  </a:lnTo>
                  <a:lnTo>
                    <a:pt x="688" y="538"/>
                  </a:lnTo>
                  <a:lnTo>
                    <a:pt x="688" y="534"/>
                  </a:lnTo>
                  <a:lnTo>
                    <a:pt x="688" y="530"/>
                  </a:lnTo>
                  <a:lnTo>
                    <a:pt x="688" y="524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close/>
                  <a:moveTo>
                    <a:pt x="294" y="54"/>
                  </a:moveTo>
                  <a:lnTo>
                    <a:pt x="294" y="54"/>
                  </a:lnTo>
                  <a:lnTo>
                    <a:pt x="294" y="54"/>
                  </a:lnTo>
                  <a:lnTo>
                    <a:pt x="294" y="54"/>
                  </a:lnTo>
                  <a:close/>
                  <a:moveTo>
                    <a:pt x="606" y="460"/>
                  </a:move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0"/>
                  </a:lnTo>
                  <a:lnTo>
                    <a:pt x="604" y="458"/>
                  </a:lnTo>
                  <a:lnTo>
                    <a:pt x="604" y="458"/>
                  </a:lnTo>
                  <a:lnTo>
                    <a:pt x="606" y="458"/>
                  </a:lnTo>
                  <a:lnTo>
                    <a:pt x="608" y="460"/>
                  </a:lnTo>
                  <a:lnTo>
                    <a:pt x="606" y="460"/>
                  </a:lnTo>
                  <a:close/>
                  <a:moveTo>
                    <a:pt x="654" y="516"/>
                  </a:moveTo>
                  <a:lnTo>
                    <a:pt x="654" y="516"/>
                  </a:lnTo>
                  <a:lnTo>
                    <a:pt x="652" y="516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2" y="514"/>
                  </a:lnTo>
                  <a:lnTo>
                    <a:pt x="654" y="516"/>
                  </a:lnTo>
                  <a:lnTo>
                    <a:pt x="654" y="516"/>
                  </a:lnTo>
                  <a:lnTo>
                    <a:pt x="654" y="516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3" name="Freeform 24"/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2631498" y="4833319"/>
              <a:ext cx="434861" cy="1027517"/>
            </a:xfrm>
            <a:custGeom>
              <a:avLst/>
              <a:gdLst/>
              <a:ahLst/>
              <a:cxnLst/>
              <a:rect l="l" t="t" r="r" b="b"/>
              <a:pathLst>
                <a:path w="426179" h="1007062">
                  <a:moveTo>
                    <a:pt x="295614" y="854662"/>
                  </a:moveTo>
                  <a:cubicBezTo>
                    <a:pt x="328952" y="856209"/>
                    <a:pt x="348002" y="856209"/>
                    <a:pt x="376577" y="862396"/>
                  </a:cubicBezTo>
                  <a:cubicBezTo>
                    <a:pt x="371815" y="876317"/>
                    <a:pt x="363877" y="879411"/>
                    <a:pt x="349590" y="882505"/>
                  </a:cubicBezTo>
                  <a:cubicBezTo>
                    <a:pt x="341652" y="896426"/>
                    <a:pt x="336890" y="897973"/>
                    <a:pt x="321014" y="901066"/>
                  </a:cubicBezTo>
                  <a:cubicBezTo>
                    <a:pt x="303552" y="914987"/>
                    <a:pt x="297202" y="897973"/>
                    <a:pt x="278152" y="894879"/>
                  </a:cubicBezTo>
                  <a:cubicBezTo>
                    <a:pt x="270214" y="882505"/>
                    <a:pt x="274977" y="874771"/>
                    <a:pt x="287677" y="868583"/>
                  </a:cubicBezTo>
                  <a:cubicBezTo>
                    <a:pt x="294027" y="860849"/>
                    <a:pt x="290852" y="865490"/>
                    <a:pt x="295614" y="854662"/>
                  </a:cubicBezTo>
                  <a:close/>
                  <a:moveTo>
                    <a:pt x="167429" y="363"/>
                  </a:moveTo>
                  <a:cubicBezTo>
                    <a:pt x="170608" y="1534"/>
                    <a:pt x="180528" y="5044"/>
                    <a:pt x="225759" y="3518"/>
                  </a:cubicBezTo>
                  <a:cubicBezTo>
                    <a:pt x="233704" y="8199"/>
                    <a:pt x="252747" y="9725"/>
                    <a:pt x="259094" y="17561"/>
                  </a:cubicBezTo>
                  <a:cubicBezTo>
                    <a:pt x="274984" y="23768"/>
                    <a:pt x="306722" y="40863"/>
                    <a:pt x="314667" y="53380"/>
                  </a:cubicBezTo>
                  <a:cubicBezTo>
                    <a:pt x="333709" y="67422"/>
                    <a:pt x="349599" y="78310"/>
                    <a:pt x="363892" y="97034"/>
                  </a:cubicBezTo>
                  <a:cubicBezTo>
                    <a:pt x="362294" y="106396"/>
                    <a:pt x="359099" y="110975"/>
                    <a:pt x="354349" y="118810"/>
                  </a:cubicBezTo>
                  <a:cubicBezTo>
                    <a:pt x="359099" y="126646"/>
                    <a:pt x="362294" y="129699"/>
                    <a:pt x="371794" y="132853"/>
                  </a:cubicBezTo>
                  <a:cubicBezTo>
                    <a:pt x="386086" y="134380"/>
                    <a:pt x="408324" y="140587"/>
                    <a:pt x="421019" y="134380"/>
                  </a:cubicBezTo>
                  <a:cubicBezTo>
                    <a:pt x="428964" y="137534"/>
                    <a:pt x="425769" y="145268"/>
                    <a:pt x="424214" y="151577"/>
                  </a:cubicBezTo>
                  <a:cubicBezTo>
                    <a:pt x="414671" y="156258"/>
                    <a:pt x="411519" y="160939"/>
                    <a:pt x="406726" y="170199"/>
                  </a:cubicBezTo>
                  <a:cubicBezTo>
                    <a:pt x="398781" y="176508"/>
                    <a:pt x="395629" y="181189"/>
                    <a:pt x="390879" y="188922"/>
                  </a:cubicBezTo>
                  <a:cubicBezTo>
                    <a:pt x="381336" y="196758"/>
                    <a:pt x="374989" y="206119"/>
                    <a:pt x="368642" y="217008"/>
                  </a:cubicBezTo>
                  <a:cubicBezTo>
                    <a:pt x="344806" y="234103"/>
                    <a:pt x="354349" y="287119"/>
                    <a:pt x="354349" y="302688"/>
                  </a:cubicBezTo>
                  <a:cubicBezTo>
                    <a:pt x="357544" y="316731"/>
                    <a:pt x="360696" y="327619"/>
                    <a:pt x="367044" y="340136"/>
                  </a:cubicBezTo>
                  <a:cubicBezTo>
                    <a:pt x="387684" y="355705"/>
                    <a:pt x="382934" y="358757"/>
                    <a:pt x="387684" y="386843"/>
                  </a:cubicBezTo>
                  <a:cubicBezTo>
                    <a:pt x="386086" y="397731"/>
                    <a:pt x="378184" y="397731"/>
                    <a:pt x="376587" y="408619"/>
                  </a:cubicBezTo>
                  <a:cubicBezTo>
                    <a:pt x="367044" y="427343"/>
                    <a:pt x="352751" y="446066"/>
                    <a:pt x="333709" y="455428"/>
                  </a:cubicBezTo>
                  <a:cubicBezTo>
                    <a:pt x="325764" y="456955"/>
                    <a:pt x="270234" y="469471"/>
                    <a:pt x="268637" y="470997"/>
                  </a:cubicBezTo>
                  <a:cubicBezTo>
                    <a:pt x="257496" y="478833"/>
                    <a:pt x="260692" y="494402"/>
                    <a:pt x="257496" y="506816"/>
                  </a:cubicBezTo>
                  <a:cubicBezTo>
                    <a:pt x="246399" y="508445"/>
                    <a:pt x="244801" y="513024"/>
                    <a:pt x="240052" y="522385"/>
                  </a:cubicBezTo>
                  <a:cubicBezTo>
                    <a:pt x="190827" y="525540"/>
                    <a:pt x="190827" y="519333"/>
                    <a:pt x="197174" y="553625"/>
                  </a:cubicBezTo>
                  <a:cubicBezTo>
                    <a:pt x="217814" y="555152"/>
                    <a:pt x="228954" y="559833"/>
                    <a:pt x="224161" y="581609"/>
                  </a:cubicBezTo>
                  <a:cubicBezTo>
                    <a:pt x="198772" y="583237"/>
                    <a:pt x="187674" y="580083"/>
                    <a:pt x="192424" y="606540"/>
                  </a:cubicBezTo>
                  <a:cubicBezTo>
                    <a:pt x="190827" y="617530"/>
                    <a:pt x="187674" y="623737"/>
                    <a:pt x="182881" y="633099"/>
                  </a:cubicBezTo>
                  <a:cubicBezTo>
                    <a:pt x="171784" y="640833"/>
                    <a:pt x="173382" y="650194"/>
                    <a:pt x="168632" y="661083"/>
                  </a:cubicBezTo>
                  <a:cubicBezTo>
                    <a:pt x="136852" y="662711"/>
                    <a:pt x="136852" y="658030"/>
                    <a:pt x="133700" y="686013"/>
                  </a:cubicBezTo>
                  <a:cubicBezTo>
                    <a:pt x="140047" y="695375"/>
                    <a:pt x="144797" y="706263"/>
                    <a:pt x="154340" y="712572"/>
                  </a:cubicBezTo>
                  <a:cubicBezTo>
                    <a:pt x="173382" y="715625"/>
                    <a:pt x="171784" y="723461"/>
                    <a:pt x="176534" y="740556"/>
                  </a:cubicBezTo>
                  <a:cubicBezTo>
                    <a:pt x="171784" y="746865"/>
                    <a:pt x="170187" y="754599"/>
                    <a:pt x="163839" y="760806"/>
                  </a:cubicBezTo>
                  <a:cubicBezTo>
                    <a:pt x="149547" y="774849"/>
                    <a:pt x="138449" y="776477"/>
                    <a:pt x="133700" y="796727"/>
                  </a:cubicBezTo>
                  <a:cubicBezTo>
                    <a:pt x="140047" y="806089"/>
                    <a:pt x="141645" y="810668"/>
                    <a:pt x="135297" y="820030"/>
                  </a:cubicBezTo>
                  <a:cubicBezTo>
                    <a:pt x="100365" y="821658"/>
                    <a:pt x="105114" y="823184"/>
                    <a:pt x="101919" y="859003"/>
                  </a:cubicBezTo>
                  <a:cubicBezTo>
                    <a:pt x="105114" y="866839"/>
                    <a:pt x="109864" y="871520"/>
                    <a:pt x="111462" y="880881"/>
                  </a:cubicBezTo>
                  <a:cubicBezTo>
                    <a:pt x="124157" y="897977"/>
                    <a:pt x="119407" y="910493"/>
                    <a:pt x="121005" y="933796"/>
                  </a:cubicBezTo>
                  <a:cubicBezTo>
                    <a:pt x="130504" y="936950"/>
                    <a:pt x="133700" y="940105"/>
                    <a:pt x="138449" y="947839"/>
                  </a:cubicBezTo>
                  <a:cubicBezTo>
                    <a:pt x="151144" y="957200"/>
                    <a:pt x="155894" y="971243"/>
                    <a:pt x="163839" y="983658"/>
                  </a:cubicBezTo>
                  <a:cubicBezTo>
                    <a:pt x="171784" y="988339"/>
                    <a:pt x="189272" y="999227"/>
                    <a:pt x="197174" y="1002381"/>
                  </a:cubicBezTo>
                  <a:lnTo>
                    <a:pt x="187674" y="1007062"/>
                  </a:lnTo>
                  <a:cubicBezTo>
                    <a:pt x="190827" y="986812"/>
                    <a:pt x="130504" y="991493"/>
                    <a:pt x="116212" y="988339"/>
                  </a:cubicBezTo>
                  <a:cubicBezTo>
                    <a:pt x="109065" y="986812"/>
                    <a:pt x="107090" y="987982"/>
                    <a:pt x="106102" y="988567"/>
                  </a:cubicBezTo>
                  <a:lnTo>
                    <a:pt x="101919" y="985286"/>
                  </a:lnTo>
                  <a:cubicBezTo>
                    <a:pt x="95572" y="977450"/>
                    <a:pt x="84474" y="955674"/>
                    <a:pt x="76529" y="943158"/>
                  </a:cubicBezTo>
                  <a:cubicBezTo>
                    <a:pt x="68584" y="930743"/>
                    <a:pt x="57487" y="921381"/>
                    <a:pt x="49542" y="913546"/>
                  </a:cubicBezTo>
                  <a:cubicBezTo>
                    <a:pt x="41597" y="905812"/>
                    <a:pt x="25750" y="904184"/>
                    <a:pt x="24152" y="894822"/>
                  </a:cubicBezTo>
                  <a:cubicBezTo>
                    <a:pt x="22554" y="885562"/>
                    <a:pt x="38445" y="866839"/>
                    <a:pt x="35249" y="854322"/>
                  </a:cubicBezTo>
                  <a:cubicBezTo>
                    <a:pt x="32097" y="841908"/>
                    <a:pt x="3512" y="835599"/>
                    <a:pt x="360" y="821658"/>
                  </a:cubicBezTo>
                  <a:cubicBezTo>
                    <a:pt x="-2836" y="807615"/>
                    <a:pt x="16207" y="790418"/>
                    <a:pt x="20957" y="773322"/>
                  </a:cubicBezTo>
                  <a:cubicBezTo>
                    <a:pt x="25750" y="756125"/>
                    <a:pt x="28902" y="742184"/>
                    <a:pt x="33695" y="718780"/>
                  </a:cubicBezTo>
                  <a:cubicBezTo>
                    <a:pt x="38445" y="695375"/>
                    <a:pt x="51139" y="656402"/>
                    <a:pt x="49542" y="629944"/>
                  </a:cubicBezTo>
                  <a:cubicBezTo>
                    <a:pt x="47944" y="603487"/>
                    <a:pt x="25750" y="578556"/>
                    <a:pt x="24152" y="559833"/>
                  </a:cubicBezTo>
                  <a:cubicBezTo>
                    <a:pt x="22554" y="541109"/>
                    <a:pt x="32097" y="538056"/>
                    <a:pt x="35249" y="520859"/>
                  </a:cubicBezTo>
                  <a:cubicBezTo>
                    <a:pt x="38445" y="503764"/>
                    <a:pt x="44792" y="481885"/>
                    <a:pt x="47944" y="460109"/>
                  </a:cubicBezTo>
                  <a:cubicBezTo>
                    <a:pt x="51139" y="438231"/>
                    <a:pt x="52737" y="411774"/>
                    <a:pt x="59085" y="389997"/>
                  </a:cubicBezTo>
                  <a:cubicBezTo>
                    <a:pt x="63834" y="377481"/>
                    <a:pt x="84474" y="341662"/>
                    <a:pt x="86072" y="324465"/>
                  </a:cubicBezTo>
                  <a:cubicBezTo>
                    <a:pt x="76529" y="302688"/>
                    <a:pt x="76529" y="270024"/>
                    <a:pt x="73377" y="244991"/>
                  </a:cubicBezTo>
                  <a:cubicBezTo>
                    <a:pt x="76529" y="218534"/>
                    <a:pt x="70182" y="185869"/>
                    <a:pt x="87670" y="165518"/>
                  </a:cubicBezTo>
                  <a:cubicBezTo>
                    <a:pt x="94017" y="149949"/>
                    <a:pt x="106712" y="154629"/>
                    <a:pt x="111462" y="146896"/>
                  </a:cubicBezTo>
                  <a:cubicBezTo>
                    <a:pt x="116212" y="139060"/>
                    <a:pt x="121005" y="128172"/>
                    <a:pt x="121005" y="118810"/>
                  </a:cubicBezTo>
                  <a:cubicBezTo>
                    <a:pt x="121005" y="109449"/>
                    <a:pt x="113060" y="101715"/>
                    <a:pt x="116212" y="90725"/>
                  </a:cubicBezTo>
                  <a:cubicBezTo>
                    <a:pt x="122559" y="76784"/>
                    <a:pt x="121005" y="67422"/>
                    <a:pt x="130504" y="54906"/>
                  </a:cubicBezTo>
                  <a:cubicBezTo>
                    <a:pt x="144797" y="51853"/>
                    <a:pt x="147992" y="23768"/>
                    <a:pt x="149547" y="11251"/>
                  </a:cubicBezTo>
                  <a:cubicBezTo>
                    <a:pt x="167812" y="363"/>
                    <a:pt x="164249" y="-807"/>
                    <a:pt x="167429" y="36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4" name="Freeform 21"/>
            <p:cNvSpPr>
              <a:spLocks noEditPoints="1"/>
            </p:cNvSpPr>
            <p:nvPr/>
          </p:nvSpPr>
          <p:spPr bwMode="auto">
            <a:xfrm>
              <a:off x="4908117" y="1305515"/>
              <a:ext cx="4159750" cy="1914538"/>
            </a:xfrm>
            <a:custGeom>
              <a:avLst/>
              <a:gdLst>
                <a:gd name="T0" fmla="*/ 550 w 2568"/>
                <a:gd name="T1" fmla="*/ 246 h 1182"/>
                <a:gd name="T2" fmla="*/ 746 w 2568"/>
                <a:gd name="T3" fmla="*/ 24 h 1182"/>
                <a:gd name="T4" fmla="*/ 602 w 2568"/>
                <a:gd name="T5" fmla="*/ 80 h 1182"/>
                <a:gd name="T6" fmla="*/ 514 w 2568"/>
                <a:gd name="T7" fmla="*/ 210 h 1182"/>
                <a:gd name="T8" fmla="*/ 0 w 2568"/>
                <a:gd name="T9" fmla="*/ 880 h 1182"/>
                <a:gd name="T10" fmla="*/ 2398 w 2568"/>
                <a:gd name="T11" fmla="*/ 330 h 1182"/>
                <a:gd name="T12" fmla="*/ 2492 w 2568"/>
                <a:gd name="T13" fmla="*/ 480 h 1182"/>
                <a:gd name="T14" fmla="*/ 2246 w 2568"/>
                <a:gd name="T15" fmla="*/ 404 h 1182"/>
                <a:gd name="T16" fmla="*/ 2142 w 2568"/>
                <a:gd name="T17" fmla="*/ 402 h 1182"/>
                <a:gd name="T18" fmla="*/ 1968 w 2568"/>
                <a:gd name="T19" fmla="*/ 284 h 1182"/>
                <a:gd name="T20" fmla="*/ 1802 w 2568"/>
                <a:gd name="T21" fmla="*/ 308 h 1182"/>
                <a:gd name="T22" fmla="*/ 1658 w 2568"/>
                <a:gd name="T23" fmla="*/ 286 h 1182"/>
                <a:gd name="T24" fmla="*/ 1562 w 2568"/>
                <a:gd name="T25" fmla="*/ 232 h 1182"/>
                <a:gd name="T26" fmla="*/ 1420 w 2568"/>
                <a:gd name="T27" fmla="*/ 182 h 1182"/>
                <a:gd name="T28" fmla="*/ 1380 w 2568"/>
                <a:gd name="T29" fmla="*/ 190 h 1182"/>
                <a:gd name="T30" fmla="*/ 1344 w 2568"/>
                <a:gd name="T31" fmla="*/ 206 h 1182"/>
                <a:gd name="T32" fmla="*/ 1386 w 2568"/>
                <a:gd name="T33" fmla="*/ 28 h 1182"/>
                <a:gd name="T34" fmla="*/ 1232 w 2568"/>
                <a:gd name="T35" fmla="*/ 36 h 1182"/>
                <a:gd name="T36" fmla="*/ 1096 w 2568"/>
                <a:gd name="T37" fmla="*/ 94 h 1182"/>
                <a:gd name="T38" fmla="*/ 928 w 2568"/>
                <a:gd name="T39" fmla="*/ 210 h 1182"/>
                <a:gd name="T40" fmla="*/ 896 w 2568"/>
                <a:gd name="T41" fmla="*/ 264 h 1182"/>
                <a:gd name="T42" fmla="*/ 838 w 2568"/>
                <a:gd name="T43" fmla="*/ 234 h 1182"/>
                <a:gd name="T44" fmla="*/ 826 w 2568"/>
                <a:gd name="T45" fmla="*/ 444 h 1182"/>
                <a:gd name="T46" fmla="*/ 796 w 2568"/>
                <a:gd name="T47" fmla="*/ 308 h 1182"/>
                <a:gd name="T48" fmla="*/ 622 w 2568"/>
                <a:gd name="T49" fmla="*/ 388 h 1182"/>
                <a:gd name="T50" fmla="*/ 534 w 2568"/>
                <a:gd name="T51" fmla="*/ 444 h 1182"/>
                <a:gd name="T52" fmla="*/ 388 w 2568"/>
                <a:gd name="T53" fmla="*/ 484 h 1182"/>
                <a:gd name="T54" fmla="*/ 328 w 2568"/>
                <a:gd name="T55" fmla="*/ 534 h 1182"/>
                <a:gd name="T56" fmla="*/ 268 w 2568"/>
                <a:gd name="T57" fmla="*/ 612 h 1182"/>
                <a:gd name="T58" fmla="*/ 324 w 2568"/>
                <a:gd name="T59" fmla="*/ 496 h 1182"/>
                <a:gd name="T60" fmla="*/ 144 w 2568"/>
                <a:gd name="T61" fmla="*/ 466 h 1182"/>
                <a:gd name="T62" fmla="*/ 136 w 2568"/>
                <a:gd name="T63" fmla="*/ 722 h 1182"/>
                <a:gd name="T64" fmla="*/ 160 w 2568"/>
                <a:gd name="T65" fmla="*/ 860 h 1182"/>
                <a:gd name="T66" fmla="*/ 282 w 2568"/>
                <a:gd name="T67" fmla="*/ 988 h 1182"/>
                <a:gd name="T68" fmla="*/ 310 w 2568"/>
                <a:gd name="T69" fmla="*/ 1134 h 1182"/>
                <a:gd name="T70" fmla="*/ 432 w 2568"/>
                <a:gd name="T71" fmla="*/ 1088 h 1182"/>
                <a:gd name="T72" fmla="*/ 432 w 2568"/>
                <a:gd name="T73" fmla="*/ 994 h 1182"/>
                <a:gd name="T74" fmla="*/ 628 w 2568"/>
                <a:gd name="T75" fmla="*/ 962 h 1182"/>
                <a:gd name="T76" fmla="*/ 806 w 2568"/>
                <a:gd name="T77" fmla="*/ 890 h 1182"/>
                <a:gd name="T78" fmla="*/ 956 w 2568"/>
                <a:gd name="T79" fmla="*/ 978 h 1182"/>
                <a:gd name="T80" fmla="*/ 1188 w 2568"/>
                <a:gd name="T81" fmla="*/ 998 h 1182"/>
                <a:gd name="T82" fmla="*/ 1464 w 2568"/>
                <a:gd name="T83" fmla="*/ 998 h 1182"/>
                <a:gd name="T84" fmla="*/ 1658 w 2568"/>
                <a:gd name="T85" fmla="*/ 1010 h 1182"/>
                <a:gd name="T86" fmla="*/ 1690 w 2568"/>
                <a:gd name="T87" fmla="*/ 1148 h 1182"/>
                <a:gd name="T88" fmla="*/ 1796 w 2568"/>
                <a:gd name="T89" fmla="*/ 890 h 1182"/>
                <a:gd name="T90" fmla="*/ 1850 w 2568"/>
                <a:gd name="T91" fmla="*/ 770 h 1182"/>
                <a:gd name="T92" fmla="*/ 2000 w 2568"/>
                <a:gd name="T93" fmla="*/ 766 h 1182"/>
                <a:gd name="T94" fmla="*/ 2144 w 2568"/>
                <a:gd name="T95" fmla="*/ 706 h 1182"/>
                <a:gd name="T96" fmla="*/ 2048 w 2568"/>
                <a:gd name="T97" fmla="*/ 878 h 1182"/>
                <a:gd name="T98" fmla="*/ 2120 w 2568"/>
                <a:gd name="T99" fmla="*/ 902 h 1182"/>
                <a:gd name="T100" fmla="*/ 2156 w 2568"/>
                <a:gd name="T101" fmla="*/ 794 h 1182"/>
                <a:gd name="T102" fmla="*/ 2222 w 2568"/>
                <a:gd name="T103" fmla="*/ 734 h 1182"/>
                <a:gd name="T104" fmla="*/ 2420 w 2568"/>
                <a:gd name="T105" fmla="*/ 640 h 1182"/>
                <a:gd name="T106" fmla="*/ 2460 w 2568"/>
                <a:gd name="T107" fmla="*/ 560 h 1182"/>
                <a:gd name="T108" fmla="*/ 2566 w 2568"/>
                <a:gd name="T109" fmla="*/ 538 h 1182"/>
                <a:gd name="T110" fmla="*/ 856 w 2568"/>
                <a:gd name="T111" fmla="*/ 302 h 1182"/>
                <a:gd name="T112" fmla="*/ 1752 w 2568"/>
                <a:gd name="T113" fmla="*/ 90 h 1182"/>
                <a:gd name="T114" fmla="*/ 1762 w 2568"/>
                <a:gd name="T115" fmla="*/ 200 h 1182"/>
                <a:gd name="T116" fmla="*/ 1860 w 2568"/>
                <a:gd name="T117" fmla="*/ 150 h 1182"/>
                <a:gd name="T118" fmla="*/ 1830 w 2568"/>
                <a:gd name="T119" fmla="*/ 68 h 1182"/>
                <a:gd name="T120" fmla="*/ 1972 w 2568"/>
                <a:gd name="T121" fmla="*/ 146 h 1182"/>
                <a:gd name="T122" fmla="*/ 1870 w 2568"/>
                <a:gd name="T123" fmla="*/ 202 h 1182"/>
                <a:gd name="T124" fmla="*/ 2222 w 2568"/>
                <a:gd name="T125" fmla="*/ 86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8" h="1182">
                  <a:moveTo>
                    <a:pt x="486" y="312"/>
                  </a:moveTo>
                  <a:lnTo>
                    <a:pt x="486" y="318"/>
                  </a:lnTo>
                  <a:lnTo>
                    <a:pt x="486" y="318"/>
                  </a:lnTo>
                  <a:lnTo>
                    <a:pt x="486" y="318"/>
                  </a:lnTo>
                  <a:lnTo>
                    <a:pt x="488" y="320"/>
                  </a:lnTo>
                  <a:lnTo>
                    <a:pt x="488" y="320"/>
                  </a:lnTo>
                  <a:lnTo>
                    <a:pt x="488" y="320"/>
                  </a:lnTo>
                  <a:lnTo>
                    <a:pt x="490" y="320"/>
                  </a:lnTo>
                  <a:lnTo>
                    <a:pt x="490" y="320"/>
                  </a:lnTo>
                  <a:lnTo>
                    <a:pt x="490" y="320"/>
                  </a:lnTo>
                  <a:lnTo>
                    <a:pt x="494" y="320"/>
                  </a:lnTo>
                  <a:lnTo>
                    <a:pt x="496" y="320"/>
                  </a:lnTo>
                  <a:lnTo>
                    <a:pt x="496" y="320"/>
                  </a:lnTo>
                  <a:lnTo>
                    <a:pt x="496" y="320"/>
                  </a:lnTo>
                  <a:lnTo>
                    <a:pt x="500" y="326"/>
                  </a:lnTo>
                  <a:lnTo>
                    <a:pt x="502" y="330"/>
                  </a:lnTo>
                  <a:lnTo>
                    <a:pt x="502" y="334"/>
                  </a:lnTo>
                  <a:lnTo>
                    <a:pt x="502" y="336"/>
                  </a:lnTo>
                  <a:lnTo>
                    <a:pt x="502" y="336"/>
                  </a:lnTo>
                  <a:lnTo>
                    <a:pt x="502" y="338"/>
                  </a:lnTo>
                  <a:lnTo>
                    <a:pt x="502" y="338"/>
                  </a:lnTo>
                  <a:lnTo>
                    <a:pt x="500" y="338"/>
                  </a:lnTo>
                  <a:lnTo>
                    <a:pt x="500" y="338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498" y="342"/>
                  </a:lnTo>
                  <a:lnTo>
                    <a:pt x="500" y="342"/>
                  </a:lnTo>
                  <a:lnTo>
                    <a:pt x="500" y="344"/>
                  </a:lnTo>
                  <a:lnTo>
                    <a:pt x="502" y="344"/>
                  </a:lnTo>
                  <a:lnTo>
                    <a:pt x="504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6" y="348"/>
                  </a:lnTo>
                  <a:lnTo>
                    <a:pt x="506" y="350"/>
                  </a:lnTo>
                  <a:lnTo>
                    <a:pt x="508" y="352"/>
                  </a:lnTo>
                  <a:lnTo>
                    <a:pt x="508" y="352"/>
                  </a:lnTo>
                  <a:lnTo>
                    <a:pt x="508" y="352"/>
                  </a:lnTo>
                  <a:lnTo>
                    <a:pt x="510" y="356"/>
                  </a:lnTo>
                  <a:lnTo>
                    <a:pt x="510" y="356"/>
                  </a:lnTo>
                  <a:lnTo>
                    <a:pt x="510" y="356"/>
                  </a:lnTo>
                  <a:lnTo>
                    <a:pt x="514" y="358"/>
                  </a:lnTo>
                  <a:lnTo>
                    <a:pt x="514" y="358"/>
                  </a:lnTo>
                  <a:lnTo>
                    <a:pt x="514" y="358"/>
                  </a:lnTo>
                  <a:lnTo>
                    <a:pt x="520" y="360"/>
                  </a:lnTo>
                  <a:lnTo>
                    <a:pt x="520" y="360"/>
                  </a:lnTo>
                  <a:lnTo>
                    <a:pt x="520" y="360"/>
                  </a:lnTo>
                  <a:lnTo>
                    <a:pt x="526" y="364"/>
                  </a:lnTo>
                  <a:lnTo>
                    <a:pt x="526" y="364"/>
                  </a:lnTo>
                  <a:lnTo>
                    <a:pt x="528" y="364"/>
                  </a:lnTo>
                  <a:lnTo>
                    <a:pt x="538" y="362"/>
                  </a:lnTo>
                  <a:lnTo>
                    <a:pt x="550" y="364"/>
                  </a:lnTo>
                  <a:lnTo>
                    <a:pt x="560" y="362"/>
                  </a:lnTo>
                  <a:lnTo>
                    <a:pt x="566" y="362"/>
                  </a:lnTo>
                  <a:lnTo>
                    <a:pt x="570" y="362"/>
                  </a:lnTo>
                  <a:lnTo>
                    <a:pt x="570" y="362"/>
                  </a:lnTo>
                  <a:lnTo>
                    <a:pt x="572" y="360"/>
                  </a:lnTo>
                  <a:lnTo>
                    <a:pt x="574" y="360"/>
                  </a:lnTo>
                  <a:lnTo>
                    <a:pt x="574" y="360"/>
                  </a:lnTo>
                  <a:lnTo>
                    <a:pt x="574" y="358"/>
                  </a:lnTo>
                  <a:lnTo>
                    <a:pt x="574" y="356"/>
                  </a:lnTo>
                  <a:lnTo>
                    <a:pt x="574" y="356"/>
                  </a:lnTo>
                  <a:lnTo>
                    <a:pt x="574" y="356"/>
                  </a:lnTo>
                  <a:lnTo>
                    <a:pt x="574" y="354"/>
                  </a:lnTo>
                  <a:lnTo>
                    <a:pt x="574" y="354"/>
                  </a:lnTo>
                  <a:lnTo>
                    <a:pt x="574" y="354"/>
                  </a:lnTo>
                  <a:lnTo>
                    <a:pt x="572" y="352"/>
                  </a:lnTo>
                  <a:lnTo>
                    <a:pt x="570" y="348"/>
                  </a:lnTo>
                  <a:lnTo>
                    <a:pt x="568" y="346"/>
                  </a:lnTo>
                  <a:lnTo>
                    <a:pt x="568" y="346"/>
                  </a:lnTo>
                  <a:lnTo>
                    <a:pt x="566" y="340"/>
                  </a:lnTo>
                  <a:lnTo>
                    <a:pt x="564" y="336"/>
                  </a:lnTo>
                  <a:lnTo>
                    <a:pt x="562" y="328"/>
                  </a:lnTo>
                  <a:lnTo>
                    <a:pt x="560" y="322"/>
                  </a:lnTo>
                  <a:lnTo>
                    <a:pt x="558" y="318"/>
                  </a:lnTo>
                  <a:lnTo>
                    <a:pt x="558" y="318"/>
                  </a:lnTo>
                  <a:lnTo>
                    <a:pt x="558" y="318"/>
                  </a:lnTo>
                  <a:lnTo>
                    <a:pt x="554" y="314"/>
                  </a:lnTo>
                  <a:lnTo>
                    <a:pt x="554" y="314"/>
                  </a:lnTo>
                  <a:lnTo>
                    <a:pt x="550" y="310"/>
                  </a:lnTo>
                  <a:lnTo>
                    <a:pt x="550" y="308"/>
                  </a:lnTo>
                  <a:lnTo>
                    <a:pt x="550" y="306"/>
                  </a:lnTo>
                  <a:lnTo>
                    <a:pt x="548" y="304"/>
                  </a:lnTo>
                  <a:lnTo>
                    <a:pt x="548" y="304"/>
                  </a:lnTo>
                  <a:lnTo>
                    <a:pt x="548" y="302"/>
                  </a:lnTo>
                  <a:lnTo>
                    <a:pt x="546" y="300"/>
                  </a:lnTo>
                  <a:lnTo>
                    <a:pt x="546" y="300"/>
                  </a:lnTo>
                  <a:lnTo>
                    <a:pt x="548" y="298"/>
                  </a:lnTo>
                  <a:lnTo>
                    <a:pt x="548" y="296"/>
                  </a:lnTo>
                  <a:lnTo>
                    <a:pt x="548" y="294"/>
                  </a:lnTo>
                  <a:lnTo>
                    <a:pt x="548" y="292"/>
                  </a:lnTo>
                  <a:lnTo>
                    <a:pt x="548" y="290"/>
                  </a:lnTo>
                  <a:lnTo>
                    <a:pt x="548" y="288"/>
                  </a:lnTo>
                  <a:lnTo>
                    <a:pt x="550" y="284"/>
                  </a:lnTo>
                  <a:lnTo>
                    <a:pt x="548" y="278"/>
                  </a:lnTo>
                  <a:lnTo>
                    <a:pt x="548" y="268"/>
                  </a:lnTo>
                  <a:lnTo>
                    <a:pt x="548" y="260"/>
                  </a:lnTo>
                  <a:lnTo>
                    <a:pt x="548" y="254"/>
                  </a:lnTo>
                  <a:lnTo>
                    <a:pt x="548" y="248"/>
                  </a:lnTo>
                  <a:lnTo>
                    <a:pt x="550" y="246"/>
                  </a:lnTo>
                  <a:lnTo>
                    <a:pt x="550" y="246"/>
                  </a:lnTo>
                  <a:lnTo>
                    <a:pt x="550" y="242"/>
                  </a:lnTo>
                  <a:lnTo>
                    <a:pt x="552" y="240"/>
                  </a:lnTo>
                  <a:lnTo>
                    <a:pt x="554" y="238"/>
                  </a:lnTo>
                  <a:lnTo>
                    <a:pt x="556" y="236"/>
                  </a:lnTo>
                  <a:lnTo>
                    <a:pt x="560" y="234"/>
                  </a:lnTo>
                  <a:lnTo>
                    <a:pt x="560" y="234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6"/>
                  </a:lnTo>
                  <a:lnTo>
                    <a:pt x="564" y="220"/>
                  </a:lnTo>
                  <a:lnTo>
                    <a:pt x="564" y="218"/>
                  </a:lnTo>
                  <a:lnTo>
                    <a:pt x="566" y="216"/>
                  </a:lnTo>
                  <a:lnTo>
                    <a:pt x="568" y="214"/>
                  </a:lnTo>
                  <a:lnTo>
                    <a:pt x="570" y="212"/>
                  </a:lnTo>
                  <a:lnTo>
                    <a:pt x="570" y="212"/>
                  </a:lnTo>
                  <a:lnTo>
                    <a:pt x="572" y="210"/>
                  </a:lnTo>
                  <a:lnTo>
                    <a:pt x="574" y="202"/>
                  </a:lnTo>
                  <a:lnTo>
                    <a:pt x="578" y="194"/>
                  </a:lnTo>
                  <a:lnTo>
                    <a:pt x="582" y="186"/>
                  </a:lnTo>
                  <a:lnTo>
                    <a:pt x="584" y="182"/>
                  </a:lnTo>
                  <a:lnTo>
                    <a:pt x="586" y="178"/>
                  </a:lnTo>
                  <a:lnTo>
                    <a:pt x="586" y="178"/>
                  </a:lnTo>
                  <a:lnTo>
                    <a:pt x="586" y="178"/>
                  </a:lnTo>
                  <a:lnTo>
                    <a:pt x="586" y="174"/>
                  </a:lnTo>
                  <a:lnTo>
                    <a:pt x="586" y="170"/>
                  </a:lnTo>
                  <a:lnTo>
                    <a:pt x="588" y="166"/>
                  </a:lnTo>
                  <a:lnTo>
                    <a:pt x="588" y="166"/>
                  </a:lnTo>
                  <a:lnTo>
                    <a:pt x="588" y="166"/>
                  </a:lnTo>
                  <a:lnTo>
                    <a:pt x="590" y="164"/>
                  </a:lnTo>
                  <a:lnTo>
                    <a:pt x="594" y="164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4"/>
                  </a:lnTo>
                  <a:lnTo>
                    <a:pt x="602" y="164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8" y="160"/>
                  </a:lnTo>
                  <a:lnTo>
                    <a:pt x="608" y="160"/>
                  </a:lnTo>
                  <a:lnTo>
                    <a:pt x="608" y="158"/>
                  </a:lnTo>
                  <a:lnTo>
                    <a:pt x="610" y="156"/>
                  </a:lnTo>
                  <a:lnTo>
                    <a:pt x="610" y="154"/>
                  </a:lnTo>
                  <a:lnTo>
                    <a:pt x="612" y="154"/>
                  </a:lnTo>
                  <a:lnTo>
                    <a:pt x="612" y="152"/>
                  </a:lnTo>
                  <a:lnTo>
                    <a:pt x="614" y="150"/>
                  </a:lnTo>
                  <a:lnTo>
                    <a:pt x="616" y="150"/>
                  </a:lnTo>
                  <a:lnTo>
                    <a:pt x="616" y="150"/>
                  </a:lnTo>
                  <a:lnTo>
                    <a:pt x="618" y="148"/>
                  </a:lnTo>
                  <a:lnTo>
                    <a:pt x="618" y="144"/>
                  </a:lnTo>
                  <a:lnTo>
                    <a:pt x="620" y="142"/>
                  </a:lnTo>
                  <a:lnTo>
                    <a:pt x="622" y="134"/>
                  </a:lnTo>
                  <a:lnTo>
                    <a:pt x="622" y="130"/>
                  </a:lnTo>
                  <a:lnTo>
                    <a:pt x="624" y="128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30" y="122"/>
                  </a:lnTo>
                  <a:lnTo>
                    <a:pt x="632" y="122"/>
                  </a:lnTo>
                  <a:lnTo>
                    <a:pt x="638" y="120"/>
                  </a:lnTo>
                  <a:lnTo>
                    <a:pt x="642" y="118"/>
                  </a:lnTo>
                  <a:lnTo>
                    <a:pt x="644" y="118"/>
                  </a:lnTo>
                  <a:lnTo>
                    <a:pt x="646" y="118"/>
                  </a:lnTo>
                  <a:lnTo>
                    <a:pt x="646" y="118"/>
                  </a:lnTo>
                  <a:lnTo>
                    <a:pt x="646" y="118"/>
                  </a:lnTo>
                  <a:lnTo>
                    <a:pt x="648" y="118"/>
                  </a:lnTo>
                  <a:lnTo>
                    <a:pt x="652" y="114"/>
                  </a:lnTo>
                  <a:lnTo>
                    <a:pt x="654" y="110"/>
                  </a:lnTo>
                  <a:lnTo>
                    <a:pt x="656" y="108"/>
                  </a:lnTo>
                  <a:lnTo>
                    <a:pt x="658" y="106"/>
                  </a:lnTo>
                  <a:lnTo>
                    <a:pt x="660" y="102"/>
                  </a:lnTo>
                  <a:lnTo>
                    <a:pt x="662" y="100"/>
                  </a:lnTo>
                  <a:lnTo>
                    <a:pt x="662" y="100"/>
                  </a:lnTo>
                  <a:lnTo>
                    <a:pt x="664" y="100"/>
                  </a:lnTo>
                  <a:lnTo>
                    <a:pt x="666" y="98"/>
                  </a:lnTo>
                  <a:lnTo>
                    <a:pt x="668" y="98"/>
                  </a:lnTo>
                  <a:lnTo>
                    <a:pt x="670" y="98"/>
                  </a:lnTo>
                  <a:lnTo>
                    <a:pt x="674" y="98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92" y="92"/>
                  </a:lnTo>
                  <a:lnTo>
                    <a:pt x="696" y="90"/>
                  </a:lnTo>
                  <a:lnTo>
                    <a:pt x="708" y="84"/>
                  </a:lnTo>
                  <a:lnTo>
                    <a:pt x="718" y="78"/>
                  </a:lnTo>
                  <a:lnTo>
                    <a:pt x="724" y="74"/>
                  </a:lnTo>
                  <a:lnTo>
                    <a:pt x="728" y="70"/>
                  </a:lnTo>
                  <a:lnTo>
                    <a:pt x="734" y="66"/>
                  </a:lnTo>
                  <a:lnTo>
                    <a:pt x="738" y="62"/>
                  </a:lnTo>
                  <a:lnTo>
                    <a:pt x="746" y="54"/>
                  </a:lnTo>
                  <a:lnTo>
                    <a:pt x="750" y="50"/>
                  </a:lnTo>
                  <a:lnTo>
                    <a:pt x="752" y="46"/>
                  </a:lnTo>
                  <a:lnTo>
                    <a:pt x="754" y="42"/>
                  </a:lnTo>
                  <a:lnTo>
                    <a:pt x="758" y="40"/>
                  </a:lnTo>
                  <a:lnTo>
                    <a:pt x="754" y="38"/>
                  </a:lnTo>
                  <a:lnTo>
                    <a:pt x="754" y="38"/>
                  </a:lnTo>
                  <a:lnTo>
                    <a:pt x="756" y="34"/>
                  </a:lnTo>
                  <a:lnTo>
                    <a:pt x="758" y="32"/>
                  </a:lnTo>
                  <a:lnTo>
                    <a:pt x="756" y="30"/>
                  </a:lnTo>
                  <a:lnTo>
                    <a:pt x="754" y="28"/>
                  </a:lnTo>
                  <a:lnTo>
                    <a:pt x="750" y="26"/>
                  </a:lnTo>
                  <a:lnTo>
                    <a:pt x="746" y="24"/>
                  </a:lnTo>
                  <a:lnTo>
                    <a:pt x="742" y="20"/>
                  </a:lnTo>
                  <a:lnTo>
                    <a:pt x="740" y="18"/>
                  </a:lnTo>
                  <a:lnTo>
                    <a:pt x="736" y="16"/>
                  </a:lnTo>
                  <a:lnTo>
                    <a:pt x="732" y="14"/>
                  </a:lnTo>
                  <a:lnTo>
                    <a:pt x="732" y="14"/>
                  </a:lnTo>
                  <a:lnTo>
                    <a:pt x="732" y="14"/>
                  </a:lnTo>
                  <a:lnTo>
                    <a:pt x="728" y="12"/>
                  </a:lnTo>
                  <a:lnTo>
                    <a:pt x="724" y="12"/>
                  </a:lnTo>
                  <a:lnTo>
                    <a:pt x="718" y="12"/>
                  </a:lnTo>
                  <a:lnTo>
                    <a:pt x="718" y="12"/>
                  </a:lnTo>
                  <a:lnTo>
                    <a:pt x="718" y="12"/>
                  </a:lnTo>
                  <a:lnTo>
                    <a:pt x="712" y="12"/>
                  </a:lnTo>
                  <a:lnTo>
                    <a:pt x="712" y="12"/>
                  </a:lnTo>
                  <a:lnTo>
                    <a:pt x="712" y="12"/>
                  </a:lnTo>
                  <a:lnTo>
                    <a:pt x="706" y="14"/>
                  </a:lnTo>
                  <a:lnTo>
                    <a:pt x="706" y="14"/>
                  </a:lnTo>
                  <a:lnTo>
                    <a:pt x="704" y="16"/>
                  </a:lnTo>
                  <a:lnTo>
                    <a:pt x="702" y="18"/>
                  </a:lnTo>
                  <a:lnTo>
                    <a:pt x="700" y="20"/>
                  </a:lnTo>
                  <a:lnTo>
                    <a:pt x="696" y="26"/>
                  </a:lnTo>
                  <a:lnTo>
                    <a:pt x="694" y="30"/>
                  </a:lnTo>
                  <a:lnTo>
                    <a:pt x="694" y="32"/>
                  </a:lnTo>
                  <a:lnTo>
                    <a:pt x="692" y="34"/>
                  </a:lnTo>
                  <a:lnTo>
                    <a:pt x="692" y="34"/>
                  </a:lnTo>
                  <a:lnTo>
                    <a:pt x="692" y="34"/>
                  </a:lnTo>
                  <a:lnTo>
                    <a:pt x="692" y="36"/>
                  </a:lnTo>
                  <a:lnTo>
                    <a:pt x="692" y="38"/>
                  </a:lnTo>
                  <a:lnTo>
                    <a:pt x="692" y="40"/>
                  </a:lnTo>
                  <a:lnTo>
                    <a:pt x="692" y="42"/>
                  </a:lnTo>
                  <a:lnTo>
                    <a:pt x="692" y="42"/>
                  </a:lnTo>
                  <a:lnTo>
                    <a:pt x="690" y="42"/>
                  </a:lnTo>
                  <a:lnTo>
                    <a:pt x="688" y="44"/>
                  </a:lnTo>
                  <a:lnTo>
                    <a:pt x="686" y="44"/>
                  </a:lnTo>
                  <a:lnTo>
                    <a:pt x="682" y="44"/>
                  </a:lnTo>
                  <a:lnTo>
                    <a:pt x="682" y="44"/>
                  </a:lnTo>
                  <a:lnTo>
                    <a:pt x="680" y="46"/>
                  </a:lnTo>
                  <a:lnTo>
                    <a:pt x="678" y="46"/>
                  </a:lnTo>
                  <a:lnTo>
                    <a:pt x="678" y="46"/>
                  </a:lnTo>
                  <a:lnTo>
                    <a:pt x="678" y="46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6" y="50"/>
                  </a:lnTo>
                  <a:lnTo>
                    <a:pt x="676" y="50"/>
                  </a:lnTo>
                  <a:lnTo>
                    <a:pt x="676" y="50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2" y="52"/>
                  </a:lnTo>
                  <a:lnTo>
                    <a:pt x="668" y="54"/>
                  </a:lnTo>
                  <a:lnTo>
                    <a:pt x="666" y="54"/>
                  </a:lnTo>
                  <a:lnTo>
                    <a:pt x="664" y="54"/>
                  </a:lnTo>
                  <a:lnTo>
                    <a:pt x="662" y="56"/>
                  </a:lnTo>
                  <a:lnTo>
                    <a:pt x="658" y="56"/>
                  </a:lnTo>
                  <a:lnTo>
                    <a:pt x="656" y="56"/>
                  </a:lnTo>
                  <a:lnTo>
                    <a:pt x="656" y="56"/>
                  </a:lnTo>
                  <a:lnTo>
                    <a:pt x="654" y="56"/>
                  </a:lnTo>
                  <a:lnTo>
                    <a:pt x="652" y="58"/>
                  </a:lnTo>
                  <a:lnTo>
                    <a:pt x="650" y="58"/>
                  </a:lnTo>
                  <a:lnTo>
                    <a:pt x="648" y="58"/>
                  </a:lnTo>
                  <a:lnTo>
                    <a:pt x="646" y="58"/>
                  </a:lnTo>
                  <a:lnTo>
                    <a:pt x="642" y="58"/>
                  </a:lnTo>
                  <a:lnTo>
                    <a:pt x="638" y="58"/>
                  </a:lnTo>
                  <a:lnTo>
                    <a:pt x="634" y="58"/>
                  </a:lnTo>
                  <a:lnTo>
                    <a:pt x="630" y="56"/>
                  </a:lnTo>
                  <a:lnTo>
                    <a:pt x="630" y="56"/>
                  </a:lnTo>
                  <a:lnTo>
                    <a:pt x="630" y="56"/>
                  </a:lnTo>
                  <a:lnTo>
                    <a:pt x="628" y="56"/>
                  </a:lnTo>
                  <a:lnTo>
                    <a:pt x="626" y="54"/>
                  </a:lnTo>
                  <a:lnTo>
                    <a:pt x="626" y="54"/>
                  </a:lnTo>
                  <a:lnTo>
                    <a:pt x="624" y="54"/>
                  </a:lnTo>
                  <a:lnTo>
                    <a:pt x="624" y="54"/>
                  </a:lnTo>
                  <a:lnTo>
                    <a:pt x="624" y="54"/>
                  </a:lnTo>
                  <a:lnTo>
                    <a:pt x="622" y="54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0" y="56"/>
                  </a:lnTo>
                  <a:lnTo>
                    <a:pt x="618" y="60"/>
                  </a:lnTo>
                  <a:lnTo>
                    <a:pt x="618" y="62"/>
                  </a:lnTo>
                  <a:lnTo>
                    <a:pt x="618" y="62"/>
                  </a:lnTo>
                  <a:lnTo>
                    <a:pt x="618" y="62"/>
                  </a:lnTo>
                  <a:lnTo>
                    <a:pt x="616" y="66"/>
                  </a:lnTo>
                  <a:lnTo>
                    <a:pt x="616" y="66"/>
                  </a:lnTo>
                  <a:lnTo>
                    <a:pt x="616" y="66"/>
                  </a:lnTo>
                  <a:lnTo>
                    <a:pt x="616" y="68"/>
                  </a:lnTo>
                  <a:lnTo>
                    <a:pt x="616" y="68"/>
                  </a:lnTo>
                  <a:lnTo>
                    <a:pt x="616" y="68"/>
                  </a:lnTo>
                  <a:lnTo>
                    <a:pt x="616" y="70"/>
                  </a:lnTo>
                  <a:lnTo>
                    <a:pt x="616" y="70"/>
                  </a:lnTo>
                  <a:lnTo>
                    <a:pt x="614" y="70"/>
                  </a:lnTo>
                  <a:lnTo>
                    <a:pt x="608" y="70"/>
                  </a:lnTo>
                  <a:lnTo>
                    <a:pt x="608" y="70"/>
                  </a:lnTo>
                  <a:lnTo>
                    <a:pt x="606" y="72"/>
                  </a:lnTo>
                  <a:lnTo>
                    <a:pt x="606" y="76"/>
                  </a:lnTo>
                  <a:lnTo>
                    <a:pt x="604" y="78"/>
                  </a:lnTo>
                  <a:lnTo>
                    <a:pt x="604" y="76"/>
                  </a:lnTo>
                  <a:lnTo>
                    <a:pt x="604" y="78"/>
                  </a:lnTo>
                  <a:lnTo>
                    <a:pt x="602" y="80"/>
                  </a:lnTo>
                  <a:lnTo>
                    <a:pt x="600" y="80"/>
                  </a:lnTo>
                  <a:lnTo>
                    <a:pt x="598" y="82"/>
                  </a:lnTo>
                  <a:lnTo>
                    <a:pt x="596" y="82"/>
                  </a:lnTo>
                  <a:lnTo>
                    <a:pt x="592" y="82"/>
                  </a:lnTo>
                  <a:lnTo>
                    <a:pt x="592" y="82"/>
                  </a:lnTo>
                  <a:lnTo>
                    <a:pt x="590" y="84"/>
                  </a:lnTo>
                  <a:lnTo>
                    <a:pt x="588" y="86"/>
                  </a:lnTo>
                  <a:lnTo>
                    <a:pt x="586" y="88"/>
                  </a:lnTo>
                  <a:lnTo>
                    <a:pt x="582" y="92"/>
                  </a:lnTo>
                  <a:lnTo>
                    <a:pt x="578" y="94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4" y="98"/>
                  </a:lnTo>
                  <a:lnTo>
                    <a:pt x="572" y="102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68" y="108"/>
                  </a:lnTo>
                  <a:lnTo>
                    <a:pt x="568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4" y="112"/>
                  </a:lnTo>
                  <a:lnTo>
                    <a:pt x="562" y="112"/>
                  </a:lnTo>
                  <a:lnTo>
                    <a:pt x="560" y="112"/>
                  </a:lnTo>
                  <a:lnTo>
                    <a:pt x="560" y="112"/>
                  </a:lnTo>
                  <a:lnTo>
                    <a:pt x="558" y="114"/>
                  </a:lnTo>
                  <a:lnTo>
                    <a:pt x="558" y="114"/>
                  </a:lnTo>
                  <a:lnTo>
                    <a:pt x="558" y="116"/>
                  </a:lnTo>
                  <a:lnTo>
                    <a:pt x="558" y="118"/>
                  </a:lnTo>
                  <a:lnTo>
                    <a:pt x="560" y="120"/>
                  </a:lnTo>
                  <a:lnTo>
                    <a:pt x="560" y="120"/>
                  </a:lnTo>
                  <a:lnTo>
                    <a:pt x="558" y="120"/>
                  </a:lnTo>
                  <a:lnTo>
                    <a:pt x="554" y="122"/>
                  </a:lnTo>
                  <a:lnTo>
                    <a:pt x="552" y="122"/>
                  </a:lnTo>
                  <a:lnTo>
                    <a:pt x="552" y="122"/>
                  </a:lnTo>
                  <a:lnTo>
                    <a:pt x="550" y="122"/>
                  </a:lnTo>
                  <a:lnTo>
                    <a:pt x="550" y="122"/>
                  </a:lnTo>
                  <a:lnTo>
                    <a:pt x="550" y="122"/>
                  </a:lnTo>
                  <a:lnTo>
                    <a:pt x="548" y="124"/>
                  </a:lnTo>
                  <a:lnTo>
                    <a:pt x="546" y="128"/>
                  </a:lnTo>
                  <a:lnTo>
                    <a:pt x="546" y="128"/>
                  </a:lnTo>
                  <a:lnTo>
                    <a:pt x="544" y="128"/>
                  </a:lnTo>
                  <a:lnTo>
                    <a:pt x="544" y="134"/>
                  </a:lnTo>
                  <a:lnTo>
                    <a:pt x="542" y="138"/>
                  </a:lnTo>
                  <a:lnTo>
                    <a:pt x="542" y="144"/>
                  </a:lnTo>
                  <a:lnTo>
                    <a:pt x="542" y="154"/>
                  </a:lnTo>
                  <a:lnTo>
                    <a:pt x="540" y="158"/>
                  </a:lnTo>
                  <a:lnTo>
                    <a:pt x="540" y="162"/>
                  </a:lnTo>
                  <a:lnTo>
                    <a:pt x="540" y="162"/>
                  </a:lnTo>
                  <a:lnTo>
                    <a:pt x="540" y="166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4" y="168"/>
                  </a:lnTo>
                  <a:lnTo>
                    <a:pt x="534" y="168"/>
                  </a:lnTo>
                  <a:lnTo>
                    <a:pt x="534" y="170"/>
                  </a:lnTo>
                  <a:lnTo>
                    <a:pt x="534" y="174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2" y="176"/>
                  </a:lnTo>
                  <a:lnTo>
                    <a:pt x="532" y="176"/>
                  </a:lnTo>
                  <a:lnTo>
                    <a:pt x="530" y="176"/>
                  </a:lnTo>
                  <a:lnTo>
                    <a:pt x="530" y="176"/>
                  </a:lnTo>
                  <a:lnTo>
                    <a:pt x="528" y="176"/>
                  </a:lnTo>
                  <a:lnTo>
                    <a:pt x="528" y="176"/>
                  </a:lnTo>
                  <a:lnTo>
                    <a:pt x="528" y="176"/>
                  </a:lnTo>
                  <a:lnTo>
                    <a:pt x="526" y="176"/>
                  </a:lnTo>
                  <a:lnTo>
                    <a:pt x="526" y="178"/>
                  </a:lnTo>
                  <a:lnTo>
                    <a:pt x="526" y="178"/>
                  </a:lnTo>
                  <a:lnTo>
                    <a:pt x="526" y="178"/>
                  </a:lnTo>
                  <a:lnTo>
                    <a:pt x="526" y="180"/>
                  </a:lnTo>
                  <a:lnTo>
                    <a:pt x="526" y="180"/>
                  </a:lnTo>
                  <a:lnTo>
                    <a:pt x="526" y="180"/>
                  </a:lnTo>
                  <a:lnTo>
                    <a:pt x="526" y="182"/>
                  </a:lnTo>
                  <a:lnTo>
                    <a:pt x="526" y="184"/>
                  </a:lnTo>
                  <a:lnTo>
                    <a:pt x="526" y="186"/>
                  </a:lnTo>
                  <a:lnTo>
                    <a:pt x="524" y="188"/>
                  </a:lnTo>
                  <a:lnTo>
                    <a:pt x="522" y="192"/>
                  </a:lnTo>
                  <a:lnTo>
                    <a:pt x="520" y="194"/>
                  </a:lnTo>
                  <a:lnTo>
                    <a:pt x="518" y="196"/>
                  </a:lnTo>
                  <a:lnTo>
                    <a:pt x="516" y="198"/>
                  </a:lnTo>
                  <a:lnTo>
                    <a:pt x="514" y="198"/>
                  </a:lnTo>
                  <a:lnTo>
                    <a:pt x="514" y="198"/>
                  </a:lnTo>
                  <a:lnTo>
                    <a:pt x="514" y="198"/>
                  </a:lnTo>
                  <a:lnTo>
                    <a:pt x="512" y="200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2" y="206"/>
                  </a:lnTo>
                  <a:lnTo>
                    <a:pt x="512" y="206"/>
                  </a:lnTo>
                  <a:lnTo>
                    <a:pt x="512" y="208"/>
                  </a:lnTo>
                  <a:lnTo>
                    <a:pt x="514" y="210"/>
                  </a:lnTo>
                  <a:lnTo>
                    <a:pt x="514" y="210"/>
                  </a:lnTo>
                  <a:lnTo>
                    <a:pt x="514" y="210"/>
                  </a:lnTo>
                  <a:lnTo>
                    <a:pt x="516" y="212"/>
                  </a:lnTo>
                  <a:lnTo>
                    <a:pt x="516" y="212"/>
                  </a:lnTo>
                  <a:lnTo>
                    <a:pt x="516" y="212"/>
                  </a:lnTo>
                  <a:lnTo>
                    <a:pt x="518" y="212"/>
                  </a:lnTo>
                  <a:lnTo>
                    <a:pt x="520" y="212"/>
                  </a:lnTo>
                  <a:lnTo>
                    <a:pt x="520" y="214"/>
                  </a:lnTo>
                  <a:lnTo>
                    <a:pt x="518" y="216"/>
                  </a:lnTo>
                  <a:lnTo>
                    <a:pt x="516" y="218"/>
                  </a:lnTo>
                  <a:lnTo>
                    <a:pt x="516" y="218"/>
                  </a:lnTo>
                  <a:lnTo>
                    <a:pt x="516" y="218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2" y="226"/>
                  </a:lnTo>
                  <a:lnTo>
                    <a:pt x="508" y="226"/>
                  </a:lnTo>
                  <a:lnTo>
                    <a:pt x="506" y="226"/>
                  </a:lnTo>
                  <a:lnTo>
                    <a:pt x="500" y="228"/>
                  </a:lnTo>
                  <a:lnTo>
                    <a:pt x="500" y="228"/>
                  </a:lnTo>
                  <a:lnTo>
                    <a:pt x="498" y="230"/>
                  </a:lnTo>
                  <a:lnTo>
                    <a:pt x="498" y="232"/>
                  </a:lnTo>
                  <a:lnTo>
                    <a:pt x="500" y="234"/>
                  </a:lnTo>
                  <a:lnTo>
                    <a:pt x="500" y="236"/>
                  </a:lnTo>
                  <a:lnTo>
                    <a:pt x="500" y="240"/>
                  </a:lnTo>
                  <a:lnTo>
                    <a:pt x="500" y="240"/>
                  </a:lnTo>
                  <a:lnTo>
                    <a:pt x="500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6" y="248"/>
                  </a:lnTo>
                  <a:lnTo>
                    <a:pt x="492" y="250"/>
                  </a:lnTo>
                  <a:lnTo>
                    <a:pt x="488" y="252"/>
                  </a:lnTo>
                  <a:lnTo>
                    <a:pt x="488" y="252"/>
                  </a:lnTo>
                  <a:lnTo>
                    <a:pt x="486" y="254"/>
                  </a:lnTo>
                  <a:lnTo>
                    <a:pt x="486" y="256"/>
                  </a:lnTo>
                  <a:lnTo>
                    <a:pt x="488" y="258"/>
                  </a:lnTo>
                  <a:lnTo>
                    <a:pt x="490" y="260"/>
                  </a:lnTo>
                  <a:lnTo>
                    <a:pt x="490" y="260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4"/>
                  </a:lnTo>
                  <a:lnTo>
                    <a:pt x="496" y="266"/>
                  </a:lnTo>
                  <a:lnTo>
                    <a:pt x="496" y="268"/>
                  </a:lnTo>
                  <a:lnTo>
                    <a:pt x="494" y="268"/>
                  </a:lnTo>
                  <a:lnTo>
                    <a:pt x="494" y="268"/>
                  </a:lnTo>
                  <a:lnTo>
                    <a:pt x="494" y="268"/>
                  </a:lnTo>
                  <a:lnTo>
                    <a:pt x="492" y="270"/>
                  </a:lnTo>
                  <a:lnTo>
                    <a:pt x="492" y="270"/>
                  </a:lnTo>
                  <a:lnTo>
                    <a:pt x="492" y="270"/>
                  </a:lnTo>
                  <a:lnTo>
                    <a:pt x="490" y="270"/>
                  </a:lnTo>
                  <a:lnTo>
                    <a:pt x="490" y="270"/>
                  </a:lnTo>
                  <a:lnTo>
                    <a:pt x="490" y="272"/>
                  </a:lnTo>
                  <a:lnTo>
                    <a:pt x="488" y="274"/>
                  </a:lnTo>
                  <a:lnTo>
                    <a:pt x="488" y="274"/>
                  </a:lnTo>
                  <a:lnTo>
                    <a:pt x="488" y="274"/>
                  </a:lnTo>
                  <a:lnTo>
                    <a:pt x="486" y="276"/>
                  </a:lnTo>
                  <a:lnTo>
                    <a:pt x="486" y="278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484" y="286"/>
                  </a:lnTo>
                  <a:lnTo>
                    <a:pt x="484" y="292"/>
                  </a:lnTo>
                  <a:lnTo>
                    <a:pt x="484" y="300"/>
                  </a:lnTo>
                  <a:lnTo>
                    <a:pt x="484" y="304"/>
                  </a:lnTo>
                  <a:lnTo>
                    <a:pt x="484" y="308"/>
                  </a:lnTo>
                  <a:lnTo>
                    <a:pt x="486" y="312"/>
                  </a:lnTo>
                  <a:close/>
                  <a:moveTo>
                    <a:pt x="52" y="880"/>
                  </a:moveTo>
                  <a:lnTo>
                    <a:pt x="52" y="876"/>
                  </a:lnTo>
                  <a:lnTo>
                    <a:pt x="52" y="874"/>
                  </a:lnTo>
                  <a:lnTo>
                    <a:pt x="52" y="874"/>
                  </a:lnTo>
                  <a:lnTo>
                    <a:pt x="52" y="874"/>
                  </a:lnTo>
                  <a:lnTo>
                    <a:pt x="50" y="870"/>
                  </a:lnTo>
                  <a:lnTo>
                    <a:pt x="50" y="870"/>
                  </a:lnTo>
                  <a:lnTo>
                    <a:pt x="50" y="870"/>
                  </a:lnTo>
                  <a:lnTo>
                    <a:pt x="46" y="868"/>
                  </a:lnTo>
                  <a:lnTo>
                    <a:pt x="46" y="868"/>
                  </a:lnTo>
                  <a:lnTo>
                    <a:pt x="46" y="868"/>
                  </a:lnTo>
                  <a:lnTo>
                    <a:pt x="42" y="866"/>
                  </a:lnTo>
                  <a:lnTo>
                    <a:pt x="42" y="866"/>
                  </a:lnTo>
                  <a:lnTo>
                    <a:pt x="42" y="866"/>
                  </a:lnTo>
                  <a:lnTo>
                    <a:pt x="38" y="864"/>
                  </a:lnTo>
                  <a:lnTo>
                    <a:pt x="32" y="862"/>
                  </a:lnTo>
                  <a:lnTo>
                    <a:pt x="26" y="862"/>
                  </a:lnTo>
                  <a:lnTo>
                    <a:pt x="26" y="862"/>
                  </a:lnTo>
                  <a:lnTo>
                    <a:pt x="24" y="862"/>
                  </a:lnTo>
                  <a:lnTo>
                    <a:pt x="20" y="864"/>
                  </a:lnTo>
                  <a:lnTo>
                    <a:pt x="16" y="866"/>
                  </a:lnTo>
                  <a:lnTo>
                    <a:pt x="10" y="868"/>
                  </a:lnTo>
                  <a:lnTo>
                    <a:pt x="6" y="872"/>
                  </a:lnTo>
                  <a:lnTo>
                    <a:pt x="2" y="874"/>
                  </a:lnTo>
                  <a:lnTo>
                    <a:pt x="2" y="874"/>
                  </a:lnTo>
                  <a:lnTo>
                    <a:pt x="2" y="874"/>
                  </a:lnTo>
                  <a:lnTo>
                    <a:pt x="0" y="876"/>
                  </a:lnTo>
                  <a:lnTo>
                    <a:pt x="0" y="878"/>
                  </a:lnTo>
                  <a:lnTo>
                    <a:pt x="0" y="878"/>
                  </a:lnTo>
                  <a:lnTo>
                    <a:pt x="0" y="878"/>
                  </a:lnTo>
                  <a:lnTo>
                    <a:pt x="0" y="880"/>
                  </a:lnTo>
                  <a:lnTo>
                    <a:pt x="0" y="880"/>
                  </a:lnTo>
                  <a:lnTo>
                    <a:pt x="0" y="880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884"/>
                  </a:lnTo>
                  <a:lnTo>
                    <a:pt x="4" y="886"/>
                  </a:lnTo>
                  <a:lnTo>
                    <a:pt x="4" y="886"/>
                  </a:lnTo>
                  <a:lnTo>
                    <a:pt x="4" y="886"/>
                  </a:lnTo>
                  <a:lnTo>
                    <a:pt x="10" y="886"/>
                  </a:lnTo>
                  <a:lnTo>
                    <a:pt x="16" y="888"/>
                  </a:lnTo>
                  <a:lnTo>
                    <a:pt x="26" y="888"/>
                  </a:lnTo>
                  <a:lnTo>
                    <a:pt x="38" y="888"/>
                  </a:lnTo>
                  <a:lnTo>
                    <a:pt x="50" y="888"/>
                  </a:lnTo>
                  <a:lnTo>
                    <a:pt x="50" y="888"/>
                  </a:lnTo>
                  <a:lnTo>
                    <a:pt x="52" y="888"/>
                  </a:lnTo>
                  <a:lnTo>
                    <a:pt x="52" y="888"/>
                  </a:lnTo>
                  <a:lnTo>
                    <a:pt x="52" y="886"/>
                  </a:lnTo>
                  <a:lnTo>
                    <a:pt x="52" y="882"/>
                  </a:lnTo>
                  <a:lnTo>
                    <a:pt x="52" y="880"/>
                  </a:lnTo>
                  <a:close/>
                  <a:moveTo>
                    <a:pt x="2398" y="340"/>
                  </a:moveTo>
                  <a:lnTo>
                    <a:pt x="2398" y="340"/>
                  </a:lnTo>
                  <a:lnTo>
                    <a:pt x="2398" y="342"/>
                  </a:lnTo>
                  <a:lnTo>
                    <a:pt x="2398" y="342"/>
                  </a:lnTo>
                  <a:lnTo>
                    <a:pt x="2398" y="342"/>
                  </a:lnTo>
                  <a:lnTo>
                    <a:pt x="2398" y="344"/>
                  </a:lnTo>
                  <a:lnTo>
                    <a:pt x="2400" y="346"/>
                  </a:lnTo>
                  <a:lnTo>
                    <a:pt x="2400" y="346"/>
                  </a:lnTo>
                  <a:lnTo>
                    <a:pt x="2402" y="346"/>
                  </a:lnTo>
                  <a:lnTo>
                    <a:pt x="2402" y="346"/>
                  </a:lnTo>
                  <a:lnTo>
                    <a:pt x="2402" y="346"/>
                  </a:lnTo>
                  <a:lnTo>
                    <a:pt x="2404" y="346"/>
                  </a:lnTo>
                  <a:lnTo>
                    <a:pt x="2406" y="348"/>
                  </a:lnTo>
                  <a:lnTo>
                    <a:pt x="2410" y="348"/>
                  </a:lnTo>
                  <a:lnTo>
                    <a:pt x="2414" y="348"/>
                  </a:lnTo>
                  <a:lnTo>
                    <a:pt x="2420" y="346"/>
                  </a:lnTo>
                  <a:lnTo>
                    <a:pt x="2422" y="346"/>
                  </a:lnTo>
                  <a:lnTo>
                    <a:pt x="2426" y="346"/>
                  </a:lnTo>
                  <a:lnTo>
                    <a:pt x="2428" y="344"/>
                  </a:lnTo>
                  <a:lnTo>
                    <a:pt x="2428" y="344"/>
                  </a:lnTo>
                  <a:lnTo>
                    <a:pt x="2430" y="344"/>
                  </a:lnTo>
                  <a:lnTo>
                    <a:pt x="2432" y="342"/>
                  </a:lnTo>
                  <a:lnTo>
                    <a:pt x="2434" y="342"/>
                  </a:lnTo>
                  <a:lnTo>
                    <a:pt x="2438" y="340"/>
                  </a:lnTo>
                  <a:lnTo>
                    <a:pt x="2436" y="340"/>
                  </a:lnTo>
                  <a:lnTo>
                    <a:pt x="2438" y="338"/>
                  </a:lnTo>
                  <a:lnTo>
                    <a:pt x="2440" y="338"/>
                  </a:lnTo>
                  <a:lnTo>
                    <a:pt x="2446" y="336"/>
                  </a:lnTo>
                  <a:lnTo>
                    <a:pt x="2448" y="334"/>
                  </a:lnTo>
                  <a:lnTo>
                    <a:pt x="2450" y="334"/>
                  </a:lnTo>
                  <a:lnTo>
                    <a:pt x="2450" y="334"/>
                  </a:lnTo>
                  <a:lnTo>
                    <a:pt x="2452" y="334"/>
                  </a:lnTo>
                  <a:lnTo>
                    <a:pt x="2452" y="332"/>
                  </a:lnTo>
                  <a:lnTo>
                    <a:pt x="2452" y="332"/>
                  </a:lnTo>
                  <a:lnTo>
                    <a:pt x="2454" y="332"/>
                  </a:lnTo>
                  <a:lnTo>
                    <a:pt x="2454" y="330"/>
                  </a:lnTo>
                  <a:lnTo>
                    <a:pt x="2454" y="330"/>
                  </a:lnTo>
                  <a:lnTo>
                    <a:pt x="2454" y="330"/>
                  </a:lnTo>
                  <a:lnTo>
                    <a:pt x="2454" y="328"/>
                  </a:lnTo>
                  <a:lnTo>
                    <a:pt x="2454" y="328"/>
                  </a:lnTo>
                  <a:lnTo>
                    <a:pt x="2454" y="328"/>
                  </a:lnTo>
                  <a:lnTo>
                    <a:pt x="2454" y="326"/>
                  </a:lnTo>
                  <a:lnTo>
                    <a:pt x="2454" y="326"/>
                  </a:lnTo>
                  <a:lnTo>
                    <a:pt x="2454" y="324"/>
                  </a:lnTo>
                  <a:lnTo>
                    <a:pt x="2454" y="322"/>
                  </a:lnTo>
                  <a:lnTo>
                    <a:pt x="2454" y="322"/>
                  </a:lnTo>
                  <a:lnTo>
                    <a:pt x="2452" y="320"/>
                  </a:lnTo>
                  <a:lnTo>
                    <a:pt x="2450" y="318"/>
                  </a:lnTo>
                  <a:lnTo>
                    <a:pt x="2450" y="318"/>
                  </a:lnTo>
                  <a:lnTo>
                    <a:pt x="2450" y="316"/>
                  </a:lnTo>
                  <a:lnTo>
                    <a:pt x="2448" y="316"/>
                  </a:lnTo>
                  <a:lnTo>
                    <a:pt x="2446" y="314"/>
                  </a:lnTo>
                  <a:lnTo>
                    <a:pt x="2446" y="314"/>
                  </a:lnTo>
                  <a:lnTo>
                    <a:pt x="2446" y="314"/>
                  </a:lnTo>
                  <a:lnTo>
                    <a:pt x="2444" y="312"/>
                  </a:lnTo>
                  <a:lnTo>
                    <a:pt x="2442" y="310"/>
                  </a:lnTo>
                  <a:lnTo>
                    <a:pt x="2438" y="310"/>
                  </a:lnTo>
                  <a:lnTo>
                    <a:pt x="2436" y="308"/>
                  </a:lnTo>
                  <a:lnTo>
                    <a:pt x="2432" y="308"/>
                  </a:lnTo>
                  <a:lnTo>
                    <a:pt x="2428" y="306"/>
                  </a:lnTo>
                  <a:lnTo>
                    <a:pt x="2428" y="306"/>
                  </a:lnTo>
                  <a:lnTo>
                    <a:pt x="2428" y="306"/>
                  </a:lnTo>
                  <a:lnTo>
                    <a:pt x="2424" y="306"/>
                  </a:lnTo>
                  <a:lnTo>
                    <a:pt x="2422" y="306"/>
                  </a:lnTo>
                  <a:lnTo>
                    <a:pt x="2422" y="306"/>
                  </a:lnTo>
                  <a:lnTo>
                    <a:pt x="2420" y="308"/>
                  </a:lnTo>
                  <a:lnTo>
                    <a:pt x="2418" y="308"/>
                  </a:lnTo>
                  <a:lnTo>
                    <a:pt x="2418" y="308"/>
                  </a:lnTo>
                  <a:lnTo>
                    <a:pt x="2418" y="308"/>
                  </a:lnTo>
                  <a:lnTo>
                    <a:pt x="2414" y="310"/>
                  </a:lnTo>
                  <a:lnTo>
                    <a:pt x="2412" y="312"/>
                  </a:lnTo>
                  <a:lnTo>
                    <a:pt x="2408" y="314"/>
                  </a:lnTo>
                  <a:lnTo>
                    <a:pt x="2406" y="318"/>
                  </a:lnTo>
                  <a:lnTo>
                    <a:pt x="2404" y="320"/>
                  </a:lnTo>
                  <a:lnTo>
                    <a:pt x="2402" y="322"/>
                  </a:lnTo>
                  <a:lnTo>
                    <a:pt x="2400" y="324"/>
                  </a:lnTo>
                  <a:lnTo>
                    <a:pt x="2398" y="326"/>
                  </a:lnTo>
                  <a:lnTo>
                    <a:pt x="2398" y="330"/>
                  </a:lnTo>
                  <a:lnTo>
                    <a:pt x="2398" y="330"/>
                  </a:lnTo>
                  <a:lnTo>
                    <a:pt x="2398" y="330"/>
                  </a:lnTo>
                  <a:lnTo>
                    <a:pt x="2396" y="334"/>
                  </a:lnTo>
                  <a:lnTo>
                    <a:pt x="2396" y="336"/>
                  </a:lnTo>
                  <a:lnTo>
                    <a:pt x="2396" y="338"/>
                  </a:lnTo>
                  <a:lnTo>
                    <a:pt x="2398" y="340"/>
                  </a:lnTo>
                  <a:close/>
                  <a:moveTo>
                    <a:pt x="2568" y="530"/>
                  </a:moveTo>
                  <a:lnTo>
                    <a:pt x="2568" y="530"/>
                  </a:lnTo>
                  <a:lnTo>
                    <a:pt x="2566" y="530"/>
                  </a:lnTo>
                  <a:lnTo>
                    <a:pt x="2566" y="528"/>
                  </a:lnTo>
                  <a:lnTo>
                    <a:pt x="2566" y="528"/>
                  </a:lnTo>
                  <a:lnTo>
                    <a:pt x="2566" y="528"/>
                  </a:lnTo>
                  <a:lnTo>
                    <a:pt x="2564" y="526"/>
                  </a:lnTo>
                  <a:lnTo>
                    <a:pt x="2564" y="526"/>
                  </a:lnTo>
                  <a:lnTo>
                    <a:pt x="2562" y="526"/>
                  </a:lnTo>
                  <a:lnTo>
                    <a:pt x="2560" y="524"/>
                  </a:lnTo>
                  <a:lnTo>
                    <a:pt x="2558" y="522"/>
                  </a:lnTo>
                  <a:lnTo>
                    <a:pt x="2554" y="520"/>
                  </a:lnTo>
                  <a:lnTo>
                    <a:pt x="2552" y="520"/>
                  </a:lnTo>
                  <a:lnTo>
                    <a:pt x="2550" y="518"/>
                  </a:lnTo>
                  <a:lnTo>
                    <a:pt x="2550" y="518"/>
                  </a:lnTo>
                  <a:lnTo>
                    <a:pt x="2550" y="516"/>
                  </a:lnTo>
                  <a:lnTo>
                    <a:pt x="2548" y="514"/>
                  </a:lnTo>
                  <a:lnTo>
                    <a:pt x="2548" y="516"/>
                  </a:lnTo>
                  <a:lnTo>
                    <a:pt x="2548" y="512"/>
                  </a:lnTo>
                  <a:lnTo>
                    <a:pt x="2548" y="508"/>
                  </a:lnTo>
                  <a:lnTo>
                    <a:pt x="2548" y="506"/>
                  </a:lnTo>
                  <a:lnTo>
                    <a:pt x="2548" y="506"/>
                  </a:lnTo>
                  <a:lnTo>
                    <a:pt x="2548" y="506"/>
                  </a:lnTo>
                  <a:lnTo>
                    <a:pt x="2546" y="504"/>
                  </a:lnTo>
                  <a:lnTo>
                    <a:pt x="2546" y="504"/>
                  </a:lnTo>
                  <a:lnTo>
                    <a:pt x="2546" y="504"/>
                  </a:lnTo>
                  <a:lnTo>
                    <a:pt x="2546" y="502"/>
                  </a:lnTo>
                  <a:lnTo>
                    <a:pt x="2546" y="502"/>
                  </a:lnTo>
                  <a:lnTo>
                    <a:pt x="2544" y="502"/>
                  </a:lnTo>
                  <a:lnTo>
                    <a:pt x="2542" y="500"/>
                  </a:lnTo>
                  <a:lnTo>
                    <a:pt x="2542" y="500"/>
                  </a:lnTo>
                  <a:lnTo>
                    <a:pt x="2542" y="498"/>
                  </a:lnTo>
                  <a:lnTo>
                    <a:pt x="2538" y="498"/>
                  </a:lnTo>
                  <a:lnTo>
                    <a:pt x="2538" y="498"/>
                  </a:lnTo>
                  <a:lnTo>
                    <a:pt x="2538" y="498"/>
                  </a:lnTo>
                  <a:lnTo>
                    <a:pt x="2536" y="496"/>
                  </a:lnTo>
                  <a:lnTo>
                    <a:pt x="2534" y="496"/>
                  </a:lnTo>
                  <a:lnTo>
                    <a:pt x="2530" y="496"/>
                  </a:lnTo>
                  <a:lnTo>
                    <a:pt x="2528" y="496"/>
                  </a:lnTo>
                  <a:lnTo>
                    <a:pt x="2524" y="496"/>
                  </a:lnTo>
                  <a:lnTo>
                    <a:pt x="2520" y="496"/>
                  </a:lnTo>
                  <a:lnTo>
                    <a:pt x="2516" y="496"/>
                  </a:lnTo>
                  <a:lnTo>
                    <a:pt x="2512" y="498"/>
                  </a:lnTo>
                  <a:lnTo>
                    <a:pt x="2508" y="498"/>
                  </a:lnTo>
                  <a:lnTo>
                    <a:pt x="2508" y="498"/>
                  </a:lnTo>
                  <a:lnTo>
                    <a:pt x="2508" y="498"/>
                  </a:lnTo>
                  <a:lnTo>
                    <a:pt x="2506" y="498"/>
                  </a:lnTo>
                  <a:lnTo>
                    <a:pt x="2506" y="498"/>
                  </a:lnTo>
                  <a:lnTo>
                    <a:pt x="2506" y="500"/>
                  </a:lnTo>
                  <a:lnTo>
                    <a:pt x="2504" y="500"/>
                  </a:lnTo>
                  <a:lnTo>
                    <a:pt x="2504" y="500"/>
                  </a:lnTo>
                  <a:lnTo>
                    <a:pt x="2504" y="502"/>
                  </a:lnTo>
                  <a:lnTo>
                    <a:pt x="2502" y="502"/>
                  </a:lnTo>
                  <a:lnTo>
                    <a:pt x="2502" y="502"/>
                  </a:lnTo>
                  <a:lnTo>
                    <a:pt x="2502" y="504"/>
                  </a:lnTo>
                  <a:lnTo>
                    <a:pt x="2502" y="504"/>
                  </a:lnTo>
                  <a:lnTo>
                    <a:pt x="2502" y="504"/>
                  </a:lnTo>
                  <a:lnTo>
                    <a:pt x="2502" y="506"/>
                  </a:lnTo>
                  <a:lnTo>
                    <a:pt x="2502" y="508"/>
                  </a:lnTo>
                  <a:lnTo>
                    <a:pt x="2504" y="510"/>
                  </a:lnTo>
                  <a:lnTo>
                    <a:pt x="2504" y="512"/>
                  </a:lnTo>
                  <a:lnTo>
                    <a:pt x="2504" y="514"/>
                  </a:lnTo>
                  <a:lnTo>
                    <a:pt x="2504" y="516"/>
                  </a:lnTo>
                  <a:lnTo>
                    <a:pt x="2504" y="518"/>
                  </a:lnTo>
                  <a:lnTo>
                    <a:pt x="2504" y="522"/>
                  </a:lnTo>
                  <a:lnTo>
                    <a:pt x="2504" y="522"/>
                  </a:lnTo>
                  <a:lnTo>
                    <a:pt x="2504" y="522"/>
                  </a:lnTo>
                  <a:lnTo>
                    <a:pt x="2502" y="520"/>
                  </a:lnTo>
                  <a:lnTo>
                    <a:pt x="2498" y="518"/>
                  </a:lnTo>
                  <a:lnTo>
                    <a:pt x="2498" y="516"/>
                  </a:lnTo>
                  <a:lnTo>
                    <a:pt x="2496" y="514"/>
                  </a:lnTo>
                  <a:lnTo>
                    <a:pt x="2496" y="516"/>
                  </a:lnTo>
                  <a:lnTo>
                    <a:pt x="2496" y="514"/>
                  </a:lnTo>
                  <a:lnTo>
                    <a:pt x="2496" y="514"/>
                  </a:lnTo>
                  <a:lnTo>
                    <a:pt x="2496" y="512"/>
                  </a:lnTo>
                  <a:lnTo>
                    <a:pt x="2496" y="508"/>
                  </a:lnTo>
                  <a:lnTo>
                    <a:pt x="2498" y="504"/>
                  </a:lnTo>
                  <a:lnTo>
                    <a:pt x="2498" y="504"/>
                  </a:lnTo>
                  <a:lnTo>
                    <a:pt x="2498" y="504"/>
                  </a:lnTo>
                  <a:lnTo>
                    <a:pt x="2498" y="502"/>
                  </a:lnTo>
                  <a:lnTo>
                    <a:pt x="2500" y="500"/>
                  </a:lnTo>
                  <a:lnTo>
                    <a:pt x="2500" y="500"/>
                  </a:lnTo>
                  <a:lnTo>
                    <a:pt x="2500" y="500"/>
                  </a:lnTo>
                  <a:lnTo>
                    <a:pt x="2500" y="498"/>
                  </a:lnTo>
                  <a:lnTo>
                    <a:pt x="2502" y="496"/>
                  </a:lnTo>
                  <a:lnTo>
                    <a:pt x="2502" y="496"/>
                  </a:lnTo>
                  <a:lnTo>
                    <a:pt x="2502" y="496"/>
                  </a:lnTo>
                  <a:lnTo>
                    <a:pt x="2502" y="494"/>
                  </a:lnTo>
                  <a:lnTo>
                    <a:pt x="2502" y="494"/>
                  </a:lnTo>
                  <a:lnTo>
                    <a:pt x="2502" y="492"/>
                  </a:lnTo>
                  <a:lnTo>
                    <a:pt x="2502" y="490"/>
                  </a:lnTo>
                  <a:lnTo>
                    <a:pt x="2500" y="490"/>
                  </a:lnTo>
                  <a:lnTo>
                    <a:pt x="2500" y="488"/>
                  </a:lnTo>
                  <a:lnTo>
                    <a:pt x="2498" y="486"/>
                  </a:lnTo>
                  <a:lnTo>
                    <a:pt x="2496" y="484"/>
                  </a:lnTo>
                  <a:lnTo>
                    <a:pt x="2492" y="480"/>
                  </a:lnTo>
                  <a:lnTo>
                    <a:pt x="2490" y="478"/>
                  </a:lnTo>
                  <a:lnTo>
                    <a:pt x="2486" y="476"/>
                  </a:lnTo>
                  <a:lnTo>
                    <a:pt x="2480" y="470"/>
                  </a:lnTo>
                  <a:lnTo>
                    <a:pt x="2472" y="464"/>
                  </a:lnTo>
                  <a:lnTo>
                    <a:pt x="2462" y="456"/>
                  </a:lnTo>
                  <a:lnTo>
                    <a:pt x="2454" y="450"/>
                  </a:lnTo>
                  <a:lnTo>
                    <a:pt x="2448" y="446"/>
                  </a:lnTo>
                  <a:lnTo>
                    <a:pt x="2444" y="442"/>
                  </a:lnTo>
                  <a:lnTo>
                    <a:pt x="2442" y="440"/>
                  </a:lnTo>
                  <a:lnTo>
                    <a:pt x="2438" y="436"/>
                  </a:lnTo>
                  <a:lnTo>
                    <a:pt x="2434" y="432"/>
                  </a:lnTo>
                  <a:lnTo>
                    <a:pt x="2432" y="430"/>
                  </a:lnTo>
                  <a:lnTo>
                    <a:pt x="2430" y="426"/>
                  </a:lnTo>
                  <a:lnTo>
                    <a:pt x="2424" y="420"/>
                  </a:lnTo>
                  <a:lnTo>
                    <a:pt x="2422" y="418"/>
                  </a:lnTo>
                  <a:lnTo>
                    <a:pt x="2418" y="414"/>
                  </a:lnTo>
                  <a:lnTo>
                    <a:pt x="2414" y="412"/>
                  </a:lnTo>
                  <a:lnTo>
                    <a:pt x="2408" y="410"/>
                  </a:lnTo>
                  <a:lnTo>
                    <a:pt x="2398" y="404"/>
                  </a:lnTo>
                  <a:lnTo>
                    <a:pt x="2392" y="402"/>
                  </a:lnTo>
                  <a:lnTo>
                    <a:pt x="2388" y="398"/>
                  </a:lnTo>
                  <a:lnTo>
                    <a:pt x="2384" y="396"/>
                  </a:lnTo>
                  <a:lnTo>
                    <a:pt x="2380" y="394"/>
                  </a:lnTo>
                  <a:lnTo>
                    <a:pt x="2376" y="394"/>
                  </a:lnTo>
                  <a:lnTo>
                    <a:pt x="2374" y="392"/>
                  </a:lnTo>
                  <a:lnTo>
                    <a:pt x="2372" y="392"/>
                  </a:lnTo>
                  <a:lnTo>
                    <a:pt x="2370" y="390"/>
                  </a:lnTo>
                  <a:lnTo>
                    <a:pt x="2368" y="388"/>
                  </a:lnTo>
                  <a:lnTo>
                    <a:pt x="2368" y="388"/>
                  </a:lnTo>
                  <a:lnTo>
                    <a:pt x="2368" y="388"/>
                  </a:lnTo>
                  <a:lnTo>
                    <a:pt x="2366" y="388"/>
                  </a:lnTo>
                  <a:lnTo>
                    <a:pt x="2364" y="388"/>
                  </a:lnTo>
                  <a:lnTo>
                    <a:pt x="2364" y="388"/>
                  </a:lnTo>
                  <a:lnTo>
                    <a:pt x="2358" y="388"/>
                  </a:lnTo>
                  <a:lnTo>
                    <a:pt x="2352" y="388"/>
                  </a:lnTo>
                  <a:lnTo>
                    <a:pt x="2348" y="388"/>
                  </a:lnTo>
                  <a:lnTo>
                    <a:pt x="2342" y="388"/>
                  </a:lnTo>
                  <a:lnTo>
                    <a:pt x="2340" y="388"/>
                  </a:lnTo>
                  <a:lnTo>
                    <a:pt x="2336" y="386"/>
                  </a:lnTo>
                  <a:lnTo>
                    <a:pt x="2330" y="386"/>
                  </a:lnTo>
                  <a:lnTo>
                    <a:pt x="2324" y="384"/>
                  </a:lnTo>
                  <a:lnTo>
                    <a:pt x="2322" y="384"/>
                  </a:lnTo>
                  <a:lnTo>
                    <a:pt x="2318" y="382"/>
                  </a:lnTo>
                  <a:lnTo>
                    <a:pt x="2316" y="382"/>
                  </a:lnTo>
                  <a:lnTo>
                    <a:pt x="2316" y="382"/>
                  </a:lnTo>
                  <a:lnTo>
                    <a:pt x="2312" y="382"/>
                  </a:lnTo>
                  <a:lnTo>
                    <a:pt x="2310" y="380"/>
                  </a:lnTo>
                  <a:lnTo>
                    <a:pt x="2308" y="380"/>
                  </a:lnTo>
                  <a:lnTo>
                    <a:pt x="2306" y="380"/>
                  </a:lnTo>
                  <a:lnTo>
                    <a:pt x="2304" y="380"/>
                  </a:lnTo>
                  <a:lnTo>
                    <a:pt x="2300" y="378"/>
                  </a:lnTo>
                  <a:lnTo>
                    <a:pt x="2294" y="376"/>
                  </a:lnTo>
                  <a:lnTo>
                    <a:pt x="2290" y="376"/>
                  </a:lnTo>
                  <a:lnTo>
                    <a:pt x="2288" y="376"/>
                  </a:lnTo>
                  <a:lnTo>
                    <a:pt x="2286" y="376"/>
                  </a:lnTo>
                  <a:lnTo>
                    <a:pt x="2284" y="376"/>
                  </a:lnTo>
                  <a:lnTo>
                    <a:pt x="2282" y="376"/>
                  </a:lnTo>
                  <a:lnTo>
                    <a:pt x="2282" y="376"/>
                  </a:lnTo>
                  <a:lnTo>
                    <a:pt x="2282" y="376"/>
                  </a:lnTo>
                  <a:lnTo>
                    <a:pt x="2280" y="376"/>
                  </a:lnTo>
                  <a:lnTo>
                    <a:pt x="2280" y="376"/>
                  </a:lnTo>
                  <a:lnTo>
                    <a:pt x="2280" y="376"/>
                  </a:lnTo>
                  <a:lnTo>
                    <a:pt x="2278" y="378"/>
                  </a:lnTo>
                  <a:lnTo>
                    <a:pt x="2278" y="378"/>
                  </a:lnTo>
                  <a:lnTo>
                    <a:pt x="2278" y="378"/>
                  </a:lnTo>
                  <a:lnTo>
                    <a:pt x="2276" y="382"/>
                  </a:lnTo>
                  <a:lnTo>
                    <a:pt x="2276" y="382"/>
                  </a:lnTo>
                  <a:lnTo>
                    <a:pt x="2276" y="382"/>
                  </a:lnTo>
                  <a:lnTo>
                    <a:pt x="2274" y="386"/>
                  </a:lnTo>
                  <a:lnTo>
                    <a:pt x="2274" y="386"/>
                  </a:lnTo>
                  <a:lnTo>
                    <a:pt x="2274" y="392"/>
                  </a:lnTo>
                  <a:lnTo>
                    <a:pt x="2274" y="392"/>
                  </a:lnTo>
                  <a:lnTo>
                    <a:pt x="2274" y="392"/>
                  </a:lnTo>
                  <a:lnTo>
                    <a:pt x="2274" y="394"/>
                  </a:lnTo>
                  <a:lnTo>
                    <a:pt x="2274" y="394"/>
                  </a:lnTo>
                  <a:lnTo>
                    <a:pt x="2276" y="396"/>
                  </a:lnTo>
                  <a:lnTo>
                    <a:pt x="2276" y="400"/>
                  </a:lnTo>
                  <a:lnTo>
                    <a:pt x="2278" y="404"/>
                  </a:lnTo>
                  <a:lnTo>
                    <a:pt x="2280" y="408"/>
                  </a:lnTo>
                  <a:lnTo>
                    <a:pt x="2282" y="412"/>
                  </a:lnTo>
                  <a:lnTo>
                    <a:pt x="2282" y="416"/>
                  </a:lnTo>
                  <a:lnTo>
                    <a:pt x="2284" y="420"/>
                  </a:lnTo>
                  <a:lnTo>
                    <a:pt x="2284" y="420"/>
                  </a:lnTo>
                  <a:lnTo>
                    <a:pt x="2284" y="420"/>
                  </a:lnTo>
                  <a:lnTo>
                    <a:pt x="2282" y="420"/>
                  </a:lnTo>
                  <a:lnTo>
                    <a:pt x="2280" y="420"/>
                  </a:lnTo>
                  <a:lnTo>
                    <a:pt x="2276" y="420"/>
                  </a:lnTo>
                  <a:lnTo>
                    <a:pt x="2272" y="420"/>
                  </a:lnTo>
                  <a:lnTo>
                    <a:pt x="2268" y="418"/>
                  </a:lnTo>
                  <a:lnTo>
                    <a:pt x="2266" y="418"/>
                  </a:lnTo>
                  <a:lnTo>
                    <a:pt x="2262" y="418"/>
                  </a:lnTo>
                  <a:lnTo>
                    <a:pt x="2258" y="416"/>
                  </a:lnTo>
                  <a:lnTo>
                    <a:pt x="2254" y="416"/>
                  </a:lnTo>
                  <a:lnTo>
                    <a:pt x="2250" y="414"/>
                  </a:lnTo>
                  <a:lnTo>
                    <a:pt x="2252" y="416"/>
                  </a:lnTo>
                  <a:lnTo>
                    <a:pt x="2250" y="414"/>
                  </a:lnTo>
                  <a:lnTo>
                    <a:pt x="2250" y="414"/>
                  </a:lnTo>
                  <a:lnTo>
                    <a:pt x="2248" y="412"/>
                  </a:lnTo>
                  <a:lnTo>
                    <a:pt x="2248" y="410"/>
                  </a:lnTo>
                  <a:lnTo>
                    <a:pt x="2248" y="408"/>
                  </a:lnTo>
                  <a:lnTo>
                    <a:pt x="2246" y="404"/>
                  </a:lnTo>
                  <a:lnTo>
                    <a:pt x="2246" y="402"/>
                  </a:lnTo>
                  <a:lnTo>
                    <a:pt x="2246" y="398"/>
                  </a:lnTo>
                  <a:lnTo>
                    <a:pt x="2246" y="400"/>
                  </a:lnTo>
                  <a:lnTo>
                    <a:pt x="2248" y="398"/>
                  </a:lnTo>
                  <a:lnTo>
                    <a:pt x="2248" y="396"/>
                  </a:lnTo>
                  <a:lnTo>
                    <a:pt x="2248" y="396"/>
                  </a:lnTo>
                  <a:lnTo>
                    <a:pt x="2250" y="394"/>
                  </a:lnTo>
                  <a:lnTo>
                    <a:pt x="2252" y="394"/>
                  </a:lnTo>
                  <a:lnTo>
                    <a:pt x="2256" y="394"/>
                  </a:lnTo>
                  <a:lnTo>
                    <a:pt x="2258" y="394"/>
                  </a:lnTo>
                  <a:lnTo>
                    <a:pt x="2262" y="392"/>
                  </a:lnTo>
                  <a:lnTo>
                    <a:pt x="2264" y="392"/>
                  </a:lnTo>
                  <a:lnTo>
                    <a:pt x="2264" y="392"/>
                  </a:lnTo>
                  <a:lnTo>
                    <a:pt x="2264" y="392"/>
                  </a:lnTo>
                  <a:lnTo>
                    <a:pt x="2266" y="390"/>
                  </a:lnTo>
                  <a:lnTo>
                    <a:pt x="2266" y="390"/>
                  </a:lnTo>
                  <a:lnTo>
                    <a:pt x="2266" y="388"/>
                  </a:lnTo>
                  <a:lnTo>
                    <a:pt x="2266" y="386"/>
                  </a:lnTo>
                  <a:lnTo>
                    <a:pt x="2266" y="386"/>
                  </a:lnTo>
                  <a:lnTo>
                    <a:pt x="2264" y="386"/>
                  </a:lnTo>
                  <a:lnTo>
                    <a:pt x="2264" y="384"/>
                  </a:lnTo>
                  <a:lnTo>
                    <a:pt x="2262" y="382"/>
                  </a:lnTo>
                  <a:lnTo>
                    <a:pt x="2258" y="380"/>
                  </a:lnTo>
                  <a:lnTo>
                    <a:pt x="2256" y="378"/>
                  </a:lnTo>
                  <a:lnTo>
                    <a:pt x="2254" y="378"/>
                  </a:lnTo>
                  <a:lnTo>
                    <a:pt x="2254" y="378"/>
                  </a:lnTo>
                  <a:lnTo>
                    <a:pt x="2254" y="378"/>
                  </a:lnTo>
                  <a:lnTo>
                    <a:pt x="2250" y="376"/>
                  </a:lnTo>
                  <a:lnTo>
                    <a:pt x="2250" y="376"/>
                  </a:lnTo>
                  <a:lnTo>
                    <a:pt x="2250" y="376"/>
                  </a:lnTo>
                  <a:lnTo>
                    <a:pt x="2248" y="376"/>
                  </a:lnTo>
                  <a:lnTo>
                    <a:pt x="2248" y="376"/>
                  </a:lnTo>
                  <a:lnTo>
                    <a:pt x="2248" y="376"/>
                  </a:lnTo>
                  <a:lnTo>
                    <a:pt x="2246" y="378"/>
                  </a:lnTo>
                  <a:lnTo>
                    <a:pt x="2246" y="378"/>
                  </a:lnTo>
                  <a:lnTo>
                    <a:pt x="2244" y="378"/>
                  </a:lnTo>
                  <a:lnTo>
                    <a:pt x="2244" y="380"/>
                  </a:lnTo>
                  <a:lnTo>
                    <a:pt x="2244" y="380"/>
                  </a:lnTo>
                  <a:lnTo>
                    <a:pt x="2244" y="380"/>
                  </a:lnTo>
                  <a:lnTo>
                    <a:pt x="2242" y="382"/>
                  </a:lnTo>
                  <a:lnTo>
                    <a:pt x="2240" y="386"/>
                  </a:lnTo>
                  <a:lnTo>
                    <a:pt x="2238" y="390"/>
                  </a:lnTo>
                  <a:lnTo>
                    <a:pt x="2236" y="392"/>
                  </a:lnTo>
                  <a:lnTo>
                    <a:pt x="2234" y="394"/>
                  </a:lnTo>
                  <a:lnTo>
                    <a:pt x="2230" y="398"/>
                  </a:lnTo>
                  <a:lnTo>
                    <a:pt x="2230" y="400"/>
                  </a:lnTo>
                  <a:lnTo>
                    <a:pt x="2228" y="402"/>
                  </a:lnTo>
                  <a:lnTo>
                    <a:pt x="2226" y="402"/>
                  </a:lnTo>
                  <a:lnTo>
                    <a:pt x="2226" y="402"/>
                  </a:lnTo>
                  <a:lnTo>
                    <a:pt x="2226" y="402"/>
                  </a:lnTo>
                  <a:lnTo>
                    <a:pt x="2224" y="402"/>
                  </a:lnTo>
                  <a:lnTo>
                    <a:pt x="2224" y="402"/>
                  </a:lnTo>
                  <a:lnTo>
                    <a:pt x="2222" y="400"/>
                  </a:lnTo>
                  <a:lnTo>
                    <a:pt x="2220" y="398"/>
                  </a:lnTo>
                  <a:lnTo>
                    <a:pt x="2220" y="398"/>
                  </a:lnTo>
                  <a:lnTo>
                    <a:pt x="2220" y="398"/>
                  </a:lnTo>
                  <a:lnTo>
                    <a:pt x="2218" y="398"/>
                  </a:lnTo>
                  <a:lnTo>
                    <a:pt x="2218" y="398"/>
                  </a:lnTo>
                  <a:lnTo>
                    <a:pt x="2216" y="398"/>
                  </a:lnTo>
                  <a:lnTo>
                    <a:pt x="2216" y="396"/>
                  </a:lnTo>
                  <a:lnTo>
                    <a:pt x="2216" y="396"/>
                  </a:lnTo>
                  <a:lnTo>
                    <a:pt x="2214" y="396"/>
                  </a:lnTo>
                  <a:lnTo>
                    <a:pt x="2212" y="396"/>
                  </a:lnTo>
                  <a:lnTo>
                    <a:pt x="2210" y="396"/>
                  </a:lnTo>
                  <a:lnTo>
                    <a:pt x="2204" y="398"/>
                  </a:lnTo>
                  <a:lnTo>
                    <a:pt x="2198" y="398"/>
                  </a:lnTo>
                  <a:lnTo>
                    <a:pt x="2196" y="398"/>
                  </a:lnTo>
                  <a:lnTo>
                    <a:pt x="2194" y="398"/>
                  </a:lnTo>
                  <a:lnTo>
                    <a:pt x="2194" y="398"/>
                  </a:lnTo>
                  <a:lnTo>
                    <a:pt x="2192" y="396"/>
                  </a:lnTo>
                  <a:lnTo>
                    <a:pt x="2192" y="394"/>
                  </a:lnTo>
                  <a:lnTo>
                    <a:pt x="2190" y="390"/>
                  </a:lnTo>
                  <a:lnTo>
                    <a:pt x="2190" y="390"/>
                  </a:lnTo>
                  <a:lnTo>
                    <a:pt x="2190" y="390"/>
                  </a:lnTo>
                  <a:lnTo>
                    <a:pt x="2188" y="390"/>
                  </a:lnTo>
                  <a:lnTo>
                    <a:pt x="2188" y="390"/>
                  </a:lnTo>
                  <a:lnTo>
                    <a:pt x="2186" y="388"/>
                  </a:lnTo>
                  <a:lnTo>
                    <a:pt x="2186" y="388"/>
                  </a:lnTo>
                  <a:lnTo>
                    <a:pt x="2186" y="388"/>
                  </a:lnTo>
                  <a:lnTo>
                    <a:pt x="2184" y="388"/>
                  </a:lnTo>
                  <a:lnTo>
                    <a:pt x="2182" y="388"/>
                  </a:lnTo>
                  <a:lnTo>
                    <a:pt x="2178" y="388"/>
                  </a:lnTo>
                  <a:lnTo>
                    <a:pt x="2176" y="388"/>
                  </a:lnTo>
                  <a:lnTo>
                    <a:pt x="2172" y="388"/>
                  </a:lnTo>
                  <a:lnTo>
                    <a:pt x="2164" y="388"/>
                  </a:lnTo>
                  <a:lnTo>
                    <a:pt x="2162" y="388"/>
                  </a:lnTo>
                  <a:lnTo>
                    <a:pt x="2158" y="388"/>
                  </a:lnTo>
                  <a:lnTo>
                    <a:pt x="2156" y="390"/>
                  </a:lnTo>
                  <a:lnTo>
                    <a:pt x="2154" y="390"/>
                  </a:lnTo>
                  <a:lnTo>
                    <a:pt x="2154" y="390"/>
                  </a:lnTo>
                  <a:lnTo>
                    <a:pt x="2154" y="390"/>
                  </a:lnTo>
                  <a:lnTo>
                    <a:pt x="2150" y="392"/>
                  </a:lnTo>
                  <a:lnTo>
                    <a:pt x="2150" y="392"/>
                  </a:lnTo>
                  <a:lnTo>
                    <a:pt x="2150" y="392"/>
                  </a:lnTo>
                  <a:lnTo>
                    <a:pt x="2148" y="394"/>
                  </a:lnTo>
                  <a:lnTo>
                    <a:pt x="2144" y="398"/>
                  </a:lnTo>
                  <a:lnTo>
                    <a:pt x="2144" y="400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0" y="402"/>
                  </a:lnTo>
                  <a:lnTo>
                    <a:pt x="2140" y="400"/>
                  </a:lnTo>
                  <a:lnTo>
                    <a:pt x="2140" y="400"/>
                  </a:lnTo>
                  <a:lnTo>
                    <a:pt x="2140" y="400"/>
                  </a:lnTo>
                  <a:lnTo>
                    <a:pt x="2138" y="398"/>
                  </a:lnTo>
                  <a:lnTo>
                    <a:pt x="2138" y="398"/>
                  </a:lnTo>
                  <a:lnTo>
                    <a:pt x="2138" y="398"/>
                  </a:lnTo>
                  <a:lnTo>
                    <a:pt x="2136" y="396"/>
                  </a:lnTo>
                  <a:lnTo>
                    <a:pt x="2132" y="394"/>
                  </a:lnTo>
                  <a:lnTo>
                    <a:pt x="2130" y="390"/>
                  </a:lnTo>
                  <a:lnTo>
                    <a:pt x="2128" y="390"/>
                  </a:lnTo>
                  <a:lnTo>
                    <a:pt x="2128" y="390"/>
                  </a:lnTo>
                  <a:lnTo>
                    <a:pt x="2128" y="390"/>
                  </a:lnTo>
                  <a:lnTo>
                    <a:pt x="2126" y="388"/>
                  </a:lnTo>
                  <a:lnTo>
                    <a:pt x="2120" y="388"/>
                  </a:lnTo>
                  <a:lnTo>
                    <a:pt x="2118" y="388"/>
                  </a:lnTo>
                  <a:lnTo>
                    <a:pt x="2118" y="386"/>
                  </a:lnTo>
                  <a:lnTo>
                    <a:pt x="2118" y="386"/>
                  </a:lnTo>
                  <a:lnTo>
                    <a:pt x="2120" y="384"/>
                  </a:lnTo>
                  <a:lnTo>
                    <a:pt x="2124" y="382"/>
                  </a:lnTo>
                  <a:lnTo>
                    <a:pt x="2124" y="382"/>
                  </a:lnTo>
                  <a:lnTo>
                    <a:pt x="2124" y="380"/>
                  </a:lnTo>
                  <a:lnTo>
                    <a:pt x="2124" y="378"/>
                  </a:lnTo>
                  <a:lnTo>
                    <a:pt x="2124" y="378"/>
                  </a:lnTo>
                  <a:lnTo>
                    <a:pt x="2126" y="378"/>
                  </a:lnTo>
                  <a:lnTo>
                    <a:pt x="2126" y="376"/>
                  </a:lnTo>
                  <a:lnTo>
                    <a:pt x="2126" y="376"/>
                  </a:lnTo>
                  <a:lnTo>
                    <a:pt x="2126" y="376"/>
                  </a:lnTo>
                  <a:lnTo>
                    <a:pt x="2126" y="372"/>
                  </a:lnTo>
                  <a:lnTo>
                    <a:pt x="2126" y="372"/>
                  </a:lnTo>
                  <a:lnTo>
                    <a:pt x="2126" y="368"/>
                  </a:lnTo>
                  <a:lnTo>
                    <a:pt x="2126" y="366"/>
                  </a:lnTo>
                  <a:lnTo>
                    <a:pt x="2126" y="362"/>
                  </a:lnTo>
                  <a:lnTo>
                    <a:pt x="2124" y="358"/>
                  </a:lnTo>
                  <a:lnTo>
                    <a:pt x="2122" y="356"/>
                  </a:lnTo>
                  <a:lnTo>
                    <a:pt x="2120" y="354"/>
                  </a:lnTo>
                  <a:lnTo>
                    <a:pt x="2120" y="350"/>
                  </a:lnTo>
                  <a:lnTo>
                    <a:pt x="2116" y="346"/>
                  </a:lnTo>
                  <a:lnTo>
                    <a:pt x="2114" y="342"/>
                  </a:lnTo>
                  <a:lnTo>
                    <a:pt x="2112" y="340"/>
                  </a:lnTo>
                  <a:lnTo>
                    <a:pt x="2108" y="336"/>
                  </a:lnTo>
                  <a:lnTo>
                    <a:pt x="2108" y="336"/>
                  </a:lnTo>
                  <a:lnTo>
                    <a:pt x="2108" y="336"/>
                  </a:lnTo>
                  <a:lnTo>
                    <a:pt x="2104" y="334"/>
                  </a:lnTo>
                  <a:lnTo>
                    <a:pt x="2104" y="334"/>
                  </a:lnTo>
                  <a:lnTo>
                    <a:pt x="2104" y="334"/>
                  </a:lnTo>
                  <a:lnTo>
                    <a:pt x="2098" y="332"/>
                  </a:lnTo>
                  <a:lnTo>
                    <a:pt x="2094" y="330"/>
                  </a:lnTo>
                  <a:lnTo>
                    <a:pt x="2088" y="330"/>
                  </a:lnTo>
                  <a:lnTo>
                    <a:pt x="2082" y="328"/>
                  </a:lnTo>
                  <a:lnTo>
                    <a:pt x="2076" y="328"/>
                  </a:lnTo>
                  <a:lnTo>
                    <a:pt x="2068" y="328"/>
                  </a:lnTo>
                  <a:lnTo>
                    <a:pt x="2062" y="328"/>
                  </a:lnTo>
                  <a:lnTo>
                    <a:pt x="2056" y="328"/>
                  </a:lnTo>
                  <a:lnTo>
                    <a:pt x="2052" y="328"/>
                  </a:lnTo>
                  <a:lnTo>
                    <a:pt x="2048" y="328"/>
                  </a:lnTo>
                  <a:lnTo>
                    <a:pt x="2048" y="328"/>
                  </a:lnTo>
                  <a:lnTo>
                    <a:pt x="2046" y="328"/>
                  </a:lnTo>
                  <a:lnTo>
                    <a:pt x="2044" y="330"/>
                  </a:lnTo>
                  <a:lnTo>
                    <a:pt x="2044" y="330"/>
                  </a:lnTo>
                  <a:lnTo>
                    <a:pt x="2044" y="330"/>
                  </a:lnTo>
                  <a:lnTo>
                    <a:pt x="2042" y="332"/>
                  </a:lnTo>
                  <a:lnTo>
                    <a:pt x="2042" y="332"/>
                  </a:lnTo>
                  <a:lnTo>
                    <a:pt x="2040" y="332"/>
                  </a:lnTo>
                  <a:lnTo>
                    <a:pt x="2038" y="334"/>
                  </a:lnTo>
                  <a:lnTo>
                    <a:pt x="2038" y="336"/>
                  </a:lnTo>
                  <a:lnTo>
                    <a:pt x="2036" y="338"/>
                  </a:lnTo>
                  <a:lnTo>
                    <a:pt x="2036" y="338"/>
                  </a:lnTo>
                  <a:lnTo>
                    <a:pt x="2034" y="340"/>
                  </a:lnTo>
                  <a:lnTo>
                    <a:pt x="2032" y="340"/>
                  </a:lnTo>
                  <a:lnTo>
                    <a:pt x="2030" y="340"/>
                  </a:lnTo>
                  <a:lnTo>
                    <a:pt x="2026" y="340"/>
                  </a:lnTo>
                  <a:lnTo>
                    <a:pt x="2018" y="338"/>
                  </a:lnTo>
                  <a:lnTo>
                    <a:pt x="2014" y="336"/>
                  </a:lnTo>
                  <a:lnTo>
                    <a:pt x="2010" y="336"/>
                  </a:lnTo>
                  <a:lnTo>
                    <a:pt x="2006" y="334"/>
                  </a:lnTo>
                  <a:lnTo>
                    <a:pt x="2004" y="334"/>
                  </a:lnTo>
                  <a:lnTo>
                    <a:pt x="2002" y="332"/>
                  </a:lnTo>
                  <a:lnTo>
                    <a:pt x="2002" y="334"/>
                  </a:lnTo>
                  <a:lnTo>
                    <a:pt x="2000" y="332"/>
                  </a:lnTo>
                  <a:lnTo>
                    <a:pt x="2000" y="332"/>
                  </a:lnTo>
                  <a:lnTo>
                    <a:pt x="2000" y="332"/>
                  </a:lnTo>
                  <a:lnTo>
                    <a:pt x="1998" y="330"/>
                  </a:lnTo>
                  <a:lnTo>
                    <a:pt x="1996" y="328"/>
                  </a:lnTo>
                  <a:lnTo>
                    <a:pt x="1994" y="326"/>
                  </a:lnTo>
                  <a:lnTo>
                    <a:pt x="1992" y="326"/>
                  </a:lnTo>
                  <a:lnTo>
                    <a:pt x="1988" y="322"/>
                  </a:lnTo>
                  <a:lnTo>
                    <a:pt x="1984" y="318"/>
                  </a:lnTo>
                  <a:lnTo>
                    <a:pt x="1980" y="314"/>
                  </a:lnTo>
                  <a:lnTo>
                    <a:pt x="1978" y="310"/>
                  </a:lnTo>
                  <a:lnTo>
                    <a:pt x="1974" y="306"/>
                  </a:lnTo>
                  <a:lnTo>
                    <a:pt x="1972" y="304"/>
                  </a:lnTo>
                  <a:lnTo>
                    <a:pt x="1968" y="300"/>
                  </a:lnTo>
                  <a:lnTo>
                    <a:pt x="1966" y="296"/>
                  </a:lnTo>
                  <a:lnTo>
                    <a:pt x="1966" y="296"/>
                  </a:lnTo>
                  <a:lnTo>
                    <a:pt x="1966" y="294"/>
                  </a:lnTo>
                  <a:lnTo>
                    <a:pt x="1966" y="290"/>
                  </a:lnTo>
                  <a:lnTo>
                    <a:pt x="1968" y="286"/>
                  </a:lnTo>
                  <a:lnTo>
                    <a:pt x="1968" y="284"/>
                  </a:lnTo>
                  <a:lnTo>
                    <a:pt x="1968" y="284"/>
                  </a:lnTo>
                  <a:lnTo>
                    <a:pt x="1968" y="284"/>
                  </a:lnTo>
                  <a:lnTo>
                    <a:pt x="1966" y="282"/>
                  </a:lnTo>
                  <a:lnTo>
                    <a:pt x="1966" y="282"/>
                  </a:lnTo>
                  <a:lnTo>
                    <a:pt x="1966" y="280"/>
                  </a:lnTo>
                  <a:lnTo>
                    <a:pt x="1964" y="278"/>
                  </a:lnTo>
                  <a:lnTo>
                    <a:pt x="1964" y="278"/>
                  </a:lnTo>
                  <a:lnTo>
                    <a:pt x="1964" y="278"/>
                  </a:lnTo>
                  <a:lnTo>
                    <a:pt x="1962" y="276"/>
                  </a:lnTo>
                  <a:lnTo>
                    <a:pt x="1962" y="276"/>
                  </a:lnTo>
                  <a:lnTo>
                    <a:pt x="1962" y="276"/>
                  </a:lnTo>
                  <a:lnTo>
                    <a:pt x="1960" y="274"/>
                  </a:lnTo>
                  <a:lnTo>
                    <a:pt x="1958" y="274"/>
                  </a:lnTo>
                  <a:lnTo>
                    <a:pt x="1954" y="272"/>
                  </a:lnTo>
                  <a:lnTo>
                    <a:pt x="1952" y="270"/>
                  </a:lnTo>
                  <a:lnTo>
                    <a:pt x="1948" y="270"/>
                  </a:lnTo>
                  <a:lnTo>
                    <a:pt x="1944" y="268"/>
                  </a:lnTo>
                  <a:lnTo>
                    <a:pt x="1940" y="268"/>
                  </a:lnTo>
                  <a:lnTo>
                    <a:pt x="1934" y="268"/>
                  </a:lnTo>
                  <a:lnTo>
                    <a:pt x="1924" y="266"/>
                  </a:lnTo>
                  <a:lnTo>
                    <a:pt x="1920" y="266"/>
                  </a:lnTo>
                  <a:lnTo>
                    <a:pt x="1916" y="264"/>
                  </a:lnTo>
                  <a:lnTo>
                    <a:pt x="1914" y="264"/>
                  </a:lnTo>
                  <a:lnTo>
                    <a:pt x="1910" y="262"/>
                  </a:lnTo>
                  <a:lnTo>
                    <a:pt x="1906" y="260"/>
                  </a:lnTo>
                  <a:lnTo>
                    <a:pt x="1900" y="256"/>
                  </a:lnTo>
                  <a:lnTo>
                    <a:pt x="1896" y="254"/>
                  </a:lnTo>
                  <a:lnTo>
                    <a:pt x="1890" y="252"/>
                  </a:lnTo>
                  <a:lnTo>
                    <a:pt x="1884" y="250"/>
                  </a:lnTo>
                  <a:lnTo>
                    <a:pt x="1876" y="248"/>
                  </a:lnTo>
                  <a:lnTo>
                    <a:pt x="1870" y="248"/>
                  </a:lnTo>
                  <a:lnTo>
                    <a:pt x="1870" y="248"/>
                  </a:lnTo>
                  <a:lnTo>
                    <a:pt x="1866" y="248"/>
                  </a:lnTo>
                  <a:lnTo>
                    <a:pt x="1862" y="248"/>
                  </a:lnTo>
                  <a:lnTo>
                    <a:pt x="1852" y="250"/>
                  </a:lnTo>
                  <a:lnTo>
                    <a:pt x="1848" y="252"/>
                  </a:lnTo>
                  <a:lnTo>
                    <a:pt x="1844" y="254"/>
                  </a:lnTo>
                  <a:lnTo>
                    <a:pt x="1840" y="254"/>
                  </a:lnTo>
                  <a:lnTo>
                    <a:pt x="1836" y="256"/>
                  </a:lnTo>
                  <a:lnTo>
                    <a:pt x="1832" y="258"/>
                  </a:lnTo>
                  <a:lnTo>
                    <a:pt x="1828" y="260"/>
                  </a:lnTo>
                  <a:lnTo>
                    <a:pt x="1828" y="260"/>
                  </a:lnTo>
                  <a:lnTo>
                    <a:pt x="1828" y="260"/>
                  </a:lnTo>
                  <a:lnTo>
                    <a:pt x="1824" y="264"/>
                  </a:lnTo>
                  <a:lnTo>
                    <a:pt x="1824" y="264"/>
                  </a:lnTo>
                  <a:lnTo>
                    <a:pt x="1824" y="264"/>
                  </a:lnTo>
                  <a:lnTo>
                    <a:pt x="1822" y="266"/>
                  </a:lnTo>
                  <a:lnTo>
                    <a:pt x="1822" y="266"/>
                  </a:lnTo>
                  <a:lnTo>
                    <a:pt x="1822" y="268"/>
                  </a:lnTo>
                  <a:lnTo>
                    <a:pt x="1820" y="270"/>
                  </a:lnTo>
                  <a:lnTo>
                    <a:pt x="1820" y="274"/>
                  </a:lnTo>
                  <a:lnTo>
                    <a:pt x="1818" y="274"/>
                  </a:lnTo>
                  <a:lnTo>
                    <a:pt x="1818" y="274"/>
                  </a:lnTo>
                  <a:lnTo>
                    <a:pt x="1818" y="270"/>
                  </a:lnTo>
                  <a:lnTo>
                    <a:pt x="1818" y="266"/>
                  </a:lnTo>
                  <a:lnTo>
                    <a:pt x="1818" y="264"/>
                  </a:lnTo>
                  <a:lnTo>
                    <a:pt x="1818" y="262"/>
                  </a:lnTo>
                  <a:lnTo>
                    <a:pt x="1818" y="262"/>
                  </a:lnTo>
                  <a:lnTo>
                    <a:pt x="1818" y="262"/>
                  </a:lnTo>
                  <a:lnTo>
                    <a:pt x="1816" y="262"/>
                  </a:lnTo>
                  <a:lnTo>
                    <a:pt x="1816" y="260"/>
                  </a:lnTo>
                  <a:lnTo>
                    <a:pt x="1816" y="260"/>
                  </a:lnTo>
                  <a:lnTo>
                    <a:pt x="1814" y="260"/>
                  </a:lnTo>
                  <a:lnTo>
                    <a:pt x="1814" y="260"/>
                  </a:lnTo>
                  <a:lnTo>
                    <a:pt x="1814" y="260"/>
                  </a:lnTo>
                  <a:lnTo>
                    <a:pt x="1812" y="260"/>
                  </a:lnTo>
                  <a:lnTo>
                    <a:pt x="1812" y="260"/>
                  </a:lnTo>
                  <a:lnTo>
                    <a:pt x="1812" y="260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08" y="266"/>
                  </a:lnTo>
                  <a:lnTo>
                    <a:pt x="1806" y="268"/>
                  </a:lnTo>
                  <a:lnTo>
                    <a:pt x="1806" y="272"/>
                  </a:lnTo>
                  <a:lnTo>
                    <a:pt x="1804" y="276"/>
                  </a:lnTo>
                  <a:lnTo>
                    <a:pt x="1804" y="278"/>
                  </a:lnTo>
                  <a:lnTo>
                    <a:pt x="1804" y="280"/>
                  </a:lnTo>
                  <a:lnTo>
                    <a:pt x="1804" y="280"/>
                  </a:lnTo>
                  <a:lnTo>
                    <a:pt x="1804" y="282"/>
                  </a:lnTo>
                  <a:lnTo>
                    <a:pt x="1804" y="282"/>
                  </a:lnTo>
                  <a:lnTo>
                    <a:pt x="1804" y="282"/>
                  </a:lnTo>
                  <a:lnTo>
                    <a:pt x="1804" y="284"/>
                  </a:lnTo>
                  <a:lnTo>
                    <a:pt x="1806" y="284"/>
                  </a:lnTo>
                  <a:lnTo>
                    <a:pt x="1806" y="284"/>
                  </a:lnTo>
                  <a:lnTo>
                    <a:pt x="1806" y="286"/>
                  </a:lnTo>
                  <a:lnTo>
                    <a:pt x="1808" y="286"/>
                  </a:lnTo>
                  <a:lnTo>
                    <a:pt x="1810" y="286"/>
                  </a:lnTo>
                  <a:lnTo>
                    <a:pt x="1812" y="288"/>
                  </a:lnTo>
                  <a:lnTo>
                    <a:pt x="1814" y="288"/>
                  </a:lnTo>
                  <a:lnTo>
                    <a:pt x="1814" y="290"/>
                  </a:lnTo>
                  <a:lnTo>
                    <a:pt x="1814" y="292"/>
                  </a:lnTo>
                  <a:lnTo>
                    <a:pt x="1816" y="294"/>
                  </a:lnTo>
                  <a:lnTo>
                    <a:pt x="1816" y="298"/>
                  </a:lnTo>
                  <a:lnTo>
                    <a:pt x="1816" y="302"/>
                  </a:lnTo>
                  <a:lnTo>
                    <a:pt x="1816" y="304"/>
                  </a:lnTo>
                  <a:lnTo>
                    <a:pt x="1816" y="308"/>
                  </a:lnTo>
                  <a:lnTo>
                    <a:pt x="1816" y="310"/>
                  </a:lnTo>
                  <a:lnTo>
                    <a:pt x="1814" y="310"/>
                  </a:lnTo>
                  <a:lnTo>
                    <a:pt x="1814" y="310"/>
                  </a:lnTo>
                  <a:lnTo>
                    <a:pt x="1812" y="310"/>
                  </a:lnTo>
                  <a:lnTo>
                    <a:pt x="1808" y="310"/>
                  </a:lnTo>
                  <a:lnTo>
                    <a:pt x="1802" y="308"/>
                  </a:lnTo>
                  <a:lnTo>
                    <a:pt x="1800" y="306"/>
                  </a:lnTo>
                  <a:lnTo>
                    <a:pt x="1798" y="306"/>
                  </a:lnTo>
                  <a:lnTo>
                    <a:pt x="1798" y="306"/>
                  </a:lnTo>
                  <a:lnTo>
                    <a:pt x="1796" y="306"/>
                  </a:lnTo>
                  <a:lnTo>
                    <a:pt x="1794" y="306"/>
                  </a:lnTo>
                  <a:lnTo>
                    <a:pt x="1794" y="306"/>
                  </a:lnTo>
                  <a:lnTo>
                    <a:pt x="1792" y="308"/>
                  </a:lnTo>
                  <a:lnTo>
                    <a:pt x="1790" y="308"/>
                  </a:lnTo>
                  <a:lnTo>
                    <a:pt x="1790" y="308"/>
                  </a:lnTo>
                  <a:lnTo>
                    <a:pt x="1788" y="308"/>
                  </a:lnTo>
                  <a:lnTo>
                    <a:pt x="1786" y="308"/>
                  </a:lnTo>
                  <a:lnTo>
                    <a:pt x="1782" y="308"/>
                  </a:lnTo>
                  <a:lnTo>
                    <a:pt x="1780" y="308"/>
                  </a:lnTo>
                  <a:lnTo>
                    <a:pt x="1774" y="308"/>
                  </a:lnTo>
                  <a:lnTo>
                    <a:pt x="1770" y="308"/>
                  </a:lnTo>
                  <a:lnTo>
                    <a:pt x="1766" y="308"/>
                  </a:lnTo>
                  <a:lnTo>
                    <a:pt x="1760" y="308"/>
                  </a:lnTo>
                  <a:lnTo>
                    <a:pt x="1756" y="308"/>
                  </a:lnTo>
                  <a:lnTo>
                    <a:pt x="1754" y="308"/>
                  </a:lnTo>
                  <a:lnTo>
                    <a:pt x="1752" y="308"/>
                  </a:lnTo>
                  <a:lnTo>
                    <a:pt x="1752" y="308"/>
                  </a:lnTo>
                  <a:lnTo>
                    <a:pt x="1750" y="308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6" y="310"/>
                  </a:lnTo>
                  <a:lnTo>
                    <a:pt x="1746" y="312"/>
                  </a:lnTo>
                  <a:lnTo>
                    <a:pt x="1744" y="314"/>
                  </a:lnTo>
                  <a:lnTo>
                    <a:pt x="1744" y="314"/>
                  </a:lnTo>
                  <a:lnTo>
                    <a:pt x="1742" y="314"/>
                  </a:lnTo>
                  <a:lnTo>
                    <a:pt x="1742" y="314"/>
                  </a:lnTo>
                  <a:lnTo>
                    <a:pt x="1740" y="314"/>
                  </a:lnTo>
                  <a:lnTo>
                    <a:pt x="1734" y="316"/>
                  </a:lnTo>
                  <a:lnTo>
                    <a:pt x="1730" y="316"/>
                  </a:lnTo>
                  <a:lnTo>
                    <a:pt x="1728" y="316"/>
                  </a:lnTo>
                  <a:lnTo>
                    <a:pt x="1728" y="316"/>
                  </a:lnTo>
                  <a:lnTo>
                    <a:pt x="1726" y="314"/>
                  </a:lnTo>
                  <a:lnTo>
                    <a:pt x="1722" y="312"/>
                  </a:lnTo>
                  <a:lnTo>
                    <a:pt x="1724" y="312"/>
                  </a:lnTo>
                  <a:lnTo>
                    <a:pt x="1722" y="310"/>
                  </a:lnTo>
                  <a:lnTo>
                    <a:pt x="1720" y="306"/>
                  </a:lnTo>
                  <a:lnTo>
                    <a:pt x="1720" y="306"/>
                  </a:lnTo>
                  <a:lnTo>
                    <a:pt x="1720" y="304"/>
                  </a:lnTo>
                  <a:lnTo>
                    <a:pt x="1718" y="302"/>
                  </a:lnTo>
                  <a:lnTo>
                    <a:pt x="1718" y="296"/>
                  </a:lnTo>
                  <a:lnTo>
                    <a:pt x="1718" y="294"/>
                  </a:lnTo>
                  <a:lnTo>
                    <a:pt x="1718" y="292"/>
                  </a:lnTo>
                  <a:lnTo>
                    <a:pt x="1718" y="290"/>
                  </a:lnTo>
                  <a:lnTo>
                    <a:pt x="1718" y="290"/>
                  </a:lnTo>
                  <a:lnTo>
                    <a:pt x="1716" y="288"/>
                  </a:lnTo>
                  <a:lnTo>
                    <a:pt x="1716" y="288"/>
                  </a:lnTo>
                  <a:lnTo>
                    <a:pt x="1716" y="288"/>
                  </a:lnTo>
                  <a:lnTo>
                    <a:pt x="1714" y="286"/>
                  </a:lnTo>
                  <a:lnTo>
                    <a:pt x="1714" y="286"/>
                  </a:lnTo>
                  <a:lnTo>
                    <a:pt x="1714" y="286"/>
                  </a:lnTo>
                  <a:lnTo>
                    <a:pt x="1712" y="288"/>
                  </a:lnTo>
                  <a:lnTo>
                    <a:pt x="1710" y="288"/>
                  </a:lnTo>
                  <a:lnTo>
                    <a:pt x="1710" y="288"/>
                  </a:lnTo>
                  <a:lnTo>
                    <a:pt x="1710" y="288"/>
                  </a:lnTo>
                  <a:lnTo>
                    <a:pt x="1708" y="290"/>
                  </a:lnTo>
                  <a:lnTo>
                    <a:pt x="1706" y="292"/>
                  </a:lnTo>
                  <a:lnTo>
                    <a:pt x="1704" y="296"/>
                  </a:lnTo>
                  <a:lnTo>
                    <a:pt x="1702" y="298"/>
                  </a:lnTo>
                  <a:lnTo>
                    <a:pt x="1702" y="300"/>
                  </a:lnTo>
                  <a:lnTo>
                    <a:pt x="1700" y="302"/>
                  </a:lnTo>
                  <a:lnTo>
                    <a:pt x="1700" y="302"/>
                  </a:lnTo>
                  <a:lnTo>
                    <a:pt x="1700" y="304"/>
                  </a:lnTo>
                  <a:lnTo>
                    <a:pt x="1700" y="306"/>
                  </a:lnTo>
                  <a:lnTo>
                    <a:pt x="1700" y="308"/>
                  </a:lnTo>
                  <a:lnTo>
                    <a:pt x="1700" y="312"/>
                  </a:lnTo>
                  <a:lnTo>
                    <a:pt x="1700" y="316"/>
                  </a:lnTo>
                  <a:lnTo>
                    <a:pt x="1700" y="318"/>
                  </a:lnTo>
                  <a:lnTo>
                    <a:pt x="1698" y="322"/>
                  </a:lnTo>
                  <a:lnTo>
                    <a:pt x="1696" y="326"/>
                  </a:lnTo>
                  <a:lnTo>
                    <a:pt x="1696" y="330"/>
                  </a:lnTo>
                  <a:lnTo>
                    <a:pt x="1694" y="334"/>
                  </a:lnTo>
                  <a:lnTo>
                    <a:pt x="1692" y="338"/>
                  </a:lnTo>
                  <a:lnTo>
                    <a:pt x="1690" y="342"/>
                  </a:lnTo>
                  <a:lnTo>
                    <a:pt x="1688" y="344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4" y="344"/>
                  </a:lnTo>
                  <a:lnTo>
                    <a:pt x="1682" y="342"/>
                  </a:lnTo>
                  <a:lnTo>
                    <a:pt x="1680" y="340"/>
                  </a:lnTo>
                  <a:lnTo>
                    <a:pt x="1678" y="336"/>
                  </a:lnTo>
                  <a:lnTo>
                    <a:pt x="1674" y="334"/>
                  </a:lnTo>
                  <a:lnTo>
                    <a:pt x="1672" y="330"/>
                  </a:lnTo>
                  <a:lnTo>
                    <a:pt x="1668" y="326"/>
                  </a:lnTo>
                  <a:lnTo>
                    <a:pt x="1666" y="322"/>
                  </a:lnTo>
                  <a:lnTo>
                    <a:pt x="1664" y="318"/>
                  </a:lnTo>
                  <a:lnTo>
                    <a:pt x="1662" y="314"/>
                  </a:lnTo>
                  <a:lnTo>
                    <a:pt x="1660" y="312"/>
                  </a:lnTo>
                  <a:lnTo>
                    <a:pt x="1660" y="308"/>
                  </a:lnTo>
                  <a:lnTo>
                    <a:pt x="1658" y="302"/>
                  </a:lnTo>
                  <a:lnTo>
                    <a:pt x="1658" y="294"/>
                  </a:lnTo>
                  <a:lnTo>
                    <a:pt x="1658" y="288"/>
                  </a:lnTo>
                  <a:lnTo>
                    <a:pt x="1658" y="286"/>
                  </a:lnTo>
                  <a:lnTo>
                    <a:pt x="1658" y="284"/>
                  </a:lnTo>
                  <a:lnTo>
                    <a:pt x="1658" y="284"/>
                  </a:lnTo>
                  <a:lnTo>
                    <a:pt x="1660" y="280"/>
                  </a:lnTo>
                  <a:lnTo>
                    <a:pt x="1662" y="276"/>
                  </a:lnTo>
                  <a:lnTo>
                    <a:pt x="1664" y="274"/>
                  </a:lnTo>
                  <a:lnTo>
                    <a:pt x="1664" y="274"/>
                  </a:lnTo>
                  <a:lnTo>
                    <a:pt x="1664" y="274"/>
                  </a:lnTo>
                  <a:lnTo>
                    <a:pt x="1664" y="272"/>
                  </a:lnTo>
                  <a:lnTo>
                    <a:pt x="1664" y="268"/>
                  </a:lnTo>
                  <a:lnTo>
                    <a:pt x="1664" y="264"/>
                  </a:lnTo>
                  <a:lnTo>
                    <a:pt x="1664" y="258"/>
                  </a:lnTo>
                  <a:lnTo>
                    <a:pt x="1664" y="250"/>
                  </a:lnTo>
                  <a:lnTo>
                    <a:pt x="1664" y="244"/>
                  </a:lnTo>
                  <a:lnTo>
                    <a:pt x="1664" y="244"/>
                  </a:lnTo>
                  <a:lnTo>
                    <a:pt x="1664" y="244"/>
                  </a:lnTo>
                  <a:lnTo>
                    <a:pt x="1662" y="240"/>
                  </a:lnTo>
                  <a:lnTo>
                    <a:pt x="1662" y="238"/>
                  </a:lnTo>
                  <a:lnTo>
                    <a:pt x="1658" y="232"/>
                  </a:lnTo>
                  <a:lnTo>
                    <a:pt x="1658" y="232"/>
                  </a:lnTo>
                  <a:lnTo>
                    <a:pt x="1658" y="232"/>
                  </a:lnTo>
                  <a:lnTo>
                    <a:pt x="1654" y="226"/>
                  </a:lnTo>
                  <a:lnTo>
                    <a:pt x="1648" y="222"/>
                  </a:lnTo>
                  <a:lnTo>
                    <a:pt x="1648" y="222"/>
                  </a:lnTo>
                  <a:lnTo>
                    <a:pt x="1648" y="222"/>
                  </a:lnTo>
                  <a:lnTo>
                    <a:pt x="1646" y="220"/>
                  </a:lnTo>
                  <a:lnTo>
                    <a:pt x="1646" y="220"/>
                  </a:lnTo>
                  <a:lnTo>
                    <a:pt x="1646" y="220"/>
                  </a:lnTo>
                  <a:lnTo>
                    <a:pt x="1642" y="218"/>
                  </a:lnTo>
                  <a:lnTo>
                    <a:pt x="1642" y="218"/>
                  </a:lnTo>
                  <a:lnTo>
                    <a:pt x="1642" y="218"/>
                  </a:lnTo>
                  <a:lnTo>
                    <a:pt x="1636" y="216"/>
                  </a:lnTo>
                  <a:lnTo>
                    <a:pt x="1630" y="216"/>
                  </a:lnTo>
                  <a:lnTo>
                    <a:pt x="1626" y="216"/>
                  </a:lnTo>
                  <a:lnTo>
                    <a:pt x="1624" y="214"/>
                  </a:lnTo>
                  <a:lnTo>
                    <a:pt x="1618" y="214"/>
                  </a:lnTo>
                  <a:lnTo>
                    <a:pt x="1614" y="212"/>
                  </a:lnTo>
                  <a:lnTo>
                    <a:pt x="1610" y="210"/>
                  </a:lnTo>
                  <a:lnTo>
                    <a:pt x="1606" y="210"/>
                  </a:lnTo>
                  <a:lnTo>
                    <a:pt x="1606" y="210"/>
                  </a:lnTo>
                  <a:lnTo>
                    <a:pt x="1604" y="208"/>
                  </a:lnTo>
                  <a:lnTo>
                    <a:pt x="1604" y="208"/>
                  </a:lnTo>
                  <a:lnTo>
                    <a:pt x="1602" y="206"/>
                  </a:lnTo>
                  <a:lnTo>
                    <a:pt x="1600" y="204"/>
                  </a:lnTo>
                  <a:lnTo>
                    <a:pt x="1598" y="202"/>
                  </a:lnTo>
                  <a:lnTo>
                    <a:pt x="1596" y="200"/>
                  </a:lnTo>
                  <a:lnTo>
                    <a:pt x="1596" y="200"/>
                  </a:lnTo>
                  <a:lnTo>
                    <a:pt x="1596" y="200"/>
                  </a:lnTo>
                  <a:lnTo>
                    <a:pt x="1594" y="198"/>
                  </a:lnTo>
                  <a:lnTo>
                    <a:pt x="1594" y="198"/>
                  </a:lnTo>
                  <a:lnTo>
                    <a:pt x="1594" y="198"/>
                  </a:lnTo>
                  <a:lnTo>
                    <a:pt x="1592" y="196"/>
                  </a:lnTo>
                  <a:lnTo>
                    <a:pt x="1592" y="196"/>
                  </a:lnTo>
                  <a:lnTo>
                    <a:pt x="1592" y="196"/>
                  </a:lnTo>
                  <a:lnTo>
                    <a:pt x="1586" y="196"/>
                  </a:lnTo>
                  <a:lnTo>
                    <a:pt x="1586" y="196"/>
                  </a:lnTo>
                  <a:lnTo>
                    <a:pt x="1582" y="198"/>
                  </a:lnTo>
                  <a:lnTo>
                    <a:pt x="1582" y="198"/>
                  </a:lnTo>
                  <a:lnTo>
                    <a:pt x="1582" y="198"/>
                  </a:lnTo>
                  <a:lnTo>
                    <a:pt x="1578" y="198"/>
                  </a:lnTo>
                  <a:lnTo>
                    <a:pt x="1578" y="198"/>
                  </a:lnTo>
                  <a:lnTo>
                    <a:pt x="1578" y="198"/>
                  </a:lnTo>
                  <a:lnTo>
                    <a:pt x="1576" y="200"/>
                  </a:lnTo>
                  <a:lnTo>
                    <a:pt x="1574" y="200"/>
                  </a:lnTo>
                  <a:lnTo>
                    <a:pt x="1574" y="200"/>
                  </a:lnTo>
                  <a:lnTo>
                    <a:pt x="1574" y="200"/>
                  </a:lnTo>
                  <a:lnTo>
                    <a:pt x="1572" y="202"/>
                  </a:lnTo>
                  <a:lnTo>
                    <a:pt x="1572" y="202"/>
                  </a:lnTo>
                  <a:lnTo>
                    <a:pt x="1572" y="204"/>
                  </a:lnTo>
                  <a:lnTo>
                    <a:pt x="1570" y="206"/>
                  </a:lnTo>
                  <a:lnTo>
                    <a:pt x="1570" y="206"/>
                  </a:lnTo>
                  <a:lnTo>
                    <a:pt x="1570" y="206"/>
                  </a:lnTo>
                  <a:lnTo>
                    <a:pt x="1568" y="210"/>
                  </a:lnTo>
                  <a:lnTo>
                    <a:pt x="1568" y="210"/>
                  </a:lnTo>
                  <a:lnTo>
                    <a:pt x="1568" y="210"/>
                  </a:lnTo>
                  <a:lnTo>
                    <a:pt x="1568" y="214"/>
                  </a:lnTo>
                  <a:lnTo>
                    <a:pt x="1568" y="214"/>
                  </a:lnTo>
                  <a:lnTo>
                    <a:pt x="1568" y="216"/>
                  </a:lnTo>
                  <a:lnTo>
                    <a:pt x="1568" y="216"/>
                  </a:lnTo>
                  <a:lnTo>
                    <a:pt x="1568" y="216"/>
                  </a:lnTo>
                  <a:lnTo>
                    <a:pt x="1570" y="220"/>
                  </a:lnTo>
                  <a:lnTo>
                    <a:pt x="1570" y="222"/>
                  </a:lnTo>
                  <a:lnTo>
                    <a:pt x="1572" y="224"/>
                  </a:lnTo>
                  <a:lnTo>
                    <a:pt x="1574" y="226"/>
                  </a:lnTo>
                  <a:lnTo>
                    <a:pt x="1574" y="228"/>
                  </a:lnTo>
                  <a:lnTo>
                    <a:pt x="1576" y="230"/>
                  </a:lnTo>
                  <a:lnTo>
                    <a:pt x="1576" y="232"/>
                  </a:lnTo>
                  <a:lnTo>
                    <a:pt x="1576" y="232"/>
                  </a:lnTo>
                  <a:lnTo>
                    <a:pt x="1576" y="234"/>
                  </a:lnTo>
                  <a:lnTo>
                    <a:pt x="1574" y="236"/>
                  </a:lnTo>
                  <a:lnTo>
                    <a:pt x="1570" y="238"/>
                  </a:lnTo>
                  <a:lnTo>
                    <a:pt x="1572" y="238"/>
                  </a:lnTo>
                  <a:lnTo>
                    <a:pt x="1570" y="238"/>
                  </a:lnTo>
                  <a:lnTo>
                    <a:pt x="1570" y="238"/>
                  </a:lnTo>
                  <a:lnTo>
                    <a:pt x="1568" y="236"/>
                  </a:lnTo>
                  <a:lnTo>
                    <a:pt x="1566" y="234"/>
                  </a:lnTo>
                  <a:lnTo>
                    <a:pt x="1566" y="234"/>
                  </a:lnTo>
                  <a:lnTo>
                    <a:pt x="1566" y="234"/>
                  </a:lnTo>
                  <a:lnTo>
                    <a:pt x="1564" y="234"/>
                  </a:lnTo>
                  <a:lnTo>
                    <a:pt x="1564" y="234"/>
                  </a:lnTo>
                  <a:lnTo>
                    <a:pt x="1564" y="234"/>
                  </a:lnTo>
                  <a:lnTo>
                    <a:pt x="1562" y="232"/>
                  </a:lnTo>
                  <a:lnTo>
                    <a:pt x="1560" y="232"/>
                  </a:lnTo>
                  <a:lnTo>
                    <a:pt x="1558" y="234"/>
                  </a:lnTo>
                  <a:lnTo>
                    <a:pt x="1556" y="234"/>
                  </a:lnTo>
                  <a:lnTo>
                    <a:pt x="1550" y="234"/>
                  </a:lnTo>
                  <a:lnTo>
                    <a:pt x="1544" y="236"/>
                  </a:lnTo>
                  <a:lnTo>
                    <a:pt x="1542" y="238"/>
                  </a:lnTo>
                  <a:lnTo>
                    <a:pt x="1540" y="238"/>
                  </a:lnTo>
                  <a:lnTo>
                    <a:pt x="1534" y="238"/>
                  </a:lnTo>
                  <a:lnTo>
                    <a:pt x="1530" y="238"/>
                  </a:lnTo>
                  <a:lnTo>
                    <a:pt x="1526" y="238"/>
                  </a:lnTo>
                  <a:lnTo>
                    <a:pt x="1526" y="238"/>
                  </a:lnTo>
                  <a:lnTo>
                    <a:pt x="1524" y="238"/>
                  </a:lnTo>
                  <a:lnTo>
                    <a:pt x="1524" y="238"/>
                  </a:lnTo>
                  <a:lnTo>
                    <a:pt x="1524" y="238"/>
                  </a:lnTo>
                  <a:lnTo>
                    <a:pt x="1522" y="236"/>
                  </a:lnTo>
                  <a:lnTo>
                    <a:pt x="1524" y="238"/>
                  </a:lnTo>
                  <a:lnTo>
                    <a:pt x="1522" y="234"/>
                  </a:lnTo>
                  <a:lnTo>
                    <a:pt x="1522" y="232"/>
                  </a:lnTo>
                  <a:lnTo>
                    <a:pt x="1522" y="230"/>
                  </a:lnTo>
                  <a:lnTo>
                    <a:pt x="1522" y="230"/>
                  </a:lnTo>
                  <a:lnTo>
                    <a:pt x="1522" y="230"/>
                  </a:lnTo>
                  <a:lnTo>
                    <a:pt x="1522" y="228"/>
                  </a:lnTo>
                  <a:lnTo>
                    <a:pt x="1522" y="228"/>
                  </a:lnTo>
                  <a:lnTo>
                    <a:pt x="1520" y="228"/>
                  </a:lnTo>
                  <a:lnTo>
                    <a:pt x="1520" y="228"/>
                  </a:lnTo>
                  <a:lnTo>
                    <a:pt x="1520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4" y="228"/>
                  </a:lnTo>
                  <a:lnTo>
                    <a:pt x="1512" y="230"/>
                  </a:lnTo>
                  <a:lnTo>
                    <a:pt x="1512" y="232"/>
                  </a:lnTo>
                  <a:lnTo>
                    <a:pt x="1510" y="234"/>
                  </a:lnTo>
                  <a:lnTo>
                    <a:pt x="1510" y="234"/>
                  </a:lnTo>
                  <a:lnTo>
                    <a:pt x="1508" y="234"/>
                  </a:lnTo>
                  <a:lnTo>
                    <a:pt x="1508" y="234"/>
                  </a:lnTo>
                  <a:lnTo>
                    <a:pt x="1508" y="234"/>
                  </a:lnTo>
                  <a:lnTo>
                    <a:pt x="1506" y="232"/>
                  </a:lnTo>
                  <a:lnTo>
                    <a:pt x="1504" y="230"/>
                  </a:lnTo>
                  <a:lnTo>
                    <a:pt x="1504" y="228"/>
                  </a:lnTo>
                  <a:lnTo>
                    <a:pt x="1504" y="228"/>
                  </a:lnTo>
                  <a:lnTo>
                    <a:pt x="1504" y="226"/>
                  </a:lnTo>
                  <a:lnTo>
                    <a:pt x="1506" y="220"/>
                  </a:lnTo>
                  <a:lnTo>
                    <a:pt x="1506" y="218"/>
                  </a:lnTo>
                  <a:lnTo>
                    <a:pt x="1506" y="218"/>
                  </a:lnTo>
                  <a:lnTo>
                    <a:pt x="1508" y="218"/>
                  </a:lnTo>
                  <a:lnTo>
                    <a:pt x="1508" y="216"/>
                  </a:lnTo>
                  <a:lnTo>
                    <a:pt x="1508" y="214"/>
                  </a:lnTo>
                  <a:lnTo>
                    <a:pt x="1508" y="212"/>
                  </a:lnTo>
                  <a:lnTo>
                    <a:pt x="1508" y="212"/>
                  </a:lnTo>
                  <a:lnTo>
                    <a:pt x="1506" y="210"/>
                  </a:lnTo>
                  <a:lnTo>
                    <a:pt x="1506" y="208"/>
                  </a:lnTo>
                  <a:lnTo>
                    <a:pt x="1506" y="208"/>
                  </a:lnTo>
                  <a:lnTo>
                    <a:pt x="1504" y="208"/>
                  </a:lnTo>
                  <a:lnTo>
                    <a:pt x="1502" y="206"/>
                  </a:lnTo>
                  <a:lnTo>
                    <a:pt x="1502" y="206"/>
                  </a:lnTo>
                  <a:lnTo>
                    <a:pt x="1502" y="206"/>
                  </a:lnTo>
                  <a:lnTo>
                    <a:pt x="1498" y="206"/>
                  </a:lnTo>
                  <a:lnTo>
                    <a:pt x="1494" y="204"/>
                  </a:lnTo>
                  <a:lnTo>
                    <a:pt x="1488" y="204"/>
                  </a:lnTo>
                  <a:lnTo>
                    <a:pt x="1480" y="204"/>
                  </a:lnTo>
                  <a:lnTo>
                    <a:pt x="1476" y="204"/>
                  </a:lnTo>
                  <a:lnTo>
                    <a:pt x="1472" y="202"/>
                  </a:lnTo>
                  <a:lnTo>
                    <a:pt x="1466" y="202"/>
                  </a:lnTo>
                  <a:lnTo>
                    <a:pt x="1458" y="202"/>
                  </a:lnTo>
                  <a:lnTo>
                    <a:pt x="1452" y="202"/>
                  </a:lnTo>
                  <a:lnTo>
                    <a:pt x="1446" y="202"/>
                  </a:lnTo>
                  <a:lnTo>
                    <a:pt x="1442" y="204"/>
                  </a:lnTo>
                  <a:lnTo>
                    <a:pt x="1438" y="204"/>
                  </a:lnTo>
                  <a:lnTo>
                    <a:pt x="1432" y="204"/>
                  </a:lnTo>
                  <a:lnTo>
                    <a:pt x="1428" y="204"/>
                  </a:lnTo>
                  <a:lnTo>
                    <a:pt x="1424" y="204"/>
                  </a:lnTo>
                  <a:lnTo>
                    <a:pt x="1424" y="204"/>
                  </a:lnTo>
                  <a:lnTo>
                    <a:pt x="1424" y="204"/>
                  </a:lnTo>
                  <a:lnTo>
                    <a:pt x="1422" y="204"/>
                  </a:lnTo>
                  <a:lnTo>
                    <a:pt x="1422" y="204"/>
                  </a:lnTo>
                  <a:lnTo>
                    <a:pt x="1420" y="206"/>
                  </a:lnTo>
                  <a:lnTo>
                    <a:pt x="1420" y="206"/>
                  </a:lnTo>
                  <a:lnTo>
                    <a:pt x="1418" y="202"/>
                  </a:lnTo>
                  <a:lnTo>
                    <a:pt x="1418" y="198"/>
                  </a:lnTo>
                  <a:lnTo>
                    <a:pt x="1416" y="194"/>
                  </a:lnTo>
                  <a:lnTo>
                    <a:pt x="1416" y="194"/>
                  </a:lnTo>
                  <a:lnTo>
                    <a:pt x="1416" y="194"/>
                  </a:lnTo>
                  <a:lnTo>
                    <a:pt x="1416" y="192"/>
                  </a:lnTo>
                  <a:lnTo>
                    <a:pt x="1416" y="192"/>
                  </a:lnTo>
                  <a:lnTo>
                    <a:pt x="1416" y="192"/>
                  </a:lnTo>
                  <a:lnTo>
                    <a:pt x="1414" y="190"/>
                  </a:lnTo>
                  <a:lnTo>
                    <a:pt x="1414" y="190"/>
                  </a:lnTo>
                  <a:lnTo>
                    <a:pt x="1414" y="190"/>
                  </a:lnTo>
                  <a:lnTo>
                    <a:pt x="1414" y="188"/>
                  </a:lnTo>
                  <a:lnTo>
                    <a:pt x="1414" y="188"/>
                  </a:lnTo>
                  <a:lnTo>
                    <a:pt x="1414" y="186"/>
                  </a:lnTo>
                  <a:lnTo>
                    <a:pt x="1414" y="186"/>
                  </a:lnTo>
                  <a:lnTo>
                    <a:pt x="1416" y="186"/>
                  </a:lnTo>
                  <a:lnTo>
                    <a:pt x="1416" y="186"/>
                  </a:lnTo>
                  <a:lnTo>
                    <a:pt x="1416" y="186"/>
                  </a:lnTo>
                  <a:lnTo>
                    <a:pt x="1418" y="184"/>
                  </a:lnTo>
                  <a:lnTo>
                    <a:pt x="1418" y="184"/>
                  </a:lnTo>
                  <a:lnTo>
                    <a:pt x="1420" y="184"/>
                  </a:lnTo>
                  <a:lnTo>
                    <a:pt x="1420" y="182"/>
                  </a:lnTo>
                  <a:lnTo>
                    <a:pt x="1420" y="182"/>
                  </a:lnTo>
                  <a:lnTo>
                    <a:pt x="1420" y="180"/>
                  </a:lnTo>
                  <a:lnTo>
                    <a:pt x="1420" y="178"/>
                  </a:lnTo>
                  <a:lnTo>
                    <a:pt x="1418" y="176"/>
                  </a:lnTo>
                  <a:lnTo>
                    <a:pt x="1418" y="172"/>
                  </a:lnTo>
                  <a:lnTo>
                    <a:pt x="1416" y="168"/>
                  </a:lnTo>
                  <a:lnTo>
                    <a:pt x="1416" y="166"/>
                  </a:lnTo>
                  <a:lnTo>
                    <a:pt x="1414" y="162"/>
                  </a:lnTo>
                  <a:lnTo>
                    <a:pt x="1412" y="160"/>
                  </a:lnTo>
                  <a:lnTo>
                    <a:pt x="1412" y="160"/>
                  </a:lnTo>
                  <a:lnTo>
                    <a:pt x="1412" y="160"/>
                  </a:lnTo>
                  <a:lnTo>
                    <a:pt x="1410" y="158"/>
                  </a:lnTo>
                  <a:lnTo>
                    <a:pt x="1410" y="158"/>
                  </a:lnTo>
                  <a:lnTo>
                    <a:pt x="1410" y="158"/>
                  </a:lnTo>
                  <a:lnTo>
                    <a:pt x="1408" y="156"/>
                  </a:lnTo>
                  <a:lnTo>
                    <a:pt x="1408" y="156"/>
                  </a:lnTo>
                  <a:lnTo>
                    <a:pt x="1408" y="156"/>
                  </a:lnTo>
                  <a:lnTo>
                    <a:pt x="1406" y="156"/>
                  </a:lnTo>
                  <a:lnTo>
                    <a:pt x="1406" y="156"/>
                  </a:lnTo>
                  <a:lnTo>
                    <a:pt x="1406" y="156"/>
                  </a:lnTo>
                  <a:lnTo>
                    <a:pt x="1400" y="156"/>
                  </a:lnTo>
                  <a:lnTo>
                    <a:pt x="1400" y="156"/>
                  </a:lnTo>
                  <a:lnTo>
                    <a:pt x="1398" y="156"/>
                  </a:lnTo>
                  <a:lnTo>
                    <a:pt x="1398" y="156"/>
                  </a:lnTo>
                  <a:lnTo>
                    <a:pt x="1398" y="156"/>
                  </a:lnTo>
                  <a:lnTo>
                    <a:pt x="1396" y="156"/>
                  </a:lnTo>
                  <a:lnTo>
                    <a:pt x="1396" y="156"/>
                  </a:lnTo>
                  <a:lnTo>
                    <a:pt x="1396" y="156"/>
                  </a:lnTo>
                  <a:lnTo>
                    <a:pt x="1394" y="158"/>
                  </a:lnTo>
                  <a:lnTo>
                    <a:pt x="1394" y="158"/>
                  </a:lnTo>
                  <a:lnTo>
                    <a:pt x="1392" y="158"/>
                  </a:lnTo>
                  <a:lnTo>
                    <a:pt x="1392" y="158"/>
                  </a:lnTo>
                  <a:lnTo>
                    <a:pt x="1392" y="158"/>
                  </a:lnTo>
                  <a:lnTo>
                    <a:pt x="1392" y="160"/>
                  </a:lnTo>
                  <a:lnTo>
                    <a:pt x="1390" y="162"/>
                  </a:lnTo>
                  <a:lnTo>
                    <a:pt x="1390" y="162"/>
                  </a:lnTo>
                  <a:lnTo>
                    <a:pt x="1390" y="162"/>
                  </a:lnTo>
                  <a:lnTo>
                    <a:pt x="1390" y="164"/>
                  </a:lnTo>
                  <a:lnTo>
                    <a:pt x="1390" y="164"/>
                  </a:lnTo>
                  <a:lnTo>
                    <a:pt x="1390" y="170"/>
                  </a:lnTo>
                  <a:lnTo>
                    <a:pt x="1390" y="170"/>
                  </a:lnTo>
                  <a:lnTo>
                    <a:pt x="1390" y="170"/>
                  </a:lnTo>
                  <a:lnTo>
                    <a:pt x="1392" y="174"/>
                  </a:lnTo>
                  <a:lnTo>
                    <a:pt x="1392" y="174"/>
                  </a:lnTo>
                  <a:lnTo>
                    <a:pt x="1392" y="176"/>
                  </a:lnTo>
                  <a:lnTo>
                    <a:pt x="1394" y="178"/>
                  </a:lnTo>
                  <a:lnTo>
                    <a:pt x="1394" y="180"/>
                  </a:lnTo>
                  <a:lnTo>
                    <a:pt x="1394" y="180"/>
                  </a:lnTo>
                  <a:lnTo>
                    <a:pt x="1394" y="180"/>
                  </a:lnTo>
                  <a:lnTo>
                    <a:pt x="1396" y="182"/>
                  </a:lnTo>
                  <a:lnTo>
                    <a:pt x="1396" y="182"/>
                  </a:lnTo>
                  <a:lnTo>
                    <a:pt x="1396" y="182"/>
                  </a:lnTo>
                  <a:lnTo>
                    <a:pt x="1398" y="182"/>
                  </a:lnTo>
                  <a:lnTo>
                    <a:pt x="1398" y="182"/>
                  </a:lnTo>
                  <a:lnTo>
                    <a:pt x="1398" y="182"/>
                  </a:lnTo>
                  <a:lnTo>
                    <a:pt x="1404" y="184"/>
                  </a:lnTo>
                  <a:lnTo>
                    <a:pt x="1404" y="184"/>
                  </a:lnTo>
                  <a:lnTo>
                    <a:pt x="1404" y="184"/>
                  </a:lnTo>
                  <a:lnTo>
                    <a:pt x="1404" y="188"/>
                  </a:lnTo>
                  <a:lnTo>
                    <a:pt x="1404" y="188"/>
                  </a:lnTo>
                  <a:lnTo>
                    <a:pt x="1404" y="188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8" y="192"/>
                  </a:lnTo>
                  <a:lnTo>
                    <a:pt x="1408" y="194"/>
                  </a:lnTo>
                  <a:lnTo>
                    <a:pt x="1408" y="196"/>
                  </a:lnTo>
                  <a:lnTo>
                    <a:pt x="1406" y="200"/>
                  </a:lnTo>
                  <a:lnTo>
                    <a:pt x="1406" y="202"/>
                  </a:lnTo>
                  <a:lnTo>
                    <a:pt x="1404" y="204"/>
                  </a:lnTo>
                  <a:lnTo>
                    <a:pt x="1404" y="204"/>
                  </a:lnTo>
                  <a:lnTo>
                    <a:pt x="1402" y="200"/>
                  </a:lnTo>
                  <a:lnTo>
                    <a:pt x="1402" y="196"/>
                  </a:lnTo>
                  <a:lnTo>
                    <a:pt x="1400" y="192"/>
                  </a:lnTo>
                  <a:lnTo>
                    <a:pt x="1396" y="188"/>
                  </a:lnTo>
                  <a:lnTo>
                    <a:pt x="1394" y="186"/>
                  </a:lnTo>
                  <a:lnTo>
                    <a:pt x="1394" y="186"/>
                  </a:lnTo>
                  <a:lnTo>
                    <a:pt x="1394" y="186"/>
                  </a:lnTo>
                  <a:lnTo>
                    <a:pt x="1394" y="184"/>
                  </a:lnTo>
                  <a:lnTo>
                    <a:pt x="1394" y="184"/>
                  </a:lnTo>
                  <a:lnTo>
                    <a:pt x="1392" y="184"/>
                  </a:lnTo>
                  <a:lnTo>
                    <a:pt x="1392" y="184"/>
                  </a:lnTo>
                  <a:lnTo>
                    <a:pt x="1392" y="184"/>
                  </a:lnTo>
                  <a:lnTo>
                    <a:pt x="1390" y="184"/>
                  </a:lnTo>
                  <a:lnTo>
                    <a:pt x="1390" y="184"/>
                  </a:lnTo>
                  <a:lnTo>
                    <a:pt x="1390" y="184"/>
                  </a:lnTo>
                  <a:lnTo>
                    <a:pt x="1388" y="184"/>
                  </a:lnTo>
                  <a:lnTo>
                    <a:pt x="1388" y="184"/>
                  </a:lnTo>
                  <a:lnTo>
                    <a:pt x="1388" y="184"/>
                  </a:lnTo>
                  <a:lnTo>
                    <a:pt x="1386" y="184"/>
                  </a:lnTo>
                  <a:lnTo>
                    <a:pt x="1384" y="186"/>
                  </a:lnTo>
                  <a:lnTo>
                    <a:pt x="1384" y="186"/>
                  </a:lnTo>
                  <a:lnTo>
                    <a:pt x="1384" y="188"/>
                  </a:lnTo>
                  <a:lnTo>
                    <a:pt x="1382" y="190"/>
                  </a:lnTo>
                  <a:lnTo>
                    <a:pt x="1382" y="192"/>
                  </a:lnTo>
                  <a:lnTo>
                    <a:pt x="1382" y="192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78" y="190"/>
                  </a:lnTo>
                  <a:lnTo>
                    <a:pt x="1378" y="190"/>
                  </a:lnTo>
                  <a:lnTo>
                    <a:pt x="1376" y="190"/>
                  </a:lnTo>
                  <a:lnTo>
                    <a:pt x="1374" y="190"/>
                  </a:lnTo>
                  <a:lnTo>
                    <a:pt x="1370" y="188"/>
                  </a:lnTo>
                  <a:lnTo>
                    <a:pt x="1368" y="190"/>
                  </a:lnTo>
                  <a:lnTo>
                    <a:pt x="1364" y="190"/>
                  </a:lnTo>
                  <a:lnTo>
                    <a:pt x="1362" y="190"/>
                  </a:lnTo>
                  <a:lnTo>
                    <a:pt x="1362" y="190"/>
                  </a:lnTo>
                  <a:lnTo>
                    <a:pt x="1362" y="190"/>
                  </a:lnTo>
                  <a:lnTo>
                    <a:pt x="1362" y="192"/>
                  </a:lnTo>
                  <a:lnTo>
                    <a:pt x="1362" y="192"/>
                  </a:lnTo>
                  <a:lnTo>
                    <a:pt x="1360" y="192"/>
                  </a:lnTo>
                  <a:lnTo>
                    <a:pt x="1360" y="192"/>
                  </a:lnTo>
                  <a:lnTo>
                    <a:pt x="1360" y="192"/>
                  </a:lnTo>
                  <a:lnTo>
                    <a:pt x="1360" y="194"/>
                  </a:lnTo>
                  <a:lnTo>
                    <a:pt x="1360" y="196"/>
                  </a:lnTo>
                  <a:lnTo>
                    <a:pt x="1360" y="196"/>
                  </a:lnTo>
                  <a:lnTo>
                    <a:pt x="1360" y="196"/>
                  </a:lnTo>
                  <a:lnTo>
                    <a:pt x="1362" y="198"/>
                  </a:lnTo>
                  <a:lnTo>
                    <a:pt x="1364" y="200"/>
                  </a:lnTo>
                  <a:lnTo>
                    <a:pt x="1366" y="202"/>
                  </a:lnTo>
                  <a:lnTo>
                    <a:pt x="1368" y="204"/>
                  </a:lnTo>
                  <a:lnTo>
                    <a:pt x="1370" y="206"/>
                  </a:lnTo>
                  <a:lnTo>
                    <a:pt x="1368" y="206"/>
                  </a:lnTo>
                  <a:lnTo>
                    <a:pt x="1366" y="208"/>
                  </a:lnTo>
                  <a:lnTo>
                    <a:pt x="1366" y="210"/>
                  </a:lnTo>
                  <a:lnTo>
                    <a:pt x="1362" y="212"/>
                  </a:lnTo>
                  <a:lnTo>
                    <a:pt x="1356" y="214"/>
                  </a:lnTo>
                  <a:lnTo>
                    <a:pt x="1352" y="216"/>
                  </a:lnTo>
                  <a:lnTo>
                    <a:pt x="1352" y="216"/>
                  </a:lnTo>
                  <a:lnTo>
                    <a:pt x="1352" y="216"/>
                  </a:lnTo>
                  <a:lnTo>
                    <a:pt x="1348" y="218"/>
                  </a:lnTo>
                  <a:lnTo>
                    <a:pt x="1348" y="218"/>
                  </a:lnTo>
                  <a:lnTo>
                    <a:pt x="1348" y="218"/>
                  </a:lnTo>
                  <a:lnTo>
                    <a:pt x="1346" y="218"/>
                  </a:lnTo>
                  <a:lnTo>
                    <a:pt x="1346" y="218"/>
                  </a:lnTo>
                  <a:lnTo>
                    <a:pt x="1346" y="220"/>
                  </a:lnTo>
                  <a:lnTo>
                    <a:pt x="1344" y="222"/>
                  </a:lnTo>
                  <a:lnTo>
                    <a:pt x="1344" y="222"/>
                  </a:lnTo>
                  <a:lnTo>
                    <a:pt x="1344" y="222"/>
                  </a:lnTo>
                  <a:lnTo>
                    <a:pt x="1342" y="226"/>
                  </a:lnTo>
                  <a:lnTo>
                    <a:pt x="1342" y="228"/>
                  </a:lnTo>
                  <a:lnTo>
                    <a:pt x="1340" y="230"/>
                  </a:lnTo>
                  <a:lnTo>
                    <a:pt x="1340" y="230"/>
                  </a:lnTo>
                  <a:lnTo>
                    <a:pt x="1338" y="230"/>
                  </a:lnTo>
                  <a:lnTo>
                    <a:pt x="1336" y="232"/>
                  </a:lnTo>
                  <a:lnTo>
                    <a:pt x="1332" y="232"/>
                  </a:lnTo>
                  <a:lnTo>
                    <a:pt x="1330" y="232"/>
                  </a:lnTo>
                  <a:lnTo>
                    <a:pt x="1330" y="232"/>
                  </a:lnTo>
                  <a:lnTo>
                    <a:pt x="1328" y="232"/>
                  </a:lnTo>
                  <a:lnTo>
                    <a:pt x="1326" y="232"/>
                  </a:lnTo>
                  <a:lnTo>
                    <a:pt x="1324" y="234"/>
                  </a:lnTo>
                  <a:lnTo>
                    <a:pt x="1322" y="234"/>
                  </a:lnTo>
                  <a:lnTo>
                    <a:pt x="1320" y="236"/>
                  </a:lnTo>
                  <a:lnTo>
                    <a:pt x="1318" y="238"/>
                  </a:lnTo>
                  <a:lnTo>
                    <a:pt x="1314" y="240"/>
                  </a:lnTo>
                  <a:lnTo>
                    <a:pt x="1310" y="242"/>
                  </a:lnTo>
                  <a:lnTo>
                    <a:pt x="1306" y="244"/>
                  </a:lnTo>
                  <a:lnTo>
                    <a:pt x="1306" y="244"/>
                  </a:lnTo>
                  <a:lnTo>
                    <a:pt x="1306" y="244"/>
                  </a:lnTo>
                  <a:lnTo>
                    <a:pt x="1310" y="238"/>
                  </a:lnTo>
                  <a:lnTo>
                    <a:pt x="1312" y="236"/>
                  </a:lnTo>
                  <a:lnTo>
                    <a:pt x="1314" y="234"/>
                  </a:lnTo>
                  <a:lnTo>
                    <a:pt x="1314" y="232"/>
                  </a:lnTo>
                  <a:lnTo>
                    <a:pt x="1316" y="230"/>
                  </a:lnTo>
                  <a:lnTo>
                    <a:pt x="1318" y="226"/>
                  </a:lnTo>
                  <a:lnTo>
                    <a:pt x="1320" y="224"/>
                  </a:lnTo>
                  <a:lnTo>
                    <a:pt x="1322" y="222"/>
                  </a:lnTo>
                  <a:lnTo>
                    <a:pt x="1322" y="222"/>
                  </a:lnTo>
                  <a:lnTo>
                    <a:pt x="1322" y="222"/>
                  </a:lnTo>
                  <a:lnTo>
                    <a:pt x="1322" y="220"/>
                  </a:lnTo>
                  <a:lnTo>
                    <a:pt x="1322" y="220"/>
                  </a:lnTo>
                  <a:lnTo>
                    <a:pt x="1324" y="220"/>
                  </a:lnTo>
                  <a:lnTo>
                    <a:pt x="1324" y="218"/>
                  </a:lnTo>
                  <a:lnTo>
                    <a:pt x="1324" y="218"/>
                  </a:lnTo>
                  <a:lnTo>
                    <a:pt x="1324" y="216"/>
                  </a:lnTo>
                  <a:lnTo>
                    <a:pt x="1324" y="216"/>
                  </a:lnTo>
                  <a:lnTo>
                    <a:pt x="1324" y="216"/>
                  </a:lnTo>
                  <a:lnTo>
                    <a:pt x="1322" y="214"/>
                  </a:lnTo>
                  <a:lnTo>
                    <a:pt x="1322" y="212"/>
                  </a:lnTo>
                  <a:lnTo>
                    <a:pt x="1322" y="214"/>
                  </a:lnTo>
                  <a:lnTo>
                    <a:pt x="1322" y="214"/>
                  </a:lnTo>
                  <a:lnTo>
                    <a:pt x="1324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30" y="214"/>
                  </a:lnTo>
                  <a:lnTo>
                    <a:pt x="1330" y="214"/>
                  </a:lnTo>
                  <a:lnTo>
                    <a:pt x="1334" y="212"/>
                  </a:lnTo>
                  <a:lnTo>
                    <a:pt x="1334" y="212"/>
                  </a:lnTo>
                  <a:lnTo>
                    <a:pt x="1334" y="212"/>
                  </a:lnTo>
                  <a:lnTo>
                    <a:pt x="1338" y="210"/>
                  </a:lnTo>
                  <a:lnTo>
                    <a:pt x="1338" y="210"/>
                  </a:lnTo>
                  <a:lnTo>
                    <a:pt x="1338" y="210"/>
                  </a:lnTo>
                  <a:lnTo>
                    <a:pt x="1342" y="208"/>
                  </a:lnTo>
                  <a:lnTo>
                    <a:pt x="1342" y="208"/>
                  </a:lnTo>
                  <a:lnTo>
                    <a:pt x="1342" y="208"/>
                  </a:lnTo>
                  <a:lnTo>
                    <a:pt x="1344" y="206"/>
                  </a:lnTo>
                  <a:lnTo>
                    <a:pt x="1344" y="206"/>
                  </a:lnTo>
                  <a:lnTo>
                    <a:pt x="1344" y="206"/>
                  </a:lnTo>
                  <a:lnTo>
                    <a:pt x="1346" y="204"/>
                  </a:lnTo>
                  <a:lnTo>
                    <a:pt x="1348" y="200"/>
                  </a:lnTo>
                  <a:lnTo>
                    <a:pt x="1352" y="196"/>
                  </a:lnTo>
                  <a:lnTo>
                    <a:pt x="1354" y="192"/>
                  </a:lnTo>
                  <a:lnTo>
                    <a:pt x="1356" y="188"/>
                  </a:lnTo>
                  <a:lnTo>
                    <a:pt x="1358" y="184"/>
                  </a:lnTo>
                  <a:lnTo>
                    <a:pt x="1360" y="180"/>
                  </a:lnTo>
                  <a:lnTo>
                    <a:pt x="1364" y="176"/>
                  </a:lnTo>
                  <a:lnTo>
                    <a:pt x="1366" y="174"/>
                  </a:lnTo>
                  <a:lnTo>
                    <a:pt x="1368" y="172"/>
                  </a:lnTo>
                  <a:lnTo>
                    <a:pt x="1374" y="166"/>
                  </a:lnTo>
                  <a:lnTo>
                    <a:pt x="1378" y="160"/>
                  </a:lnTo>
                  <a:lnTo>
                    <a:pt x="1380" y="158"/>
                  </a:lnTo>
                  <a:lnTo>
                    <a:pt x="1384" y="156"/>
                  </a:lnTo>
                  <a:lnTo>
                    <a:pt x="1386" y="154"/>
                  </a:lnTo>
                  <a:lnTo>
                    <a:pt x="1388" y="154"/>
                  </a:lnTo>
                  <a:lnTo>
                    <a:pt x="1394" y="152"/>
                  </a:lnTo>
                  <a:lnTo>
                    <a:pt x="1396" y="150"/>
                  </a:lnTo>
                  <a:lnTo>
                    <a:pt x="1400" y="148"/>
                  </a:lnTo>
                  <a:lnTo>
                    <a:pt x="1402" y="146"/>
                  </a:lnTo>
                  <a:lnTo>
                    <a:pt x="1404" y="144"/>
                  </a:lnTo>
                  <a:lnTo>
                    <a:pt x="1408" y="140"/>
                  </a:lnTo>
                  <a:lnTo>
                    <a:pt x="1412" y="138"/>
                  </a:lnTo>
                  <a:lnTo>
                    <a:pt x="1414" y="134"/>
                  </a:lnTo>
                  <a:lnTo>
                    <a:pt x="1418" y="130"/>
                  </a:lnTo>
                  <a:lnTo>
                    <a:pt x="1422" y="124"/>
                  </a:lnTo>
                  <a:lnTo>
                    <a:pt x="1424" y="120"/>
                  </a:lnTo>
                  <a:lnTo>
                    <a:pt x="1426" y="118"/>
                  </a:lnTo>
                  <a:lnTo>
                    <a:pt x="1428" y="114"/>
                  </a:lnTo>
                  <a:lnTo>
                    <a:pt x="1430" y="112"/>
                  </a:lnTo>
                  <a:lnTo>
                    <a:pt x="1430" y="112"/>
                  </a:lnTo>
                  <a:lnTo>
                    <a:pt x="1430" y="110"/>
                  </a:lnTo>
                  <a:lnTo>
                    <a:pt x="1430" y="108"/>
                  </a:lnTo>
                  <a:lnTo>
                    <a:pt x="1430" y="108"/>
                  </a:lnTo>
                  <a:lnTo>
                    <a:pt x="1430" y="108"/>
                  </a:lnTo>
                  <a:lnTo>
                    <a:pt x="1430" y="106"/>
                  </a:lnTo>
                  <a:lnTo>
                    <a:pt x="1430" y="106"/>
                  </a:lnTo>
                  <a:lnTo>
                    <a:pt x="1428" y="104"/>
                  </a:lnTo>
                  <a:lnTo>
                    <a:pt x="1428" y="102"/>
                  </a:lnTo>
                  <a:lnTo>
                    <a:pt x="1426" y="98"/>
                  </a:lnTo>
                  <a:lnTo>
                    <a:pt x="1426" y="100"/>
                  </a:lnTo>
                  <a:lnTo>
                    <a:pt x="1426" y="98"/>
                  </a:lnTo>
                  <a:lnTo>
                    <a:pt x="1426" y="98"/>
                  </a:lnTo>
                  <a:lnTo>
                    <a:pt x="1426" y="98"/>
                  </a:lnTo>
                  <a:lnTo>
                    <a:pt x="1426" y="96"/>
                  </a:lnTo>
                  <a:lnTo>
                    <a:pt x="1430" y="94"/>
                  </a:lnTo>
                  <a:lnTo>
                    <a:pt x="1432" y="92"/>
                  </a:lnTo>
                  <a:lnTo>
                    <a:pt x="1432" y="92"/>
                  </a:lnTo>
                  <a:lnTo>
                    <a:pt x="1432" y="90"/>
                  </a:lnTo>
                  <a:lnTo>
                    <a:pt x="1434" y="90"/>
                  </a:lnTo>
                  <a:lnTo>
                    <a:pt x="1434" y="90"/>
                  </a:lnTo>
                  <a:lnTo>
                    <a:pt x="1434" y="88"/>
                  </a:lnTo>
                  <a:lnTo>
                    <a:pt x="1434" y="86"/>
                  </a:lnTo>
                  <a:lnTo>
                    <a:pt x="1434" y="86"/>
                  </a:lnTo>
                  <a:lnTo>
                    <a:pt x="1434" y="84"/>
                  </a:lnTo>
                  <a:lnTo>
                    <a:pt x="1434" y="84"/>
                  </a:lnTo>
                  <a:lnTo>
                    <a:pt x="1434" y="82"/>
                  </a:lnTo>
                  <a:lnTo>
                    <a:pt x="1432" y="80"/>
                  </a:lnTo>
                  <a:lnTo>
                    <a:pt x="1430" y="76"/>
                  </a:lnTo>
                  <a:lnTo>
                    <a:pt x="1428" y="70"/>
                  </a:lnTo>
                  <a:lnTo>
                    <a:pt x="1426" y="68"/>
                  </a:lnTo>
                  <a:lnTo>
                    <a:pt x="1426" y="66"/>
                  </a:lnTo>
                  <a:lnTo>
                    <a:pt x="1426" y="66"/>
                  </a:lnTo>
                  <a:lnTo>
                    <a:pt x="1426" y="64"/>
                  </a:lnTo>
                  <a:lnTo>
                    <a:pt x="1426" y="62"/>
                  </a:lnTo>
                  <a:lnTo>
                    <a:pt x="1426" y="56"/>
                  </a:lnTo>
                  <a:lnTo>
                    <a:pt x="1426" y="54"/>
                  </a:lnTo>
                  <a:lnTo>
                    <a:pt x="1428" y="52"/>
                  </a:lnTo>
                  <a:lnTo>
                    <a:pt x="1428" y="50"/>
                  </a:lnTo>
                  <a:lnTo>
                    <a:pt x="1428" y="50"/>
                  </a:lnTo>
                  <a:lnTo>
                    <a:pt x="1426" y="48"/>
                  </a:lnTo>
                  <a:lnTo>
                    <a:pt x="1426" y="48"/>
                  </a:lnTo>
                  <a:lnTo>
                    <a:pt x="1426" y="48"/>
                  </a:lnTo>
                  <a:lnTo>
                    <a:pt x="1424" y="46"/>
                  </a:lnTo>
                  <a:lnTo>
                    <a:pt x="1424" y="46"/>
                  </a:lnTo>
                  <a:lnTo>
                    <a:pt x="1424" y="46"/>
                  </a:lnTo>
                  <a:lnTo>
                    <a:pt x="1422" y="46"/>
                  </a:lnTo>
                  <a:lnTo>
                    <a:pt x="1420" y="46"/>
                  </a:lnTo>
                  <a:lnTo>
                    <a:pt x="1418" y="46"/>
                  </a:lnTo>
                  <a:lnTo>
                    <a:pt x="1416" y="48"/>
                  </a:lnTo>
                  <a:lnTo>
                    <a:pt x="1410" y="48"/>
                  </a:lnTo>
                  <a:lnTo>
                    <a:pt x="1408" y="50"/>
                  </a:lnTo>
                  <a:lnTo>
                    <a:pt x="1408" y="50"/>
                  </a:lnTo>
                  <a:lnTo>
                    <a:pt x="1408" y="48"/>
                  </a:lnTo>
                  <a:lnTo>
                    <a:pt x="1408" y="46"/>
                  </a:lnTo>
                  <a:lnTo>
                    <a:pt x="1408" y="42"/>
                  </a:lnTo>
                  <a:lnTo>
                    <a:pt x="1408" y="42"/>
                  </a:lnTo>
                  <a:lnTo>
                    <a:pt x="1408" y="42"/>
                  </a:lnTo>
                  <a:lnTo>
                    <a:pt x="1406" y="42"/>
                  </a:lnTo>
                  <a:lnTo>
                    <a:pt x="1406" y="42"/>
                  </a:lnTo>
                  <a:lnTo>
                    <a:pt x="1406" y="40"/>
                  </a:lnTo>
                  <a:lnTo>
                    <a:pt x="1404" y="38"/>
                  </a:lnTo>
                  <a:lnTo>
                    <a:pt x="1402" y="36"/>
                  </a:lnTo>
                  <a:lnTo>
                    <a:pt x="1400" y="34"/>
                  </a:lnTo>
                  <a:lnTo>
                    <a:pt x="1400" y="34"/>
                  </a:lnTo>
                  <a:lnTo>
                    <a:pt x="1400" y="34"/>
                  </a:lnTo>
                  <a:lnTo>
                    <a:pt x="1398" y="32"/>
                  </a:lnTo>
                  <a:lnTo>
                    <a:pt x="1394" y="32"/>
                  </a:lnTo>
                  <a:lnTo>
                    <a:pt x="1392" y="30"/>
                  </a:lnTo>
                  <a:lnTo>
                    <a:pt x="1388" y="30"/>
                  </a:lnTo>
                  <a:lnTo>
                    <a:pt x="1386" y="28"/>
                  </a:lnTo>
                  <a:lnTo>
                    <a:pt x="1384" y="28"/>
                  </a:lnTo>
                  <a:lnTo>
                    <a:pt x="1378" y="28"/>
                  </a:lnTo>
                  <a:lnTo>
                    <a:pt x="1372" y="26"/>
                  </a:lnTo>
                  <a:lnTo>
                    <a:pt x="1366" y="26"/>
                  </a:lnTo>
                  <a:lnTo>
                    <a:pt x="1358" y="26"/>
                  </a:lnTo>
                  <a:lnTo>
                    <a:pt x="1352" y="26"/>
                  </a:lnTo>
                  <a:lnTo>
                    <a:pt x="1348" y="24"/>
                  </a:lnTo>
                  <a:lnTo>
                    <a:pt x="1346" y="26"/>
                  </a:lnTo>
                  <a:lnTo>
                    <a:pt x="1344" y="26"/>
                  </a:lnTo>
                  <a:lnTo>
                    <a:pt x="1344" y="26"/>
                  </a:lnTo>
                  <a:lnTo>
                    <a:pt x="1340" y="26"/>
                  </a:lnTo>
                  <a:lnTo>
                    <a:pt x="1340" y="26"/>
                  </a:lnTo>
                  <a:lnTo>
                    <a:pt x="1340" y="26"/>
                  </a:lnTo>
                  <a:lnTo>
                    <a:pt x="1338" y="28"/>
                  </a:lnTo>
                  <a:lnTo>
                    <a:pt x="1338" y="28"/>
                  </a:lnTo>
                  <a:lnTo>
                    <a:pt x="1338" y="28"/>
                  </a:lnTo>
                  <a:lnTo>
                    <a:pt x="1336" y="30"/>
                  </a:lnTo>
                  <a:lnTo>
                    <a:pt x="1336" y="30"/>
                  </a:lnTo>
                  <a:lnTo>
                    <a:pt x="1336" y="30"/>
                  </a:lnTo>
                  <a:lnTo>
                    <a:pt x="1336" y="32"/>
                  </a:lnTo>
                  <a:lnTo>
                    <a:pt x="1336" y="32"/>
                  </a:lnTo>
                  <a:lnTo>
                    <a:pt x="1336" y="32"/>
                  </a:lnTo>
                  <a:lnTo>
                    <a:pt x="1336" y="34"/>
                  </a:lnTo>
                  <a:lnTo>
                    <a:pt x="1336" y="34"/>
                  </a:lnTo>
                  <a:lnTo>
                    <a:pt x="1336" y="34"/>
                  </a:lnTo>
                  <a:lnTo>
                    <a:pt x="1334" y="36"/>
                  </a:lnTo>
                  <a:lnTo>
                    <a:pt x="1332" y="36"/>
                  </a:lnTo>
                  <a:lnTo>
                    <a:pt x="1326" y="38"/>
                  </a:lnTo>
                  <a:lnTo>
                    <a:pt x="1326" y="38"/>
                  </a:lnTo>
                  <a:lnTo>
                    <a:pt x="1322" y="38"/>
                  </a:lnTo>
                  <a:lnTo>
                    <a:pt x="1322" y="38"/>
                  </a:lnTo>
                  <a:lnTo>
                    <a:pt x="1322" y="38"/>
                  </a:lnTo>
                  <a:lnTo>
                    <a:pt x="1322" y="36"/>
                  </a:lnTo>
                  <a:lnTo>
                    <a:pt x="1324" y="36"/>
                  </a:lnTo>
                  <a:lnTo>
                    <a:pt x="1324" y="36"/>
                  </a:lnTo>
                  <a:lnTo>
                    <a:pt x="1324" y="36"/>
                  </a:lnTo>
                  <a:lnTo>
                    <a:pt x="1326" y="34"/>
                  </a:lnTo>
                  <a:lnTo>
                    <a:pt x="1326" y="30"/>
                  </a:lnTo>
                  <a:lnTo>
                    <a:pt x="1328" y="28"/>
                  </a:lnTo>
                  <a:lnTo>
                    <a:pt x="1330" y="24"/>
                  </a:lnTo>
                  <a:lnTo>
                    <a:pt x="1330" y="20"/>
                  </a:lnTo>
                  <a:lnTo>
                    <a:pt x="1332" y="16"/>
                  </a:lnTo>
                  <a:lnTo>
                    <a:pt x="1332" y="12"/>
                  </a:lnTo>
                  <a:lnTo>
                    <a:pt x="1332" y="10"/>
                  </a:lnTo>
                  <a:lnTo>
                    <a:pt x="1332" y="10"/>
                  </a:lnTo>
                  <a:lnTo>
                    <a:pt x="1332" y="8"/>
                  </a:lnTo>
                  <a:lnTo>
                    <a:pt x="1332" y="6"/>
                  </a:lnTo>
                  <a:lnTo>
                    <a:pt x="1332" y="6"/>
                  </a:lnTo>
                  <a:lnTo>
                    <a:pt x="1332" y="6"/>
                  </a:lnTo>
                  <a:lnTo>
                    <a:pt x="1330" y="4"/>
                  </a:lnTo>
                  <a:lnTo>
                    <a:pt x="1330" y="4"/>
                  </a:lnTo>
                  <a:lnTo>
                    <a:pt x="1330" y="2"/>
                  </a:lnTo>
                  <a:lnTo>
                    <a:pt x="1328" y="2"/>
                  </a:lnTo>
                  <a:lnTo>
                    <a:pt x="1328" y="2"/>
                  </a:lnTo>
                  <a:lnTo>
                    <a:pt x="1326" y="2"/>
                  </a:lnTo>
                  <a:lnTo>
                    <a:pt x="1324" y="0"/>
                  </a:lnTo>
                  <a:lnTo>
                    <a:pt x="1324" y="0"/>
                  </a:lnTo>
                  <a:lnTo>
                    <a:pt x="1322" y="0"/>
                  </a:lnTo>
                  <a:lnTo>
                    <a:pt x="1318" y="0"/>
                  </a:lnTo>
                  <a:lnTo>
                    <a:pt x="1314" y="0"/>
                  </a:lnTo>
                  <a:lnTo>
                    <a:pt x="1310" y="0"/>
                  </a:lnTo>
                  <a:lnTo>
                    <a:pt x="1304" y="0"/>
                  </a:lnTo>
                  <a:lnTo>
                    <a:pt x="1302" y="0"/>
                  </a:lnTo>
                  <a:lnTo>
                    <a:pt x="1298" y="0"/>
                  </a:lnTo>
                  <a:lnTo>
                    <a:pt x="1294" y="0"/>
                  </a:lnTo>
                  <a:lnTo>
                    <a:pt x="1290" y="0"/>
                  </a:lnTo>
                  <a:lnTo>
                    <a:pt x="1280" y="0"/>
                  </a:lnTo>
                  <a:lnTo>
                    <a:pt x="1270" y="0"/>
                  </a:lnTo>
                  <a:lnTo>
                    <a:pt x="1260" y="0"/>
                  </a:lnTo>
                  <a:lnTo>
                    <a:pt x="1250" y="0"/>
                  </a:lnTo>
                  <a:lnTo>
                    <a:pt x="1246" y="0"/>
                  </a:lnTo>
                  <a:lnTo>
                    <a:pt x="1242" y="0"/>
                  </a:lnTo>
                  <a:lnTo>
                    <a:pt x="1240" y="0"/>
                  </a:lnTo>
                  <a:lnTo>
                    <a:pt x="1236" y="0"/>
                  </a:lnTo>
                  <a:lnTo>
                    <a:pt x="1234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28" y="2"/>
                  </a:lnTo>
                  <a:lnTo>
                    <a:pt x="1228" y="2"/>
                  </a:lnTo>
                  <a:lnTo>
                    <a:pt x="1228" y="6"/>
                  </a:lnTo>
                  <a:lnTo>
                    <a:pt x="1228" y="6"/>
                  </a:lnTo>
                  <a:lnTo>
                    <a:pt x="1228" y="6"/>
                  </a:lnTo>
                  <a:lnTo>
                    <a:pt x="1228" y="8"/>
                  </a:lnTo>
                  <a:lnTo>
                    <a:pt x="1230" y="8"/>
                  </a:lnTo>
                  <a:lnTo>
                    <a:pt x="1230" y="10"/>
                  </a:lnTo>
                  <a:lnTo>
                    <a:pt x="1230" y="10"/>
                  </a:lnTo>
                  <a:lnTo>
                    <a:pt x="1230" y="12"/>
                  </a:lnTo>
                  <a:lnTo>
                    <a:pt x="1230" y="14"/>
                  </a:lnTo>
                  <a:lnTo>
                    <a:pt x="1232" y="16"/>
                  </a:lnTo>
                  <a:lnTo>
                    <a:pt x="1232" y="20"/>
                  </a:lnTo>
                  <a:lnTo>
                    <a:pt x="1234" y="24"/>
                  </a:lnTo>
                  <a:lnTo>
                    <a:pt x="1234" y="26"/>
                  </a:lnTo>
                  <a:lnTo>
                    <a:pt x="1234" y="28"/>
                  </a:lnTo>
                  <a:lnTo>
                    <a:pt x="1234" y="28"/>
                  </a:lnTo>
                  <a:lnTo>
                    <a:pt x="1232" y="30"/>
                  </a:lnTo>
                  <a:lnTo>
                    <a:pt x="1232" y="36"/>
                  </a:lnTo>
                  <a:lnTo>
                    <a:pt x="1232" y="34"/>
                  </a:lnTo>
                  <a:lnTo>
                    <a:pt x="1228" y="38"/>
                  </a:lnTo>
                  <a:lnTo>
                    <a:pt x="1230" y="38"/>
                  </a:lnTo>
                  <a:lnTo>
                    <a:pt x="1228" y="40"/>
                  </a:lnTo>
                  <a:lnTo>
                    <a:pt x="1228" y="40"/>
                  </a:lnTo>
                  <a:lnTo>
                    <a:pt x="1226" y="40"/>
                  </a:lnTo>
                  <a:lnTo>
                    <a:pt x="1224" y="42"/>
                  </a:lnTo>
                  <a:lnTo>
                    <a:pt x="1216" y="42"/>
                  </a:lnTo>
                  <a:lnTo>
                    <a:pt x="1214" y="42"/>
                  </a:lnTo>
                  <a:lnTo>
                    <a:pt x="1214" y="42"/>
                  </a:lnTo>
                  <a:lnTo>
                    <a:pt x="1212" y="42"/>
                  </a:lnTo>
                  <a:lnTo>
                    <a:pt x="1210" y="42"/>
                  </a:lnTo>
                  <a:lnTo>
                    <a:pt x="1210" y="42"/>
                  </a:lnTo>
                  <a:lnTo>
                    <a:pt x="1210" y="42"/>
                  </a:lnTo>
                  <a:lnTo>
                    <a:pt x="1208" y="44"/>
                  </a:lnTo>
                  <a:lnTo>
                    <a:pt x="1208" y="44"/>
                  </a:lnTo>
                  <a:lnTo>
                    <a:pt x="1206" y="44"/>
                  </a:lnTo>
                  <a:lnTo>
                    <a:pt x="1206" y="46"/>
                  </a:lnTo>
                  <a:lnTo>
                    <a:pt x="1206" y="46"/>
                  </a:lnTo>
                  <a:lnTo>
                    <a:pt x="1206" y="48"/>
                  </a:lnTo>
                  <a:lnTo>
                    <a:pt x="1206" y="50"/>
                  </a:lnTo>
                  <a:lnTo>
                    <a:pt x="1206" y="50"/>
                  </a:lnTo>
                  <a:lnTo>
                    <a:pt x="1206" y="52"/>
                  </a:lnTo>
                  <a:lnTo>
                    <a:pt x="1208" y="54"/>
                  </a:lnTo>
                  <a:lnTo>
                    <a:pt x="1208" y="58"/>
                  </a:lnTo>
                  <a:lnTo>
                    <a:pt x="1210" y="60"/>
                  </a:lnTo>
                  <a:lnTo>
                    <a:pt x="1210" y="60"/>
                  </a:lnTo>
                  <a:lnTo>
                    <a:pt x="1208" y="60"/>
                  </a:lnTo>
                  <a:lnTo>
                    <a:pt x="1204" y="58"/>
                  </a:lnTo>
                  <a:lnTo>
                    <a:pt x="1204" y="58"/>
                  </a:lnTo>
                  <a:lnTo>
                    <a:pt x="1204" y="58"/>
                  </a:lnTo>
                  <a:lnTo>
                    <a:pt x="1202" y="56"/>
                  </a:lnTo>
                  <a:lnTo>
                    <a:pt x="1202" y="56"/>
                  </a:lnTo>
                  <a:lnTo>
                    <a:pt x="1202" y="56"/>
                  </a:lnTo>
                  <a:lnTo>
                    <a:pt x="1200" y="56"/>
                  </a:lnTo>
                  <a:lnTo>
                    <a:pt x="1198" y="56"/>
                  </a:lnTo>
                  <a:lnTo>
                    <a:pt x="1196" y="56"/>
                  </a:lnTo>
                  <a:lnTo>
                    <a:pt x="1192" y="56"/>
                  </a:lnTo>
                  <a:lnTo>
                    <a:pt x="1188" y="58"/>
                  </a:lnTo>
                  <a:lnTo>
                    <a:pt x="1182" y="62"/>
                  </a:lnTo>
                  <a:lnTo>
                    <a:pt x="1176" y="64"/>
                  </a:lnTo>
                  <a:lnTo>
                    <a:pt x="1176" y="64"/>
                  </a:lnTo>
                  <a:lnTo>
                    <a:pt x="1174" y="64"/>
                  </a:lnTo>
                  <a:lnTo>
                    <a:pt x="1172" y="66"/>
                  </a:lnTo>
                  <a:lnTo>
                    <a:pt x="1170" y="70"/>
                  </a:lnTo>
                  <a:lnTo>
                    <a:pt x="1166" y="74"/>
                  </a:lnTo>
                  <a:lnTo>
                    <a:pt x="1164" y="76"/>
                  </a:lnTo>
                  <a:lnTo>
                    <a:pt x="1162" y="78"/>
                  </a:lnTo>
                  <a:lnTo>
                    <a:pt x="1160" y="78"/>
                  </a:lnTo>
                  <a:lnTo>
                    <a:pt x="1160" y="78"/>
                  </a:lnTo>
                  <a:lnTo>
                    <a:pt x="1158" y="78"/>
                  </a:lnTo>
                  <a:lnTo>
                    <a:pt x="1158" y="78"/>
                  </a:lnTo>
                  <a:lnTo>
                    <a:pt x="1158" y="78"/>
                  </a:lnTo>
                  <a:lnTo>
                    <a:pt x="1156" y="76"/>
                  </a:lnTo>
                  <a:lnTo>
                    <a:pt x="1152" y="72"/>
                  </a:lnTo>
                  <a:lnTo>
                    <a:pt x="1150" y="70"/>
                  </a:lnTo>
                  <a:lnTo>
                    <a:pt x="1148" y="66"/>
                  </a:lnTo>
                  <a:lnTo>
                    <a:pt x="1144" y="62"/>
                  </a:lnTo>
                  <a:lnTo>
                    <a:pt x="1142" y="58"/>
                  </a:lnTo>
                  <a:lnTo>
                    <a:pt x="1142" y="58"/>
                  </a:lnTo>
                  <a:lnTo>
                    <a:pt x="1142" y="58"/>
                  </a:lnTo>
                  <a:lnTo>
                    <a:pt x="1140" y="58"/>
                  </a:lnTo>
                  <a:lnTo>
                    <a:pt x="1140" y="58"/>
                  </a:lnTo>
                  <a:lnTo>
                    <a:pt x="1140" y="58"/>
                  </a:lnTo>
                  <a:lnTo>
                    <a:pt x="1140" y="56"/>
                  </a:lnTo>
                  <a:lnTo>
                    <a:pt x="1140" y="56"/>
                  </a:lnTo>
                  <a:lnTo>
                    <a:pt x="1138" y="56"/>
                  </a:lnTo>
                  <a:lnTo>
                    <a:pt x="1136" y="56"/>
                  </a:lnTo>
                  <a:lnTo>
                    <a:pt x="1136" y="56"/>
                  </a:lnTo>
                  <a:lnTo>
                    <a:pt x="1136" y="56"/>
                  </a:lnTo>
                  <a:lnTo>
                    <a:pt x="1134" y="56"/>
                  </a:lnTo>
                  <a:lnTo>
                    <a:pt x="1134" y="56"/>
                  </a:lnTo>
                  <a:lnTo>
                    <a:pt x="1132" y="56"/>
                  </a:lnTo>
                  <a:lnTo>
                    <a:pt x="1132" y="58"/>
                  </a:lnTo>
                  <a:lnTo>
                    <a:pt x="1132" y="58"/>
                  </a:lnTo>
                  <a:lnTo>
                    <a:pt x="1130" y="58"/>
                  </a:lnTo>
                  <a:lnTo>
                    <a:pt x="1130" y="60"/>
                  </a:lnTo>
                  <a:lnTo>
                    <a:pt x="1130" y="60"/>
                  </a:lnTo>
                  <a:lnTo>
                    <a:pt x="1130" y="60"/>
                  </a:lnTo>
                  <a:lnTo>
                    <a:pt x="1126" y="62"/>
                  </a:lnTo>
                  <a:lnTo>
                    <a:pt x="1124" y="66"/>
                  </a:lnTo>
                  <a:lnTo>
                    <a:pt x="1120" y="70"/>
                  </a:lnTo>
                  <a:lnTo>
                    <a:pt x="1118" y="74"/>
                  </a:lnTo>
                  <a:lnTo>
                    <a:pt x="1114" y="78"/>
                  </a:lnTo>
                  <a:lnTo>
                    <a:pt x="1112" y="82"/>
                  </a:lnTo>
                  <a:lnTo>
                    <a:pt x="1112" y="82"/>
                  </a:lnTo>
                  <a:lnTo>
                    <a:pt x="1112" y="82"/>
                  </a:lnTo>
                  <a:lnTo>
                    <a:pt x="1112" y="84"/>
                  </a:lnTo>
                  <a:lnTo>
                    <a:pt x="1112" y="84"/>
                  </a:lnTo>
                  <a:lnTo>
                    <a:pt x="1112" y="84"/>
                  </a:lnTo>
                  <a:lnTo>
                    <a:pt x="1112" y="86"/>
                  </a:lnTo>
                  <a:lnTo>
                    <a:pt x="1112" y="86"/>
                  </a:lnTo>
                  <a:lnTo>
                    <a:pt x="1112" y="90"/>
                  </a:lnTo>
                  <a:lnTo>
                    <a:pt x="1112" y="92"/>
                  </a:lnTo>
                  <a:lnTo>
                    <a:pt x="1112" y="92"/>
                  </a:lnTo>
                  <a:lnTo>
                    <a:pt x="1112" y="92"/>
                  </a:lnTo>
                  <a:lnTo>
                    <a:pt x="1110" y="92"/>
                  </a:lnTo>
                  <a:lnTo>
                    <a:pt x="1108" y="94"/>
                  </a:lnTo>
                  <a:lnTo>
                    <a:pt x="1106" y="94"/>
                  </a:lnTo>
                  <a:lnTo>
                    <a:pt x="1102" y="94"/>
                  </a:lnTo>
                  <a:lnTo>
                    <a:pt x="1096" y="94"/>
                  </a:lnTo>
                  <a:lnTo>
                    <a:pt x="1086" y="94"/>
                  </a:lnTo>
                  <a:lnTo>
                    <a:pt x="1084" y="94"/>
                  </a:lnTo>
                  <a:lnTo>
                    <a:pt x="1080" y="94"/>
                  </a:lnTo>
                  <a:lnTo>
                    <a:pt x="1076" y="94"/>
                  </a:lnTo>
                  <a:lnTo>
                    <a:pt x="1072" y="94"/>
                  </a:lnTo>
                  <a:lnTo>
                    <a:pt x="1070" y="94"/>
                  </a:lnTo>
                  <a:lnTo>
                    <a:pt x="1064" y="96"/>
                  </a:lnTo>
                  <a:lnTo>
                    <a:pt x="1056" y="98"/>
                  </a:lnTo>
                  <a:lnTo>
                    <a:pt x="1054" y="98"/>
                  </a:lnTo>
                  <a:lnTo>
                    <a:pt x="1050" y="100"/>
                  </a:lnTo>
                  <a:lnTo>
                    <a:pt x="1050" y="100"/>
                  </a:lnTo>
                  <a:lnTo>
                    <a:pt x="1050" y="100"/>
                  </a:lnTo>
                  <a:lnTo>
                    <a:pt x="1048" y="102"/>
                  </a:lnTo>
                  <a:lnTo>
                    <a:pt x="1048" y="102"/>
                  </a:lnTo>
                  <a:lnTo>
                    <a:pt x="1048" y="102"/>
                  </a:lnTo>
                  <a:lnTo>
                    <a:pt x="1046" y="106"/>
                  </a:lnTo>
                  <a:lnTo>
                    <a:pt x="1042" y="110"/>
                  </a:lnTo>
                  <a:lnTo>
                    <a:pt x="1040" y="116"/>
                  </a:lnTo>
                  <a:lnTo>
                    <a:pt x="1038" y="118"/>
                  </a:lnTo>
                  <a:lnTo>
                    <a:pt x="1038" y="118"/>
                  </a:lnTo>
                  <a:lnTo>
                    <a:pt x="1036" y="120"/>
                  </a:lnTo>
                  <a:lnTo>
                    <a:pt x="1036" y="120"/>
                  </a:lnTo>
                  <a:lnTo>
                    <a:pt x="1032" y="122"/>
                  </a:lnTo>
                  <a:lnTo>
                    <a:pt x="1028" y="122"/>
                  </a:lnTo>
                  <a:lnTo>
                    <a:pt x="1028" y="122"/>
                  </a:lnTo>
                  <a:lnTo>
                    <a:pt x="1028" y="124"/>
                  </a:lnTo>
                  <a:lnTo>
                    <a:pt x="1026" y="124"/>
                  </a:lnTo>
                  <a:lnTo>
                    <a:pt x="1026" y="124"/>
                  </a:lnTo>
                  <a:lnTo>
                    <a:pt x="1026" y="124"/>
                  </a:lnTo>
                  <a:lnTo>
                    <a:pt x="1024" y="126"/>
                  </a:lnTo>
                  <a:lnTo>
                    <a:pt x="1024" y="126"/>
                  </a:lnTo>
                  <a:lnTo>
                    <a:pt x="1024" y="126"/>
                  </a:lnTo>
                  <a:lnTo>
                    <a:pt x="1024" y="128"/>
                  </a:lnTo>
                  <a:lnTo>
                    <a:pt x="1024" y="128"/>
                  </a:lnTo>
                  <a:lnTo>
                    <a:pt x="1024" y="130"/>
                  </a:lnTo>
                  <a:lnTo>
                    <a:pt x="1022" y="132"/>
                  </a:lnTo>
                  <a:lnTo>
                    <a:pt x="1024" y="136"/>
                  </a:lnTo>
                  <a:lnTo>
                    <a:pt x="1024" y="138"/>
                  </a:lnTo>
                  <a:lnTo>
                    <a:pt x="1024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18" y="140"/>
                  </a:lnTo>
                  <a:lnTo>
                    <a:pt x="1016" y="140"/>
                  </a:lnTo>
                  <a:lnTo>
                    <a:pt x="1012" y="140"/>
                  </a:lnTo>
                  <a:lnTo>
                    <a:pt x="1010" y="140"/>
                  </a:lnTo>
                  <a:lnTo>
                    <a:pt x="1010" y="140"/>
                  </a:lnTo>
                  <a:lnTo>
                    <a:pt x="1008" y="140"/>
                  </a:lnTo>
                  <a:lnTo>
                    <a:pt x="1008" y="140"/>
                  </a:lnTo>
                  <a:lnTo>
                    <a:pt x="1006" y="140"/>
                  </a:lnTo>
                  <a:lnTo>
                    <a:pt x="1006" y="140"/>
                  </a:lnTo>
                  <a:lnTo>
                    <a:pt x="1006" y="140"/>
                  </a:lnTo>
                  <a:lnTo>
                    <a:pt x="1004" y="142"/>
                  </a:lnTo>
                  <a:lnTo>
                    <a:pt x="1004" y="142"/>
                  </a:lnTo>
                  <a:lnTo>
                    <a:pt x="1004" y="142"/>
                  </a:lnTo>
                  <a:lnTo>
                    <a:pt x="1004" y="144"/>
                  </a:lnTo>
                  <a:lnTo>
                    <a:pt x="1004" y="146"/>
                  </a:lnTo>
                  <a:lnTo>
                    <a:pt x="1004" y="146"/>
                  </a:lnTo>
                  <a:lnTo>
                    <a:pt x="1004" y="146"/>
                  </a:lnTo>
                  <a:lnTo>
                    <a:pt x="1004" y="148"/>
                  </a:lnTo>
                  <a:lnTo>
                    <a:pt x="1006" y="150"/>
                  </a:lnTo>
                  <a:lnTo>
                    <a:pt x="1008" y="154"/>
                  </a:lnTo>
                  <a:lnTo>
                    <a:pt x="1010" y="156"/>
                  </a:lnTo>
                  <a:lnTo>
                    <a:pt x="1010" y="158"/>
                  </a:lnTo>
                  <a:lnTo>
                    <a:pt x="1012" y="162"/>
                  </a:lnTo>
                  <a:lnTo>
                    <a:pt x="1014" y="166"/>
                  </a:lnTo>
                  <a:lnTo>
                    <a:pt x="1016" y="172"/>
                  </a:lnTo>
                  <a:lnTo>
                    <a:pt x="1018" y="176"/>
                  </a:lnTo>
                  <a:lnTo>
                    <a:pt x="1020" y="180"/>
                  </a:lnTo>
                  <a:lnTo>
                    <a:pt x="1022" y="184"/>
                  </a:lnTo>
                  <a:lnTo>
                    <a:pt x="1022" y="184"/>
                  </a:lnTo>
                  <a:lnTo>
                    <a:pt x="1022" y="186"/>
                  </a:lnTo>
                  <a:lnTo>
                    <a:pt x="1022" y="188"/>
                  </a:lnTo>
                  <a:lnTo>
                    <a:pt x="1022" y="188"/>
                  </a:lnTo>
                  <a:lnTo>
                    <a:pt x="1020" y="190"/>
                  </a:lnTo>
                  <a:lnTo>
                    <a:pt x="1020" y="188"/>
                  </a:lnTo>
                  <a:lnTo>
                    <a:pt x="1018" y="190"/>
                  </a:lnTo>
                  <a:lnTo>
                    <a:pt x="1016" y="192"/>
                  </a:lnTo>
                  <a:lnTo>
                    <a:pt x="1014" y="192"/>
                  </a:lnTo>
                  <a:lnTo>
                    <a:pt x="1008" y="194"/>
                  </a:lnTo>
                  <a:lnTo>
                    <a:pt x="1004" y="196"/>
                  </a:lnTo>
                  <a:lnTo>
                    <a:pt x="1002" y="196"/>
                  </a:lnTo>
                  <a:lnTo>
                    <a:pt x="996" y="198"/>
                  </a:lnTo>
                  <a:lnTo>
                    <a:pt x="990" y="198"/>
                  </a:lnTo>
                  <a:lnTo>
                    <a:pt x="984" y="200"/>
                  </a:lnTo>
                  <a:lnTo>
                    <a:pt x="978" y="202"/>
                  </a:lnTo>
                  <a:lnTo>
                    <a:pt x="972" y="204"/>
                  </a:lnTo>
                  <a:lnTo>
                    <a:pt x="968" y="206"/>
                  </a:lnTo>
                  <a:lnTo>
                    <a:pt x="964" y="208"/>
                  </a:lnTo>
                  <a:lnTo>
                    <a:pt x="962" y="208"/>
                  </a:lnTo>
                  <a:lnTo>
                    <a:pt x="960" y="208"/>
                  </a:lnTo>
                  <a:lnTo>
                    <a:pt x="956" y="208"/>
                  </a:lnTo>
                  <a:lnTo>
                    <a:pt x="952" y="208"/>
                  </a:lnTo>
                  <a:lnTo>
                    <a:pt x="944" y="208"/>
                  </a:lnTo>
                  <a:lnTo>
                    <a:pt x="940" y="208"/>
                  </a:lnTo>
                  <a:lnTo>
                    <a:pt x="936" y="208"/>
                  </a:lnTo>
                  <a:lnTo>
                    <a:pt x="932" y="208"/>
                  </a:lnTo>
                  <a:lnTo>
                    <a:pt x="928" y="208"/>
                  </a:lnTo>
                  <a:lnTo>
                    <a:pt x="928" y="208"/>
                  </a:lnTo>
                  <a:lnTo>
                    <a:pt x="928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4" y="210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2" y="212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18" y="220"/>
                  </a:lnTo>
                  <a:lnTo>
                    <a:pt x="918" y="220"/>
                  </a:lnTo>
                  <a:lnTo>
                    <a:pt x="918" y="220"/>
                  </a:lnTo>
                  <a:lnTo>
                    <a:pt x="918" y="224"/>
                  </a:lnTo>
                  <a:lnTo>
                    <a:pt x="918" y="224"/>
                  </a:lnTo>
                  <a:lnTo>
                    <a:pt x="918" y="226"/>
                  </a:lnTo>
                  <a:lnTo>
                    <a:pt x="918" y="226"/>
                  </a:lnTo>
                  <a:lnTo>
                    <a:pt x="918" y="226"/>
                  </a:lnTo>
                  <a:lnTo>
                    <a:pt x="920" y="228"/>
                  </a:lnTo>
                  <a:lnTo>
                    <a:pt x="920" y="228"/>
                  </a:lnTo>
                  <a:lnTo>
                    <a:pt x="920" y="228"/>
                  </a:lnTo>
                  <a:lnTo>
                    <a:pt x="922" y="232"/>
                  </a:lnTo>
                  <a:lnTo>
                    <a:pt x="924" y="234"/>
                  </a:lnTo>
                  <a:lnTo>
                    <a:pt x="924" y="234"/>
                  </a:lnTo>
                  <a:lnTo>
                    <a:pt x="926" y="234"/>
                  </a:lnTo>
                  <a:lnTo>
                    <a:pt x="926" y="236"/>
                  </a:lnTo>
                  <a:lnTo>
                    <a:pt x="926" y="236"/>
                  </a:lnTo>
                  <a:lnTo>
                    <a:pt x="926" y="238"/>
                  </a:lnTo>
                  <a:lnTo>
                    <a:pt x="926" y="236"/>
                  </a:lnTo>
                  <a:lnTo>
                    <a:pt x="926" y="240"/>
                  </a:lnTo>
                  <a:lnTo>
                    <a:pt x="924" y="244"/>
                  </a:lnTo>
                  <a:lnTo>
                    <a:pt x="924" y="248"/>
                  </a:lnTo>
                  <a:lnTo>
                    <a:pt x="924" y="252"/>
                  </a:lnTo>
                  <a:lnTo>
                    <a:pt x="924" y="256"/>
                  </a:lnTo>
                  <a:lnTo>
                    <a:pt x="924" y="260"/>
                  </a:lnTo>
                  <a:lnTo>
                    <a:pt x="924" y="262"/>
                  </a:lnTo>
                  <a:lnTo>
                    <a:pt x="924" y="262"/>
                  </a:lnTo>
                  <a:lnTo>
                    <a:pt x="924" y="262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8" y="268"/>
                  </a:lnTo>
                  <a:lnTo>
                    <a:pt x="928" y="268"/>
                  </a:lnTo>
                  <a:lnTo>
                    <a:pt x="930" y="268"/>
                  </a:lnTo>
                  <a:lnTo>
                    <a:pt x="932" y="270"/>
                  </a:lnTo>
                  <a:lnTo>
                    <a:pt x="934" y="272"/>
                  </a:lnTo>
                  <a:lnTo>
                    <a:pt x="938" y="272"/>
                  </a:lnTo>
                  <a:lnTo>
                    <a:pt x="940" y="274"/>
                  </a:lnTo>
                  <a:lnTo>
                    <a:pt x="944" y="274"/>
                  </a:lnTo>
                  <a:lnTo>
                    <a:pt x="946" y="274"/>
                  </a:lnTo>
                  <a:lnTo>
                    <a:pt x="946" y="276"/>
                  </a:lnTo>
                  <a:lnTo>
                    <a:pt x="946" y="276"/>
                  </a:lnTo>
                  <a:lnTo>
                    <a:pt x="948" y="278"/>
                  </a:lnTo>
                  <a:lnTo>
                    <a:pt x="948" y="278"/>
                  </a:lnTo>
                  <a:lnTo>
                    <a:pt x="948" y="282"/>
                  </a:lnTo>
                  <a:lnTo>
                    <a:pt x="948" y="282"/>
                  </a:lnTo>
                  <a:lnTo>
                    <a:pt x="948" y="282"/>
                  </a:lnTo>
                  <a:lnTo>
                    <a:pt x="948" y="284"/>
                  </a:lnTo>
                  <a:lnTo>
                    <a:pt x="948" y="284"/>
                  </a:lnTo>
                  <a:lnTo>
                    <a:pt x="948" y="284"/>
                  </a:lnTo>
                  <a:lnTo>
                    <a:pt x="948" y="288"/>
                  </a:lnTo>
                  <a:lnTo>
                    <a:pt x="948" y="288"/>
                  </a:lnTo>
                  <a:lnTo>
                    <a:pt x="950" y="288"/>
                  </a:lnTo>
                  <a:lnTo>
                    <a:pt x="952" y="290"/>
                  </a:lnTo>
                  <a:lnTo>
                    <a:pt x="954" y="292"/>
                  </a:lnTo>
                  <a:lnTo>
                    <a:pt x="954" y="292"/>
                  </a:lnTo>
                  <a:lnTo>
                    <a:pt x="954" y="292"/>
                  </a:lnTo>
                  <a:lnTo>
                    <a:pt x="956" y="294"/>
                  </a:lnTo>
                  <a:lnTo>
                    <a:pt x="956" y="294"/>
                  </a:lnTo>
                  <a:lnTo>
                    <a:pt x="956" y="296"/>
                  </a:lnTo>
                  <a:lnTo>
                    <a:pt x="958" y="296"/>
                  </a:lnTo>
                  <a:lnTo>
                    <a:pt x="958" y="296"/>
                  </a:lnTo>
                  <a:lnTo>
                    <a:pt x="956" y="298"/>
                  </a:lnTo>
                  <a:lnTo>
                    <a:pt x="954" y="298"/>
                  </a:lnTo>
                  <a:lnTo>
                    <a:pt x="948" y="300"/>
                  </a:lnTo>
                  <a:lnTo>
                    <a:pt x="946" y="302"/>
                  </a:lnTo>
                  <a:lnTo>
                    <a:pt x="944" y="302"/>
                  </a:lnTo>
                  <a:lnTo>
                    <a:pt x="944" y="302"/>
                  </a:lnTo>
                  <a:lnTo>
                    <a:pt x="944" y="302"/>
                  </a:lnTo>
                  <a:lnTo>
                    <a:pt x="942" y="300"/>
                  </a:lnTo>
                  <a:lnTo>
                    <a:pt x="940" y="298"/>
                  </a:lnTo>
                  <a:lnTo>
                    <a:pt x="938" y="296"/>
                  </a:lnTo>
                  <a:lnTo>
                    <a:pt x="936" y="296"/>
                  </a:lnTo>
                  <a:lnTo>
                    <a:pt x="934" y="294"/>
                  </a:lnTo>
                  <a:lnTo>
                    <a:pt x="932" y="292"/>
                  </a:lnTo>
                  <a:lnTo>
                    <a:pt x="928" y="288"/>
                  </a:lnTo>
                  <a:lnTo>
                    <a:pt x="926" y="284"/>
                  </a:lnTo>
                  <a:lnTo>
                    <a:pt x="922" y="282"/>
                  </a:lnTo>
                  <a:lnTo>
                    <a:pt x="918" y="278"/>
                  </a:lnTo>
                  <a:lnTo>
                    <a:pt x="914" y="274"/>
                  </a:lnTo>
                  <a:lnTo>
                    <a:pt x="910" y="272"/>
                  </a:lnTo>
                  <a:lnTo>
                    <a:pt x="908" y="270"/>
                  </a:lnTo>
                  <a:lnTo>
                    <a:pt x="904" y="268"/>
                  </a:lnTo>
                  <a:lnTo>
                    <a:pt x="902" y="266"/>
                  </a:lnTo>
                  <a:lnTo>
                    <a:pt x="900" y="266"/>
                  </a:lnTo>
                  <a:lnTo>
                    <a:pt x="900" y="266"/>
                  </a:lnTo>
                  <a:lnTo>
                    <a:pt x="900" y="266"/>
                  </a:lnTo>
                  <a:lnTo>
                    <a:pt x="898" y="264"/>
                  </a:lnTo>
                  <a:lnTo>
                    <a:pt x="896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0" y="262"/>
                  </a:lnTo>
                  <a:lnTo>
                    <a:pt x="888" y="260"/>
                  </a:lnTo>
                  <a:lnTo>
                    <a:pt x="886" y="258"/>
                  </a:lnTo>
                  <a:lnTo>
                    <a:pt x="886" y="258"/>
                  </a:lnTo>
                  <a:lnTo>
                    <a:pt x="886" y="258"/>
                  </a:lnTo>
                  <a:lnTo>
                    <a:pt x="884" y="258"/>
                  </a:lnTo>
                  <a:lnTo>
                    <a:pt x="884" y="256"/>
                  </a:lnTo>
                  <a:lnTo>
                    <a:pt x="884" y="256"/>
                  </a:lnTo>
                  <a:lnTo>
                    <a:pt x="882" y="256"/>
                  </a:lnTo>
                  <a:lnTo>
                    <a:pt x="882" y="256"/>
                  </a:lnTo>
                  <a:lnTo>
                    <a:pt x="882" y="256"/>
                  </a:lnTo>
                  <a:lnTo>
                    <a:pt x="880" y="256"/>
                  </a:lnTo>
                  <a:lnTo>
                    <a:pt x="878" y="256"/>
                  </a:lnTo>
                  <a:lnTo>
                    <a:pt x="878" y="256"/>
                  </a:lnTo>
                  <a:lnTo>
                    <a:pt x="878" y="256"/>
                  </a:lnTo>
                  <a:lnTo>
                    <a:pt x="876" y="258"/>
                  </a:lnTo>
                  <a:lnTo>
                    <a:pt x="874" y="258"/>
                  </a:lnTo>
                  <a:lnTo>
                    <a:pt x="872" y="260"/>
                  </a:lnTo>
                  <a:lnTo>
                    <a:pt x="870" y="262"/>
                  </a:lnTo>
                  <a:lnTo>
                    <a:pt x="868" y="264"/>
                  </a:lnTo>
                  <a:lnTo>
                    <a:pt x="866" y="266"/>
                  </a:lnTo>
                  <a:lnTo>
                    <a:pt x="866" y="266"/>
                  </a:lnTo>
                  <a:lnTo>
                    <a:pt x="866" y="266"/>
                  </a:lnTo>
                  <a:lnTo>
                    <a:pt x="866" y="268"/>
                  </a:lnTo>
                  <a:lnTo>
                    <a:pt x="866" y="268"/>
                  </a:lnTo>
                  <a:lnTo>
                    <a:pt x="866" y="268"/>
                  </a:lnTo>
                  <a:lnTo>
                    <a:pt x="866" y="270"/>
                  </a:lnTo>
                  <a:lnTo>
                    <a:pt x="866" y="270"/>
                  </a:lnTo>
                  <a:lnTo>
                    <a:pt x="866" y="272"/>
                  </a:lnTo>
                  <a:lnTo>
                    <a:pt x="866" y="272"/>
                  </a:lnTo>
                  <a:lnTo>
                    <a:pt x="866" y="272"/>
                  </a:lnTo>
                  <a:lnTo>
                    <a:pt x="868" y="272"/>
                  </a:lnTo>
                  <a:lnTo>
                    <a:pt x="868" y="274"/>
                  </a:lnTo>
                  <a:lnTo>
                    <a:pt x="868" y="274"/>
                  </a:lnTo>
                  <a:lnTo>
                    <a:pt x="870" y="274"/>
                  </a:lnTo>
                  <a:lnTo>
                    <a:pt x="870" y="274"/>
                  </a:lnTo>
                  <a:lnTo>
                    <a:pt x="874" y="276"/>
                  </a:lnTo>
                  <a:lnTo>
                    <a:pt x="876" y="276"/>
                  </a:lnTo>
                  <a:lnTo>
                    <a:pt x="876" y="278"/>
                  </a:lnTo>
                  <a:lnTo>
                    <a:pt x="878" y="278"/>
                  </a:lnTo>
                  <a:lnTo>
                    <a:pt x="880" y="280"/>
                  </a:lnTo>
                  <a:lnTo>
                    <a:pt x="882" y="284"/>
                  </a:lnTo>
                  <a:lnTo>
                    <a:pt x="882" y="284"/>
                  </a:lnTo>
                  <a:lnTo>
                    <a:pt x="882" y="286"/>
                  </a:lnTo>
                  <a:lnTo>
                    <a:pt x="882" y="286"/>
                  </a:lnTo>
                  <a:lnTo>
                    <a:pt x="882" y="286"/>
                  </a:lnTo>
                  <a:lnTo>
                    <a:pt x="882" y="290"/>
                  </a:lnTo>
                  <a:lnTo>
                    <a:pt x="882" y="290"/>
                  </a:lnTo>
                  <a:lnTo>
                    <a:pt x="882" y="292"/>
                  </a:lnTo>
                  <a:lnTo>
                    <a:pt x="882" y="292"/>
                  </a:lnTo>
                  <a:lnTo>
                    <a:pt x="880" y="292"/>
                  </a:lnTo>
                  <a:lnTo>
                    <a:pt x="878" y="290"/>
                  </a:lnTo>
                  <a:lnTo>
                    <a:pt x="878" y="288"/>
                  </a:lnTo>
                  <a:lnTo>
                    <a:pt x="874" y="286"/>
                  </a:lnTo>
                  <a:lnTo>
                    <a:pt x="872" y="284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4" y="282"/>
                  </a:lnTo>
                  <a:lnTo>
                    <a:pt x="864" y="282"/>
                  </a:lnTo>
                  <a:lnTo>
                    <a:pt x="864" y="282"/>
                  </a:lnTo>
                  <a:lnTo>
                    <a:pt x="862" y="282"/>
                  </a:lnTo>
                  <a:lnTo>
                    <a:pt x="862" y="282"/>
                  </a:lnTo>
                  <a:lnTo>
                    <a:pt x="862" y="282"/>
                  </a:lnTo>
                  <a:lnTo>
                    <a:pt x="860" y="284"/>
                  </a:lnTo>
                  <a:lnTo>
                    <a:pt x="860" y="284"/>
                  </a:lnTo>
                  <a:lnTo>
                    <a:pt x="858" y="286"/>
                  </a:lnTo>
                  <a:lnTo>
                    <a:pt x="858" y="286"/>
                  </a:lnTo>
                  <a:lnTo>
                    <a:pt x="858" y="288"/>
                  </a:lnTo>
                  <a:lnTo>
                    <a:pt x="856" y="290"/>
                  </a:lnTo>
                  <a:lnTo>
                    <a:pt x="856" y="290"/>
                  </a:lnTo>
                  <a:lnTo>
                    <a:pt x="856" y="288"/>
                  </a:lnTo>
                  <a:lnTo>
                    <a:pt x="856" y="286"/>
                  </a:lnTo>
                  <a:lnTo>
                    <a:pt x="856" y="282"/>
                  </a:lnTo>
                  <a:lnTo>
                    <a:pt x="856" y="278"/>
                  </a:lnTo>
                  <a:lnTo>
                    <a:pt x="856" y="274"/>
                  </a:lnTo>
                  <a:lnTo>
                    <a:pt x="856" y="268"/>
                  </a:lnTo>
                  <a:lnTo>
                    <a:pt x="854" y="264"/>
                  </a:lnTo>
                  <a:lnTo>
                    <a:pt x="854" y="260"/>
                  </a:lnTo>
                  <a:lnTo>
                    <a:pt x="854" y="256"/>
                  </a:lnTo>
                  <a:lnTo>
                    <a:pt x="852" y="252"/>
                  </a:lnTo>
                  <a:lnTo>
                    <a:pt x="850" y="250"/>
                  </a:lnTo>
                  <a:lnTo>
                    <a:pt x="848" y="244"/>
                  </a:lnTo>
                  <a:lnTo>
                    <a:pt x="846" y="240"/>
                  </a:lnTo>
                  <a:lnTo>
                    <a:pt x="844" y="238"/>
                  </a:lnTo>
                  <a:lnTo>
                    <a:pt x="842" y="236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4"/>
                  </a:lnTo>
                  <a:lnTo>
                    <a:pt x="838" y="234"/>
                  </a:lnTo>
                  <a:lnTo>
                    <a:pt x="838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4" y="236"/>
                  </a:lnTo>
                  <a:lnTo>
                    <a:pt x="834" y="236"/>
                  </a:lnTo>
                  <a:lnTo>
                    <a:pt x="834" y="236"/>
                  </a:lnTo>
                  <a:lnTo>
                    <a:pt x="832" y="236"/>
                  </a:lnTo>
                  <a:lnTo>
                    <a:pt x="832" y="238"/>
                  </a:lnTo>
                  <a:lnTo>
                    <a:pt x="832" y="238"/>
                  </a:lnTo>
                  <a:lnTo>
                    <a:pt x="832" y="238"/>
                  </a:lnTo>
                  <a:lnTo>
                    <a:pt x="830" y="242"/>
                  </a:lnTo>
                  <a:lnTo>
                    <a:pt x="830" y="242"/>
                  </a:lnTo>
                  <a:lnTo>
                    <a:pt x="830" y="242"/>
                  </a:lnTo>
                  <a:lnTo>
                    <a:pt x="830" y="244"/>
                  </a:lnTo>
                  <a:lnTo>
                    <a:pt x="830" y="244"/>
                  </a:lnTo>
                  <a:lnTo>
                    <a:pt x="830" y="246"/>
                  </a:lnTo>
                  <a:lnTo>
                    <a:pt x="830" y="246"/>
                  </a:lnTo>
                  <a:lnTo>
                    <a:pt x="830" y="246"/>
                  </a:lnTo>
                  <a:lnTo>
                    <a:pt x="830" y="248"/>
                  </a:lnTo>
                  <a:lnTo>
                    <a:pt x="830" y="250"/>
                  </a:lnTo>
                  <a:lnTo>
                    <a:pt x="830" y="250"/>
                  </a:lnTo>
                  <a:lnTo>
                    <a:pt x="832" y="250"/>
                  </a:lnTo>
                  <a:lnTo>
                    <a:pt x="834" y="252"/>
                  </a:lnTo>
                  <a:lnTo>
                    <a:pt x="836" y="254"/>
                  </a:lnTo>
                  <a:lnTo>
                    <a:pt x="838" y="256"/>
                  </a:lnTo>
                  <a:lnTo>
                    <a:pt x="840" y="256"/>
                  </a:lnTo>
                  <a:lnTo>
                    <a:pt x="842" y="258"/>
                  </a:lnTo>
                  <a:lnTo>
                    <a:pt x="842" y="258"/>
                  </a:lnTo>
                  <a:lnTo>
                    <a:pt x="844" y="260"/>
                  </a:lnTo>
                  <a:lnTo>
                    <a:pt x="844" y="262"/>
                  </a:lnTo>
                  <a:lnTo>
                    <a:pt x="844" y="264"/>
                  </a:lnTo>
                  <a:lnTo>
                    <a:pt x="844" y="266"/>
                  </a:lnTo>
                  <a:lnTo>
                    <a:pt x="842" y="270"/>
                  </a:lnTo>
                  <a:lnTo>
                    <a:pt x="840" y="274"/>
                  </a:lnTo>
                  <a:lnTo>
                    <a:pt x="836" y="280"/>
                  </a:lnTo>
                  <a:lnTo>
                    <a:pt x="834" y="282"/>
                  </a:lnTo>
                  <a:lnTo>
                    <a:pt x="834" y="284"/>
                  </a:lnTo>
                  <a:lnTo>
                    <a:pt x="832" y="286"/>
                  </a:lnTo>
                  <a:lnTo>
                    <a:pt x="832" y="286"/>
                  </a:lnTo>
                  <a:lnTo>
                    <a:pt x="830" y="286"/>
                  </a:lnTo>
                  <a:lnTo>
                    <a:pt x="828" y="286"/>
                  </a:lnTo>
                  <a:lnTo>
                    <a:pt x="828" y="286"/>
                  </a:lnTo>
                  <a:lnTo>
                    <a:pt x="828" y="286"/>
                  </a:lnTo>
                  <a:lnTo>
                    <a:pt x="826" y="286"/>
                  </a:lnTo>
                  <a:lnTo>
                    <a:pt x="826" y="286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2" y="290"/>
                  </a:lnTo>
                  <a:lnTo>
                    <a:pt x="822" y="290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4"/>
                  </a:lnTo>
                  <a:lnTo>
                    <a:pt x="820" y="298"/>
                  </a:lnTo>
                  <a:lnTo>
                    <a:pt x="820" y="300"/>
                  </a:lnTo>
                  <a:lnTo>
                    <a:pt x="820" y="304"/>
                  </a:lnTo>
                  <a:lnTo>
                    <a:pt x="818" y="308"/>
                  </a:lnTo>
                  <a:lnTo>
                    <a:pt x="818" y="318"/>
                  </a:lnTo>
                  <a:lnTo>
                    <a:pt x="820" y="324"/>
                  </a:lnTo>
                  <a:lnTo>
                    <a:pt x="820" y="334"/>
                  </a:lnTo>
                  <a:lnTo>
                    <a:pt x="820" y="346"/>
                  </a:lnTo>
                  <a:lnTo>
                    <a:pt x="820" y="356"/>
                  </a:lnTo>
                  <a:lnTo>
                    <a:pt x="820" y="360"/>
                  </a:lnTo>
                  <a:lnTo>
                    <a:pt x="820" y="364"/>
                  </a:lnTo>
                  <a:lnTo>
                    <a:pt x="820" y="370"/>
                  </a:lnTo>
                  <a:lnTo>
                    <a:pt x="820" y="372"/>
                  </a:lnTo>
                  <a:lnTo>
                    <a:pt x="820" y="378"/>
                  </a:lnTo>
                  <a:lnTo>
                    <a:pt x="820" y="382"/>
                  </a:lnTo>
                  <a:lnTo>
                    <a:pt x="820" y="386"/>
                  </a:lnTo>
                  <a:lnTo>
                    <a:pt x="820" y="390"/>
                  </a:lnTo>
                  <a:lnTo>
                    <a:pt x="818" y="392"/>
                  </a:lnTo>
                  <a:lnTo>
                    <a:pt x="818" y="394"/>
                  </a:lnTo>
                  <a:lnTo>
                    <a:pt x="818" y="396"/>
                  </a:lnTo>
                  <a:lnTo>
                    <a:pt x="818" y="400"/>
                  </a:lnTo>
                  <a:lnTo>
                    <a:pt x="818" y="404"/>
                  </a:lnTo>
                  <a:lnTo>
                    <a:pt x="816" y="410"/>
                  </a:lnTo>
                  <a:lnTo>
                    <a:pt x="818" y="412"/>
                  </a:lnTo>
                  <a:lnTo>
                    <a:pt x="818" y="412"/>
                  </a:lnTo>
                  <a:lnTo>
                    <a:pt x="818" y="414"/>
                  </a:lnTo>
                  <a:lnTo>
                    <a:pt x="818" y="416"/>
                  </a:lnTo>
                  <a:lnTo>
                    <a:pt x="818" y="416"/>
                  </a:lnTo>
                  <a:lnTo>
                    <a:pt x="818" y="416"/>
                  </a:lnTo>
                  <a:lnTo>
                    <a:pt x="820" y="418"/>
                  </a:lnTo>
                  <a:lnTo>
                    <a:pt x="820" y="418"/>
                  </a:lnTo>
                  <a:lnTo>
                    <a:pt x="820" y="418"/>
                  </a:lnTo>
                  <a:lnTo>
                    <a:pt x="822" y="420"/>
                  </a:lnTo>
                  <a:lnTo>
                    <a:pt x="822" y="420"/>
                  </a:lnTo>
                  <a:lnTo>
                    <a:pt x="824" y="420"/>
                  </a:lnTo>
                  <a:lnTo>
                    <a:pt x="826" y="420"/>
                  </a:lnTo>
                  <a:lnTo>
                    <a:pt x="826" y="420"/>
                  </a:lnTo>
                  <a:lnTo>
                    <a:pt x="826" y="420"/>
                  </a:lnTo>
                  <a:lnTo>
                    <a:pt x="830" y="420"/>
                  </a:lnTo>
                  <a:lnTo>
                    <a:pt x="836" y="420"/>
                  </a:lnTo>
                  <a:lnTo>
                    <a:pt x="834" y="422"/>
                  </a:lnTo>
                  <a:lnTo>
                    <a:pt x="832" y="426"/>
                  </a:lnTo>
                  <a:lnTo>
                    <a:pt x="830" y="430"/>
                  </a:lnTo>
                  <a:lnTo>
                    <a:pt x="828" y="434"/>
                  </a:lnTo>
                  <a:lnTo>
                    <a:pt x="828" y="438"/>
                  </a:lnTo>
                  <a:lnTo>
                    <a:pt x="826" y="442"/>
                  </a:lnTo>
                  <a:lnTo>
                    <a:pt x="826" y="444"/>
                  </a:lnTo>
                  <a:lnTo>
                    <a:pt x="826" y="444"/>
                  </a:lnTo>
                  <a:lnTo>
                    <a:pt x="826" y="446"/>
                  </a:lnTo>
                  <a:lnTo>
                    <a:pt x="826" y="446"/>
                  </a:lnTo>
                  <a:lnTo>
                    <a:pt x="826" y="448"/>
                  </a:lnTo>
                  <a:lnTo>
                    <a:pt x="828" y="450"/>
                  </a:lnTo>
                  <a:lnTo>
                    <a:pt x="828" y="450"/>
                  </a:lnTo>
                  <a:lnTo>
                    <a:pt x="828" y="450"/>
                  </a:lnTo>
                  <a:lnTo>
                    <a:pt x="828" y="452"/>
                  </a:lnTo>
                  <a:lnTo>
                    <a:pt x="828" y="454"/>
                  </a:lnTo>
                  <a:lnTo>
                    <a:pt x="828" y="454"/>
                  </a:lnTo>
                  <a:lnTo>
                    <a:pt x="828" y="456"/>
                  </a:lnTo>
                  <a:lnTo>
                    <a:pt x="828" y="460"/>
                  </a:lnTo>
                  <a:lnTo>
                    <a:pt x="828" y="462"/>
                  </a:lnTo>
                  <a:lnTo>
                    <a:pt x="828" y="466"/>
                  </a:lnTo>
                  <a:lnTo>
                    <a:pt x="828" y="470"/>
                  </a:lnTo>
                  <a:lnTo>
                    <a:pt x="826" y="476"/>
                  </a:lnTo>
                  <a:lnTo>
                    <a:pt x="826" y="482"/>
                  </a:lnTo>
                  <a:lnTo>
                    <a:pt x="824" y="486"/>
                  </a:lnTo>
                  <a:lnTo>
                    <a:pt x="824" y="488"/>
                  </a:lnTo>
                  <a:lnTo>
                    <a:pt x="822" y="490"/>
                  </a:lnTo>
                  <a:lnTo>
                    <a:pt x="820" y="492"/>
                  </a:lnTo>
                  <a:lnTo>
                    <a:pt x="820" y="492"/>
                  </a:lnTo>
                  <a:lnTo>
                    <a:pt x="818" y="494"/>
                  </a:lnTo>
                  <a:lnTo>
                    <a:pt x="818" y="494"/>
                  </a:lnTo>
                  <a:lnTo>
                    <a:pt x="816" y="496"/>
                  </a:lnTo>
                  <a:lnTo>
                    <a:pt x="814" y="496"/>
                  </a:lnTo>
                  <a:lnTo>
                    <a:pt x="812" y="498"/>
                  </a:lnTo>
                  <a:lnTo>
                    <a:pt x="806" y="500"/>
                  </a:lnTo>
                  <a:lnTo>
                    <a:pt x="802" y="502"/>
                  </a:lnTo>
                  <a:lnTo>
                    <a:pt x="796" y="506"/>
                  </a:lnTo>
                  <a:lnTo>
                    <a:pt x="790" y="508"/>
                  </a:lnTo>
                  <a:lnTo>
                    <a:pt x="788" y="510"/>
                  </a:lnTo>
                  <a:lnTo>
                    <a:pt x="790" y="508"/>
                  </a:lnTo>
                  <a:lnTo>
                    <a:pt x="792" y="504"/>
                  </a:lnTo>
                  <a:lnTo>
                    <a:pt x="796" y="500"/>
                  </a:lnTo>
                  <a:lnTo>
                    <a:pt x="798" y="496"/>
                  </a:lnTo>
                  <a:lnTo>
                    <a:pt x="800" y="494"/>
                  </a:lnTo>
                  <a:lnTo>
                    <a:pt x="800" y="494"/>
                  </a:lnTo>
                  <a:lnTo>
                    <a:pt x="800" y="494"/>
                  </a:lnTo>
                  <a:lnTo>
                    <a:pt x="800" y="492"/>
                  </a:lnTo>
                  <a:lnTo>
                    <a:pt x="800" y="492"/>
                  </a:lnTo>
                  <a:lnTo>
                    <a:pt x="802" y="490"/>
                  </a:lnTo>
                  <a:lnTo>
                    <a:pt x="802" y="488"/>
                  </a:lnTo>
                  <a:lnTo>
                    <a:pt x="802" y="488"/>
                  </a:lnTo>
                  <a:lnTo>
                    <a:pt x="802" y="488"/>
                  </a:lnTo>
                  <a:lnTo>
                    <a:pt x="802" y="484"/>
                  </a:lnTo>
                  <a:lnTo>
                    <a:pt x="800" y="480"/>
                  </a:lnTo>
                  <a:lnTo>
                    <a:pt x="800" y="476"/>
                  </a:lnTo>
                  <a:lnTo>
                    <a:pt x="800" y="472"/>
                  </a:lnTo>
                  <a:lnTo>
                    <a:pt x="800" y="470"/>
                  </a:lnTo>
                  <a:lnTo>
                    <a:pt x="800" y="470"/>
                  </a:lnTo>
                  <a:lnTo>
                    <a:pt x="800" y="468"/>
                  </a:lnTo>
                  <a:lnTo>
                    <a:pt x="800" y="466"/>
                  </a:lnTo>
                  <a:lnTo>
                    <a:pt x="800" y="462"/>
                  </a:lnTo>
                  <a:lnTo>
                    <a:pt x="800" y="458"/>
                  </a:lnTo>
                  <a:lnTo>
                    <a:pt x="800" y="454"/>
                  </a:lnTo>
                  <a:lnTo>
                    <a:pt x="800" y="452"/>
                  </a:lnTo>
                  <a:lnTo>
                    <a:pt x="800" y="448"/>
                  </a:lnTo>
                  <a:lnTo>
                    <a:pt x="800" y="442"/>
                  </a:lnTo>
                  <a:lnTo>
                    <a:pt x="800" y="436"/>
                  </a:lnTo>
                  <a:lnTo>
                    <a:pt x="800" y="430"/>
                  </a:lnTo>
                  <a:lnTo>
                    <a:pt x="800" y="424"/>
                  </a:lnTo>
                  <a:lnTo>
                    <a:pt x="802" y="418"/>
                  </a:lnTo>
                  <a:lnTo>
                    <a:pt x="802" y="402"/>
                  </a:lnTo>
                  <a:lnTo>
                    <a:pt x="802" y="388"/>
                  </a:lnTo>
                  <a:lnTo>
                    <a:pt x="804" y="382"/>
                  </a:lnTo>
                  <a:lnTo>
                    <a:pt x="804" y="376"/>
                  </a:lnTo>
                  <a:lnTo>
                    <a:pt x="804" y="370"/>
                  </a:lnTo>
                  <a:lnTo>
                    <a:pt x="804" y="364"/>
                  </a:lnTo>
                  <a:lnTo>
                    <a:pt x="804" y="360"/>
                  </a:lnTo>
                  <a:lnTo>
                    <a:pt x="804" y="354"/>
                  </a:lnTo>
                  <a:lnTo>
                    <a:pt x="804" y="352"/>
                  </a:lnTo>
                  <a:lnTo>
                    <a:pt x="804" y="350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2"/>
                  </a:lnTo>
                  <a:lnTo>
                    <a:pt x="802" y="338"/>
                  </a:lnTo>
                  <a:lnTo>
                    <a:pt x="802" y="332"/>
                  </a:lnTo>
                  <a:lnTo>
                    <a:pt x="802" y="326"/>
                  </a:lnTo>
                  <a:lnTo>
                    <a:pt x="802" y="320"/>
                  </a:lnTo>
                  <a:lnTo>
                    <a:pt x="802" y="320"/>
                  </a:lnTo>
                  <a:lnTo>
                    <a:pt x="802" y="316"/>
                  </a:lnTo>
                  <a:lnTo>
                    <a:pt x="802" y="316"/>
                  </a:lnTo>
                  <a:lnTo>
                    <a:pt x="802" y="314"/>
                  </a:lnTo>
                  <a:lnTo>
                    <a:pt x="802" y="312"/>
                  </a:lnTo>
                  <a:lnTo>
                    <a:pt x="802" y="312"/>
                  </a:lnTo>
                  <a:lnTo>
                    <a:pt x="800" y="312"/>
                  </a:lnTo>
                  <a:lnTo>
                    <a:pt x="800" y="310"/>
                  </a:lnTo>
                  <a:lnTo>
                    <a:pt x="800" y="310"/>
                  </a:lnTo>
                  <a:lnTo>
                    <a:pt x="800" y="310"/>
                  </a:lnTo>
                  <a:lnTo>
                    <a:pt x="798" y="310"/>
                  </a:lnTo>
                  <a:lnTo>
                    <a:pt x="798" y="310"/>
                  </a:lnTo>
                  <a:lnTo>
                    <a:pt x="798" y="308"/>
                  </a:lnTo>
                  <a:lnTo>
                    <a:pt x="796" y="308"/>
                  </a:lnTo>
                  <a:lnTo>
                    <a:pt x="796" y="308"/>
                  </a:lnTo>
                  <a:lnTo>
                    <a:pt x="796" y="308"/>
                  </a:lnTo>
                  <a:lnTo>
                    <a:pt x="792" y="308"/>
                  </a:lnTo>
                  <a:lnTo>
                    <a:pt x="790" y="306"/>
                  </a:lnTo>
                  <a:lnTo>
                    <a:pt x="784" y="306"/>
                  </a:lnTo>
                  <a:lnTo>
                    <a:pt x="778" y="306"/>
                  </a:lnTo>
                  <a:lnTo>
                    <a:pt x="770" y="308"/>
                  </a:lnTo>
                  <a:lnTo>
                    <a:pt x="764" y="310"/>
                  </a:lnTo>
                  <a:lnTo>
                    <a:pt x="762" y="310"/>
                  </a:lnTo>
                  <a:lnTo>
                    <a:pt x="762" y="310"/>
                  </a:lnTo>
                  <a:lnTo>
                    <a:pt x="762" y="310"/>
                  </a:lnTo>
                  <a:lnTo>
                    <a:pt x="760" y="312"/>
                  </a:lnTo>
                  <a:lnTo>
                    <a:pt x="758" y="312"/>
                  </a:lnTo>
                  <a:lnTo>
                    <a:pt x="758" y="312"/>
                  </a:lnTo>
                  <a:lnTo>
                    <a:pt x="758" y="314"/>
                  </a:lnTo>
                  <a:lnTo>
                    <a:pt x="756" y="314"/>
                  </a:lnTo>
                  <a:lnTo>
                    <a:pt x="756" y="314"/>
                  </a:lnTo>
                  <a:lnTo>
                    <a:pt x="756" y="316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4" y="318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6" y="326"/>
                  </a:lnTo>
                  <a:lnTo>
                    <a:pt x="758" y="330"/>
                  </a:lnTo>
                  <a:lnTo>
                    <a:pt x="760" y="336"/>
                  </a:lnTo>
                  <a:lnTo>
                    <a:pt x="762" y="342"/>
                  </a:lnTo>
                  <a:lnTo>
                    <a:pt x="764" y="348"/>
                  </a:lnTo>
                  <a:lnTo>
                    <a:pt x="766" y="354"/>
                  </a:lnTo>
                  <a:lnTo>
                    <a:pt x="766" y="356"/>
                  </a:lnTo>
                  <a:lnTo>
                    <a:pt x="766" y="358"/>
                  </a:lnTo>
                  <a:lnTo>
                    <a:pt x="766" y="370"/>
                  </a:lnTo>
                  <a:lnTo>
                    <a:pt x="764" y="380"/>
                  </a:lnTo>
                  <a:lnTo>
                    <a:pt x="762" y="392"/>
                  </a:lnTo>
                  <a:lnTo>
                    <a:pt x="760" y="398"/>
                  </a:lnTo>
                  <a:lnTo>
                    <a:pt x="758" y="404"/>
                  </a:lnTo>
                  <a:lnTo>
                    <a:pt x="758" y="408"/>
                  </a:lnTo>
                  <a:lnTo>
                    <a:pt x="756" y="412"/>
                  </a:lnTo>
                  <a:lnTo>
                    <a:pt x="754" y="420"/>
                  </a:lnTo>
                  <a:lnTo>
                    <a:pt x="750" y="430"/>
                  </a:lnTo>
                  <a:lnTo>
                    <a:pt x="746" y="440"/>
                  </a:lnTo>
                  <a:lnTo>
                    <a:pt x="742" y="450"/>
                  </a:lnTo>
                  <a:lnTo>
                    <a:pt x="740" y="454"/>
                  </a:lnTo>
                  <a:lnTo>
                    <a:pt x="740" y="458"/>
                  </a:lnTo>
                  <a:lnTo>
                    <a:pt x="738" y="460"/>
                  </a:lnTo>
                  <a:lnTo>
                    <a:pt x="736" y="462"/>
                  </a:lnTo>
                  <a:lnTo>
                    <a:pt x="736" y="452"/>
                  </a:lnTo>
                  <a:lnTo>
                    <a:pt x="736" y="448"/>
                  </a:lnTo>
                  <a:lnTo>
                    <a:pt x="736" y="446"/>
                  </a:lnTo>
                  <a:lnTo>
                    <a:pt x="736" y="442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4" y="438"/>
                  </a:lnTo>
                  <a:lnTo>
                    <a:pt x="734" y="436"/>
                  </a:lnTo>
                  <a:lnTo>
                    <a:pt x="734" y="436"/>
                  </a:lnTo>
                  <a:lnTo>
                    <a:pt x="732" y="436"/>
                  </a:lnTo>
                  <a:lnTo>
                    <a:pt x="730" y="436"/>
                  </a:lnTo>
                  <a:lnTo>
                    <a:pt x="730" y="436"/>
                  </a:lnTo>
                  <a:lnTo>
                    <a:pt x="730" y="434"/>
                  </a:lnTo>
                  <a:lnTo>
                    <a:pt x="728" y="434"/>
                  </a:lnTo>
                  <a:lnTo>
                    <a:pt x="728" y="434"/>
                  </a:lnTo>
                  <a:lnTo>
                    <a:pt x="726" y="434"/>
                  </a:lnTo>
                  <a:lnTo>
                    <a:pt x="722" y="434"/>
                  </a:lnTo>
                  <a:lnTo>
                    <a:pt x="722" y="434"/>
                  </a:lnTo>
                  <a:lnTo>
                    <a:pt x="722" y="434"/>
                  </a:lnTo>
                  <a:lnTo>
                    <a:pt x="720" y="434"/>
                  </a:lnTo>
                  <a:lnTo>
                    <a:pt x="718" y="434"/>
                  </a:lnTo>
                  <a:lnTo>
                    <a:pt x="716" y="434"/>
                  </a:lnTo>
                  <a:lnTo>
                    <a:pt x="716" y="432"/>
                  </a:lnTo>
                  <a:lnTo>
                    <a:pt x="716" y="432"/>
                  </a:lnTo>
                  <a:lnTo>
                    <a:pt x="716" y="432"/>
                  </a:lnTo>
                  <a:lnTo>
                    <a:pt x="716" y="430"/>
                  </a:lnTo>
                  <a:lnTo>
                    <a:pt x="714" y="428"/>
                  </a:lnTo>
                  <a:lnTo>
                    <a:pt x="710" y="428"/>
                  </a:lnTo>
                  <a:lnTo>
                    <a:pt x="708" y="426"/>
                  </a:lnTo>
                  <a:lnTo>
                    <a:pt x="702" y="424"/>
                  </a:lnTo>
                  <a:lnTo>
                    <a:pt x="698" y="422"/>
                  </a:lnTo>
                  <a:lnTo>
                    <a:pt x="694" y="418"/>
                  </a:lnTo>
                  <a:lnTo>
                    <a:pt x="690" y="412"/>
                  </a:lnTo>
                  <a:lnTo>
                    <a:pt x="684" y="408"/>
                  </a:lnTo>
                  <a:lnTo>
                    <a:pt x="680" y="402"/>
                  </a:lnTo>
                  <a:lnTo>
                    <a:pt x="674" y="398"/>
                  </a:lnTo>
                  <a:lnTo>
                    <a:pt x="674" y="398"/>
                  </a:lnTo>
                  <a:lnTo>
                    <a:pt x="672" y="398"/>
                  </a:lnTo>
                  <a:lnTo>
                    <a:pt x="670" y="398"/>
                  </a:lnTo>
                  <a:lnTo>
                    <a:pt x="666" y="398"/>
                  </a:lnTo>
                  <a:lnTo>
                    <a:pt x="662" y="396"/>
                  </a:lnTo>
                  <a:lnTo>
                    <a:pt x="656" y="392"/>
                  </a:lnTo>
                  <a:lnTo>
                    <a:pt x="654" y="392"/>
                  </a:lnTo>
                  <a:lnTo>
                    <a:pt x="650" y="390"/>
                  </a:lnTo>
                  <a:lnTo>
                    <a:pt x="650" y="390"/>
                  </a:lnTo>
                  <a:lnTo>
                    <a:pt x="650" y="390"/>
                  </a:lnTo>
                  <a:lnTo>
                    <a:pt x="638" y="390"/>
                  </a:lnTo>
                  <a:lnTo>
                    <a:pt x="626" y="388"/>
                  </a:lnTo>
                  <a:lnTo>
                    <a:pt x="622" y="388"/>
                  </a:lnTo>
                  <a:lnTo>
                    <a:pt x="620" y="386"/>
                  </a:lnTo>
                  <a:lnTo>
                    <a:pt x="616" y="384"/>
                  </a:lnTo>
                  <a:lnTo>
                    <a:pt x="614" y="380"/>
                  </a:lnTo>
                  <a:lnTo>
                    <a:pt x="610" y="374"/>
                  </a:lnTo>
                  <a:lnTo>
                    <a:pt x="606" y="372"/>
                  </a:lnTo>
                  <a:lnTo>
                    <a:pt x="606" y="372"/>
                  </a:lnTo>
                  <a:lnTo>
                    <a:pt x="606" y="372"/>
                  </a:lnTo>
                  <a:lnTo>
                    <a:pt x="604" y="368"/>
                  </a:lnTo>
                  <a:lnTo>
                    <a:pt x="602" y="368"/>
                  </a:lnTo>
                  <a:lnTo>
                    <a:pt x="602" y="368"/>
                  </a:lnTo>
                  <a:lnTo>
                    <a:pt x="600" y="368"/>
                  </a:lnTo>
                  <a:lnTo>
                    <a:pt x="600" y="366"/>
                  </a:lnTo>
                  <a:lnTo>
                    <a:pt x="600" y="366"/>
                  </a:lnTo>
                  <a:lnTo>
                    <a:pt x="598" y="366"/>
                  </a:lnTo>
                  <a:lnTo>
                    <a:pt x="596" y="366"/>
                  </a:lnTo>
                  <a:lnTo>
                    <a:pt x="596" y="366"/>
                  </a:lnTo>
                  <a:lnTo>
                    <a:pt x="596" y="366"/>
                  </a:lnTo>
                  <a:lnTo>
                    <a:pt x="594" y="366"/>
                  </a:lnTo>
                  <a:lnTo>
                    <a:pt x="594" y="366"/>
                  </a:lnTo>
                  <a:lnTo>
                    <a:pt x="594" y="368"/>
                  </a:lnTo>
                  <a:lnTo>
                    <a:pt x="592" y="368"/>
                  </a:lnTo>
                  <a:lnTo>
                    <a:pt x="592" y="368"/>
                  </a:lnTo>
                  <a:lnTo>
                    <a:pt x="592" y="368"/>
                  </a:lnTo>
                  <a:lnTo>
                    <a:pt x="592" y="370"/>
                  </a:lnTo>
                  <a:lnTo>
                    <a:pt x="590" y="372"/>
                  </a:lnTo>
                  <a:lnTo>
                    <a:pt x="590" y="372"/>
                  </a:lnTo>
                  <a:lnTo>
                    <a:pt x="590" y="376"/>
                  </a:lnTo>
                  <a:lnTo>
                    <a:pt x="592" y="380"/>
                  </a:lnTo>
                  <a:lnTo>
                    <a:pt x="594" y="382"/>
                  </a:lnTo>
                  <a:lnTo>
                    <a:pt x="594" y="386"/>
                  </a:lnTo>
                  <a:lnTo>
                    <a:pt x="596" y="388"/>
                  </a:lnTo>
                  <a:lnTo>
                    <a:pt x="596" y="388"/>
                  </a:lnTo>
                  <a:lnTo>
                    <a:pt x="598" y="390"/>
                  </a:lnTo>
                  <a:lnTo>
                    <a:pt x="600" y="392"/>
                  </a:lnTo>
                  <a:lnTo>
                    <a:pt x="602" y="396"/>
                  </a:lnTo>
                  <a:lnTo>
                    <a:pt x="606" y="398"/>
                  </a:lnTo>
                  <a:lnTo>
                    <a:pt x="610" y="402"/>
                  </a:lnTo>
                  <a:lnTo>
                    <a:pt x="614" y="406"/>
                  </a:lnTo>
                  <a:lnTo>
                    <a:pt x="616" y="408"/>
                  </a:lnTo>
                  <a:lnTo>
                    <a:pt x="618" y="412"/>
                  </a:lnTo>
                  <a:lnTo>
                    <a:pt x="620" y="414"/>
                  </a:lnTo>
                  <a:lnTo>
                    <a:pt x="620" y="418"/>
                  </a:lnTo>
                  <a:lnTo>
                    <a:pt x="622" y="422"/>
                  </a:lnTo>
                  <a:lnTo>
                    <a:pt x="622" y="422"/>
                  </a:lnTo>
                  <a:lnTo>
                    <a:pt x="622" y="424"/>
                  </a:lnTo>
                  <a:lnTo>
                    <a:pt x="622" y="424"/>
                  </a:lnTo>
                  <a:lnTo>
                    <a:pt x="620" y="424"/>
                  </a:lnTo>
                  <a:lnTo>
                    <a:pt x="618" y="426"/>
                  </a:lnTo>
                  <a:lnTo>
                    <a:pt x="616" y="426"/>
                  </a:lnTo>
                  <a:lnTo>
                    <a:pt x="614" y="426"/>
                  </a:lnTo>
                  <a:lnTo>
                    <a:pt x="610" y="426"/>
                  </a:lnTo>
                  <a:lnTo>
                    <a:pt x="608" y="426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2"/>
                  </a:lnTo>
                  <a:lnTo>
                    <a:pt x="604" y="422"/>
                  </a:lnTo>
                  <a:lnTo>
                    <a:pt x="604" y="422"/>
                  </a:lnTo>
                  <a:lnTo>
                    <a:pt x="604" y="420"/>
                  </a:lnTo>
                  <a:lnTo>
                    <a:pt x="602" y="416"/>
                  </a:lnTo>
                  <a:lnTo>
                    <a:pt x="600" y="414"/>
                  </a:lnTo>
                  <a:lnTo>
                    <a:pt x="598" y="412"/>
                  </a:lnTo>
                  <a:lnTo>
                    <a:pt x="598" y="412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4" y="410"/>
                  </a:lnTo>
                  <a:lnTo>
                    <a:pt x="592" y="410"/>
                  </a:lnTo>
                  <a:lnTo>
                    <a:pt x="592" y="410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4"/>
                  </a:lnTo>
                  <a:lnTo>
                    <a:pt x="590" y="414"/>
                  </a:lnTo>
                  <a:lnTo>
                    <a:pt x="590" y="414"/>
                  </a:lnTo>
                  <a:lnTo>
                    <a:pt x="590" y="416"/>
                  </a:lnTo>
                  <a:lnTo>
                    <a:pt x="588" y="418"/>
                  </a:lnTo>
                  <a:lnTo>
                    <a:pt x="588" y="422"/>
                  </a:lnTo>
                  <a:lnTo>
                    <a:pt x="588" y="426"/>
                  </a:lnTo>
                  <a:lnTo>
                    <a:pt x="588" y="430"/>
                  </a:lnTo>
                  <a:lnTo>
                    <a:pt x="586" y="432"/>
                  </a:lnTo>
                  <a:lnTo>
                    <a:pt x="582" y="434"/>
                  </a:lnTo>
                  <a:lnTo>
                    <a:pt x="576" y="436"/>
                  </a:lnTo>
                  <a:lnTo>
                    <a:pt x="572" y="440"/>
                  </a:lnTo>
                  <a:lnTo>
                    <a:pt x="568" y="440"/>
                  </a:lnTo>
                  <a:lnTo>
                    <a:pt x="562" y="438"/>
                  </a:lnTo>
                  <a:lnTo>
                    <a:pt x="556" y="438"/>
                  </a:lnTo>
                  <a:lnTo>
                    <a:pt x="550" y="438"/>
                  </a:lnTo>
                  <a:lnTo>
                    <a:pt x="544" y="438"/>
                  </a:lnTo>
                  <a:lnTo>
                    <a:pt x="544" y="438"/>
                  </a:lnTo>
                  <a:lnTo>
                    <a:pt x="544" y="438"/>
                  </a:lnTo>
                  <a:lnTo>
                    <a:pt x="540" y="440"/>
                  </a:lnTo>
                  <a:lnTo>
                    <a:pt x="540" y="440"/>
                  </a:lnTo>
                  <a:lnTo>
                    <a:pt x="538" y="440"/>
                  </a:lnTo>
                  <a:lnTo>
                    <a:pt x="534" y="442"/>
                  </a:lnTo>
                  <a:lnTo>
                    <a:pt x="534" y="442"/>
                  </a:lnTo>
                  <a:lnTo>
                    <a:pt x="534" y="444"/>
                  </a:lnTo>
                  <a:lnTo>
                    <a:pt x="532" y="444"/>
                  </a:lnTo>
                  <a:lnTo>
                    <a:pt x="532" y="444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28" y="446"/>
                  </a:lnTo>
                  <a:lnTo>
                    <a:pt x="524" y="448"/>
                  </a:lnTo>
                  <a:lnTo>
                    <a:pt x="522" y="448"/>
                  </a:lnTo>
                  <a:lnTo>
                    <a:pt x="520" y="448"/>
                  </a:lnTo>
                  <a:lnTo>
                    <a:pt x="520" y="448"/>
                  </a:lnTo>
                  <a:lnTo>
                    <a:pt x="520" y="448"/>
                  </a:lnTo>
                  <a:lnTo>
                    <a:pt x="518" y="446"/>
                  </a:lnTo>
                  <a:lnTo>
                    <a:pt x="520" y="442"/>
                  </a:lnTo>
                  <a:lnTo>
                    <a:pt x="520" y="442"/>
                  </a:lnTo>
                  <a:lnTo>
                    <a:pt x="520" y="440"/>
                  </a:lnTo>
                  <a:lnTo>
                    <a:pt x="522" y="438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4"/>
                  </a:lnTo>
                  <a:lnTo>
                    <a:pt x="524" y="434"/>
                  </a:lnTo>
                  <a:lnTo>
                    <a:pt x="524" y="434"/>
                  </a:lnTo>
                  <a:lnTo>
                    <a:pt x="524" y="432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0" y="430"/>
                  </a:lnTo>
                  <a:lnTo>
                    <a:pt x="520" y="430"/>
                  </a:lnTo>
                  <a:lnTo>
                    <a:pt x="518" y="430"/>
                  </a:lnTo>
                  <a:lnTo>
                    <a:pt x="516" y="430"/>
                  </a:lnTo>
                  <a:lnTo>
                    <a:pt x="514" y="430"/>
                  </a:lnTo>
                  <a:lnTo>
                    <a:pt x="510" y="428"/>
                  </a:lnTo>
                  <a:lnTo>
                    <a:pt x="506" y="428"/>
                  </a:lnTo>
                  <a:lnTo>
                    <a:pt x="506" y="428"/>
                  </a:lnTo>
                  <a:lnTo>
                    <a:pt x="504" y="428"/>
                  </a:lnTo>
                  <a:lnTo>
                    <a:pt x="498" y="434"/>
                  </a:lnTo>
                  <a:lnTo>
                    <a:pt x="494" y="436"/>
                  </a:lnTo>
                  <a:lnTo>
                    <a:pt x="490" y="438"/>
                  </a:lnTo>
                  <a:lnTo>
                    <a:pt x="490" y="438"/>
                  </a:lnTo>
                  <a:lnTo>
                    <a:pt x="486" y="438"/>
                  </a:lnTo>
                  <a:lnTo>
                    <a:pt x="484" y="438"/>
                  </a:lnTo>
                  <a:lnTo>
                    <a:pt x="476" y="440"/>
                  </a:lnTo>
                  <a:lnTo>
                    <a:pt x="474" y="442"/>
                  </a:lnTo>
                  <a:lnTo>
                    <a:pt x="474" y="442"/>
                  </a:lnTo>
                  <a:lnTo>
                    <a:pt x="474" y="442"/>
                  </a:lnTo>
                  <a:lnTo>
                    <a:pt x="472" y="442"/>
                  </a:lnTo>
                  <a:lnTo>
                    <a:pt x="472" y="442"/>
                  </a:lnTo>
                  <a:lnTo>
                    <a:pt x="470" y="444"/>
                  </a:lnTo>
                  <a:lnTo>
                    <a:pt x="468" y="446"/>
                  </a:lnTo>
                  <a:lnTo>
                    <a:pt x="468" y="446"/>
                  </a:lnTo>
                  <a:lnTo>
                    <a:pt x="468" y="446"/>
                  </a:lnTo>
                  <a:lnTo>
                    <a:pt x="466" y="448"/>
                  </a:lnTo>
                  <a:lnTo>
                    <a:pt x="462" y="454"/>
                  </a:lnTo>
                  <a:lnTo>
                    <a:pt x="460" y="460"/>
                  </a:lnTo>
                  <a:lnTo>
                    <a:pt x="458" y="462"/>
                  </a:lnTo>
                  <a:lnTo>
                    <a:pt x="456" y="464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46" y="466"/>
                  </a:lnTo>
                  <a:lnTo>
                    <a:pt x="446" y="466"/>
                  </a:lnTo>
                  <a:lnTo>
                    <a:pt x="446" y="466"/>
                  </a:lnTo>
                  <a:lnTo>
                    <a:pt x="442" y="470"/>
                  </a:lnTo>
                  <a:lnTo>
                    <a:pt x="438" y="472"/>
                  </a:lnTo>
                  <a:lnTo>
                    <a:pt x="434" y="476"/>
                  </a:lnTo>
                  <a:lnTo>
                    <a:pt x="430" y="480"/>
                  </a:lnTo>
                  <a:lnTo>
                    <a:pt x="424" y="488"/>
                  </a:lnTo>
                  <a:lnTo>
                    <a:pt x="422" y="490"/>
                  </a:lnTo>
                  <a:lnTo>
                    <a:pt x="420" y="492"/>
                  </a:lnTo>
                  <a:lnTo>
                    <a:pt x="420" y="492"/>
                  </a:lnTo>
                  <a:lnTo>
                    <a:pt x="420" y="492"/>
                  </a:lnTo>
                  <a:lnTo>
                    <a:pt x="418" y="494"/>
                  </a:lnTo>
                  <a:lnTo>
                    <a:pt x="418" y="494"/>
                  </a:lnTo>
                  <a:lnTo>
                    <a:pt x="418" y="494"/>
                  </a:lnTo>
                  <a:lnTo>
                    <a:pt x="416" y="496"/>
                  </a:lnTo>
                  <a:lnTo>
                    <a:pt x="416" y="496"/>
                  </a:lnTo>
                  <a:lnTo>
                    <a:pt x="416" y="496"/>
                  </a:lnTo>
                  <a:lnTo>
                    <a:pt x="416" y="498"/>
                  </a:lnTo>
                  <a:lnTo>
                    <a:pt x="416" y="498"/>
                  </a:lnTo>
                  <a:lnTo>
                    <a:pt x="416" y="498"/>
                  </a:lnTo>
                  <a:lnTo>
                    <a:pt x="416" y="500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2" y="504"/>
                  </a:lnTo>
                  <a:lnTo>
                    <a:pt x="408" y="504"/>
                  </a:lnTo>
                  <a:lnTo>
                    <a:pt x="404" y="504"/>
                  </a:lnTo>
                  <a:lnTo>
                    <a:pt x="400" y="506"/>
                  </a:lnTo>
                  <a:lnTo>
                    <a:pt x="398" y="504"/>
                  </a:lnTo>
                  <a:lnTo>
                    <a:pt x="396" y="502"/>
                  </a:lnTo>
                  <a:lnTo>
                    <a:pt x="392" y="502"/>
                  </a:lnTo>
                  <a:lnTo>
                    <a:pt x="390" y="500"/>
                  </a:lnTo>
                  <a:lnTo>
                    <a:pt x="388" y="498"/>
                  </a:lnTo>
                  <a:lnTo>
                    <a:pt x="388" y="496"/>
                  </a:lnTo>
                  <a:lnTo>
                    <a:pt x="388" y="494"/>
                  </a:lnTo>
                  <a:lnTo>
                    <a:pt x="388" y="490"/>
                  </a:lnTo>
                  <a:lnTo>
                    <a:pt x="388" y="488"/>
                  </a:lnTo>
                  <a:lnTo>
                    <a:pt x="388" y="486"/>
                  </a:lnTo>
                  <a:lnTo>
                    <a:pt x="388" y="484"/>
                  </a:lnTo>
                  <a:lnTo>
                    <a:pt x="388" y="482"/>
                  </a:lnTo>
                  <a:lnTo>
                    <a:pt x="390" y="480"/>
                  </a:lnTo>
                  <a:lnTo>
                    <a:pt x="396" y="476"/>
                  </a:lnTo>
                  <a:lnTo>
                    <a:pt x="398" y="474"/>
                  </a:lnTo>
                  <a:lnTo>
                    <a:pt x="400" y="472"/>
                  </a:lnTo>
                  <a:lnTo>
                    <a:pt x="400" y="472"/>
                  </a:lnTo>
                  <a:lnTo>
                    <a:pt x="402" y="472"/>
                  </a:lnTo>
                  <a:lnTo>
                    <a:pt x="404" y="468"/>
                  </a:lnTo>
                  <a:lnTo>
                    <a:pt x="404" y="468"/>
                  </a:lnTo>
                  <a:lnTo>
                    <a:pt x="404" y="468"/>
                  </a:lnTo>
                  <a:lnTo>
                    <a:pt x="406" y="464"/>
                  </a:lnTo>
                  <a:lnTo>
                    <a:pt x="406" y="464"/>
                  </a:lnTo>
                  <a:lnTo>
                    <a:pt x="406" y="462"/>
                  </a:lnTo>
                  <a:lnTo>
                    <a:pt x="404" y="460"/>
                  </a:lnTo>
                  <a:lnTo>
                    <a:pt x="402" y="460"/>
                  </a:lnTo>
                  <a:lnTo>
                    <a:pt x="402" y="460"/>
                  </a:lnTo>
                  <a:lnTo>
                    <a:pt x="400" y="458"/>
                  </a:lnTo>
                  <a:lnTo>
                    <a:pt x="400" y="458"/>
                  </a:lnTo>
                  <a:lnTo>
                    <a:pt x="400" y="454"/>
                  </a:lnTo>
                  <a:lnTo>
                    <a:pt x="400" y="454"/>
                  </a:lnTo>
                  <a:lnTo>
                    <a:pt x="400" y="454"/>
                  </a:lnTo>
                  <a:lnTo>
                    <a:pt x="398" y="452"/>
                  </a:lnTo>
                  <a:lnTo>
                    <a:pt x="396" y="450"/>
                  </a:lnTo>
                  <a:lnTo>
                    <a:pt x="396" y="450"/>
                  </a:lnTo>
                  <a:lnTo>
                    <a:pt x="396" y="448"/>
                  </a:lnTo>
                  <a:lnTo>
                    <a:pt x="394" y="448"/>
                  </a:lnTo>
                  <a:lnTo>
                    <a:pt x="394" y="448"/>
                  </a:lnTo>
                  <a:lnTo>
                    <a:pt x="392" y="448"/>
                  </a:lnTo>
                  <a:lnTo>
                    <a:pt x="390" y="446"/>
                  </a:lnTo>
                  <a:lnTo>
                    <a:pt x="384" y="446"/>
                  </a:lnTo>
                  <a:lnTo>
                    <a:pt x="378" y="444"/>
                  </a:lnTo>
                  <a:lnTo>
                    <a:pt x="376" y="444"/>
                  </a:lnTo>
                  <a:lnTo>
                    <a:pt x="372" y="444"/>
                  </a:lnTo>
                  <a:lnTo>
                    <a:pt x="370" y="442"/>
                  </a:lnTo>
                  <a:lnTo>
                    <a:pt x="368" y="442"/>
                  </a:lnTo>
                  <a:lnTo>
                    <a:pt x="368" y="440"/>
                  </a:lnTo>
                  <a:lnTo>
                    <a:pt x="366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2" y="438"/>
                  </a:lnTo>
                  <a:lnTo>
                    <a:pt x="362" y="438"/>
                  </a:lnTo>
                  <a:lnTo>
                    <a:pt x="362" y="438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8" y="444"/>
                  </a:lnTo>
                  <a:lnTo>
                    <a:pt x="358" y="444"/>
                  </a:lnTo>
                  <a:lnTo>
                    <a:pt x="358" y="446"/>
                  </a:lnTo>
                  <a:lnTo>
                    <a:pt x="358" y="446"/>
                  </a:lnTo>
                  <a:lnTo>
                    <a:pt x="358" y="448"/>
                  </a:lnTo>
                  <a:lnTo>
                    <a:pt x="360" y="448"/>
                  </a:lnTo>
                  <a:lnTo>
                    <a:pt x="360" y="452"/>
                  </a:lnTo>
                  <a:lnTo>
                    <a:pt x="362" y="454"/>
                  </a:lnTo>
                  <a:lnTo>
                    <a:pt x="364" y="458"/>
                  </a:lnTo>
                  <a:lnTo>
                    <a:pt x="366" y="462"/>
                  </a:lnTo>
                  <a:lnTo>
                    <a:pt x="366" y="464"/>
                  </a:lnTo>
                  <a:lnTo>
                    <a:pt x="368" y="466"/>
                  </a:lnTo>
                  <a:lnTo>
                    <a:pt x="368" y="470"/>
                  </a:lnTo>
                  <a:lnTo>
                    <a:pt x="368" y="474"/>
                  </a:lnTo>
                  <a:lnTo>
                    <a:pt x="366" y="476"/>
                  </a:lnTo>
                  <a:lnTo>
                    <a:pt x="366" y="478"/>
                  </a:lnTo>
                  <a:lnTo>
                    <a:pt x="364" y="480"/>
                  </a:lnTo>
                  <a:lnTo>
                    <a:pt x="362" y="482"/>
                  </a:lnTo>
                  <a:lnTo>
                    <a:pt x="362" y="482"/>
                  </a:lnTo>
                  <a:lnTo>
                    <a:pt x="362" y="482"/>
                  </a:lnTo>
                  <a:lnTo>
                    <a:pt x="360" y="486"/>
                  </a:lnTo>
                  <a:lnTo>
                    <a:pt x="360" y="486"/>
                  </a:lnTo>
                  <a:lnTo>
                    <a:pt x="360" y="486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2" y="496"/>
                  </a:lnTo>
                  <a:lnTo>
                    <a:pt x="364" y="500"/>
                  </a:lnTo>
                  <a:lnTo>
                    <a:pt x="366" y="502"/>
                  </a:lnTo>
                  <a:lnTo>
                    <a:pt x="368" y="504"/>
                  </a:lnTo>
                  <a:lnTo>
                    <a:pt x="368" y="506"/>
                  </a:lnTo>
                  <a:lnTo>
                    <a:pt x="370" y="510"/>
                  </a:lnTo>
                  <a:lnTo>
                    <a:pt x="370" y="514"/>
                  </a:lnTo>
                  <a:lnTo>
                    <a:pt x="370" y="518"/>
                  </a:lnTo>
                  <a:lnTo>
                    <a:pt x="370" y="520"/>
                  </a:lnTo>
                  <a:lnTo>
                    <a:pt x="368" y="524"/>
                  </a:lnTo>
                  <a:lnTo>
                    <a:pt x="368" y="528"/>
                  </a:lnTo>
                  <a:lnTo>
                    <a:pt x="366" y="530"/>
                  </a:lnTo>
                  <a:lnTo>
                    <a:pt x="364" y="530"/>
                  </a:lnTo>
                  <a:lnTo>
                    <a:pt x="360" y="530"/>
                  </a:lnTo>
                  <a:lnTo>
                    <a:pt x="358" y="530"/>
                  </a:lnTo>
                  <a:lnTo>
                    <a:pt x="354" y="530"/>
                  </a:lnTo>
                  <a:lnTo>
                    <a:pt x="352" y="530"/>
                  </a:lnTo>
                  <a:lnTo>
                    <a:pt x="348" y="530"/>
                  </a:lnTo>
                  <a:lnTo>
                    <a:pt x="344" y="530"/>
                  </a:lnTo>
                  <a:lnTo>
                    <a:pt x="338" y="530"/>
                  </a:lnTo>
                  <a:lnTo>
                    <a:pt x="338" y="530"/>
                  </a:lnTo>
                  <a:lnTo>
                    <a:pt x="338" y="530"/>
                  </a:lnTo>
                  <a:lnTo>
                    <a:pt x="334" y="530"/>
                  </a:lnTo>
                  <a:lnTo>
                    <a:pt x="332" y="530"/>
                  </a:lnTo>
                  <a:lnTo>
                    <a:pt x="332" y="530"/>
                  </a:lnTo>
                  <a:lnTo>
                    <a:pt x="332" y="530"/>
                  </a:lnTo>
                  <a:lnTo>
                    <a:pt x="328" y="534"/>
                  </a:lnTo>
                  <a:lnTo>
                    <a:pt x="324" y="536"/>
                  </a:lnTo>
                  <a:lnTo>
                    <a:pt x="320" y="538"/>
                  </a:lnTo>
                  <a:lnTo>
                    <a:pt x="316" y="538"/>
                  </a:lnTo>
                  <a:lnTo>
                    <a:pt x="314" y="540"/>
                  </a:lnTo>
                  <a:lnTo>
                    <a:pt x="314" y="540"/>
                  </a:lnTo>
                  <a:lnTo>
                    <a:pt x="314" y="540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08" y="544"/>
                  </a:lnTo>
                  <a:lnTo>
                    <a:pt x="306" y="546"/>
                  </a:lnTo>
                  <a:lnTo>
                    <a:pt x="306" y="548"/>
                  </a:lnTo>
                  <a:lnTo>
                    <a:pt x="302" y="548"/>
                  </a:lnTo>
                  <a:lnTo>
                    <a:pt x="302" y="548"/>
                  </a:lnTo>
                  <a:lnTo>
                    <a:pt x="302" y="548"/>
                  </a:lnTo>
                  <a:lnTo>
                    <a:pt x="300" y="550"/>
                  </a:lnTo>
                  <a:lnTo>
                    <a:pt x="300" y="550"/>
                  </a:lnTo>
                  <a:lnTo>
                    <a:pt x="300" y="550"/>
                  </a:lnTo>
                  <a:lnTo>
                    <a:pt x="298" y="550"/>
                  </a:lnTo>
                  <a:lnTo>
                    <a:pt x="298" y="550"/>
                  </a:lnTo>
                  <a:lnTo>
                    <a:pt x="298" y="550"/>
                  </a:lnTo>
                  <a:lnTo>
                    <a:pt x="296" y="552"/>
                  </a:lnTo>
                  <a:lnTo>
                    <a:pt x="296" y="552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6" y="556"/>
                  </a:lnTo>
                  <a:lnTo>
                    <a:pt x="296" y="558"/>
                  </a:lnTo>
                  <a:lnTo>
                    <a:pt x="296" y="558"/>
                  </a:lnTo>
                  <a:lnTo>
                    <a:pt x="296" y="558"/>
                  </a:lnTo>
                  <a:lnTo>
                    <a:pt x="298" y="562"/>
                  </a:lnTo>
                  <a:lnTo>
                    <a:pt x="298" y="562"/>
                  </a:lnTo>
                  <a:lnTo>
                    <a:pt x="298" y="562"/>
                  </a:lnTo>
                  <a:lnTo>
                    <a:pt x="302" y="564"/>
                  </a:lnTo>
                  <a:lnTo>
                    <a:pt x="302" y="564"/>
                  </a:lnTo>
                  <a:lnTo>
                    <a:pt x="304" y="566"/>
                  </a:lnTo>
                  <a:lnTo>
                    <a:pt x="306" y="568"/>
                  </a:lnTo>
                  <a:lnTo>
                    <a:pt x="306" y="570"/>
                  </a:lnTo>
                  <a:lnTo>
                    <a:pt x="306" y="572"/>
                  </a:lnTo>
                  <a:lnTo>
                    <a:pt x="308" y="576"/>
                  </a:lnTo>
                  <a:lnTo>
                    <a:pt x="308" y="578"/>
                  </a:lnTo>
                  <a:lnTo>
                    <a:pt x="308" y="580"/>
                  </a:lnTo>
                  <a:lnTo>
                    <a:pt x="304" y="580"/>
                  </a:lnTo>
                  <a:lnTo>
                    <a:pt x="298" y="580"/>
                  </a:lnTo>
                  <a:lnTo>
                    <a:pt x="290" y="580"/>
                  </a:lnTo>
                  <a:lnTo>
                    <a:pt x="288" y="580"/>
                  </a:lnTo>
                  <a:lnTo>
                    <a:pt x="284" y="578"/>
                  </a:lnTo>
                  <a:lnTo>
                    <a:pt x="280" y="576"/>
                  </a:lnTo>
                  <a:lnTo>
                    <a:pt x="276" y="576"/>
                  </a:lnTo>
                  <a:lnTo>
                    <a:pt x="270" y="572"/>
                  </a:lnTo>
                  <a:lnTo>
                    <a:pt x="266" y="570"/>
                  </a:lnTo>
                  <a:lnTo>
                    <a:pt x="266" y="570"/>
                  </a:lnTo>
                  <a:lnTo>
                    <a:pt x="266" y="570"/>
                  </a:lnTo>
                  <a:lnTo>
                    <a:pt x="266" y="568"/>
                  </a:lnTo>
                  <a:lnTo>
                    <a:pt x="264" y="568"/>
                  </a:lnTo>
                  <a:lnTo>
                    <a:pt x="260" y="568"/>
                  </a:lnTo>
                  <a:lnTo>
                    <a:pt x="258" y="568"/>
                  </a:lnTo>
                  <a:lnTo>
                    <a:pt x="254" y="566"/>
                  </a:lnTo>
                  <a:lnTo>
                    <a:pt x="250" y="566"/>
                  </a:lnTo>
                  <a:lnTo>
                    <a:pt x="246" y="568"/>
                  </a:lnTo>
                  <a:lnTo>
                    <a:pt x="246" y="568"/>
                  </a:lnTo>
                  <a:lnTo>
                    <a:pt x="246" y="568"/>
                  </a:lnTo>
                  <a:lnTo>
                    <a:pt x="244" y="568"/>
                  </a:lnTo>
                  <a:lnTo>
                    <a:pt x="242" y="568"/>
                  </a:lnTo>
                  <a:lnTo>
                    <a:pt x="240" y="568"/>
                  </a:lnTo>
                  <a:lnTo>
                    <a:pt x="238" y="570"/>
                  </a:lnTo>
                  <a:lnTo>
                    <a:pt x="238" y="570"/>
                  </a:lnTo>
                  <a:lnTo>
                    <a:pt x="236" y="570"/>
                  </a:lnTo>
                  <a:lnTo>
                    <a:pt x="236" y="570"/>
                  </a:lnTo>
                  <a:lnTo>
                    <a:pt x="236" y="570"/>
                  </a:lnTo>
                  <a:lnTo>
                    <a:pt x="236" y="574"/>
                  </a:lnTo>
                  <a:lnTo>
                    <a:pt x="236" y="574"/>
                  </a:lnTo>
                  <a:lnTo>
                    <a:pt x="236" y="574"/>
                  </a:lnTo>
                  <a:lnTo>
                    <a:pt x="238" y="576"/>
                  </a:lnTo>
                  <a:lnTo>
                    <a:pt x="238" y="576"/>
                  </a:lnTo>
                  <a:lnTo>
                    <a:pt x="240" y="578"/>
                  </a:lnTo>
                  <a:lnTo>
                    <a:pt x="242" y="578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80"/>
                  </a:lnTo>
                  <a:lnTo>
                    <a:pt x="244" y="580"/>
                  </a:lnTo>
                  <a:lnTo>
                    <a:pt x="246" y="582"/>
                  </a:lnTo>
                  <a:lnTo>
                    <a:pt x="250" y="584"/>
                  </a:lnTo>
                  <a:lnTo>
                    <a:pt x="252" y="586"/>
                  </a:lnTo>
                  <a:lnTo>
                    <a:pt x="254" y="588"/>
                  </a:lnTo>
                  <a:lnTo>
                    <a:pt x="254" y="588"/>
                  </a:lnTo>
                  <a:lnTo>
                    <a:pt x="254" y="588"/>
                  </a:lnTo>
                  <a:lnTo>
                    <a:pt x="256" y="590"/>
                  </a:lnTo>
                  <a:lnTo>
                    <a:pt x="262" y="592"/>
                  </a:lnTo>
                  <a:lnTo>
                    <a:pt x="268" y="596"/>
                  </a:lnTo>
                  <a:lnTo>
                    <a:pt x="272" y="600"/>
                  </a:lnTo>
                  <a:lnTo>
                    <a:pt x="274" y="602"/>
                  </a:lnTo>
                  <a:lnTo>
                    <a:pt x="276" y="606"/>
                  </a:lnTo>
                  <a:lnTo>
                    <a:pt x="276" y="606"/>
                  </a:lnTo>
                  <a:lnTo>
                    <a:pt x="278" y="608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2" y="612"/>
                  </a:lnTo>
                  <a:lnTo>
                    <a:pt x="268" y="612"/>
                  </a:lnTo>
                  <a:lnTo>
                    <a:pt x="262" y="612"/>
                  </a:lnTo>
                  <a:lnTo>
                    <a:pt x="256" y="612"/>
                  </a:lnTo>
                  <a:lnTo>
                    <a:pt x="252" y="610"/>
                  </a:lnTo>
                  <a:lnTo>
                    <a:pt x="250" y="610"/>
                  </a:lnTo>
                  <a:lnTo>
                    <a:pt x="250" y="610"/>
                  </a:lnTo>
                  <a:lnTo>
                    <a:pt x="248" y="610"/>
                  </a:lnTo>
                  <a:lnTo>
                    <a:pt x="248" y="608"/>
                  </a:lnTo>
                  <a:lnTo>
                    <a:pt x="246" y="606"/>
                  </a:lnTo>
                  <a:lnTo>
                    <a:pt x="244" y="602"/>
                  </a:lnTo>
                  <a:lnTo>
                    <a:pt x="244" y="600"/>
                  </a:lnTo>
                  <a:lnTo>
                    <a:pt x="242" y="598"/>
                  </a:lnTo>
                  <a:lnTo>
                    <a:pt x="242" y="594"/>
                  </a:lnTo>
                  <a:lnTo>
                    <a:pt x="240" y="592"/>
                  </a:lnTo>
                  <a:lnTo>
                    <a:pt x="238" y="584"/>
                  </a:lnTo>
                  <a:lnTo>
                    <a:pt x="236" y="576"/>
                  </a:lnTo>
                  <a:lnTo>
                    <a:pt x="232" y="566"/>
                  </a:lnTo>
                  <a:lnTo>
                    <a:pt x="230" y="558"/>
                  </a:lnTo>
                  <a:lnTo>
                    <a:pt x="228" y="552"/>
                  </a:lnTo>
                  <a:lnTo>
                    <a:pt x="228" y="548"/>
                  </a:lnTo>
                  <a:lnTo>
                    <a:pt x="226" y="546"/>
                  </a:lnTo>
                  <a:lnTo>
                    <a:pt x="226" y="546"/>
                  </a:lnTo>
                  <a:lnTo>
                    <a:pt x="226" y="544"/>
                  </a:lnTo>
                  <a:lnTo>
                    <a:pt x="222" y="542"/>
                  </a:lnTo>
                  <a:lnTo>
                    <a:pt x="220" y="540"/>
                  </a:lnTo>
                  <a:lnTo>
                    <a:pt x="220" y="538"/>
                  </a:lnTo>
                  <a:lnTo>
                    <a:pt x="218" y="536"/>
                  </a:lnTo>
                  <a:lnTo>
                    <a:pt x="218" y="530"/>
                  </a:lnTo>
                  <a:lnTo>
                    <a:pt x="216" y="524"/>
                  </a:lnTo>
                  <a:lnTo>
                    <a:pt x="216" y="524"/>
                  </a:lnTo>
                  <a:lnTo>
                    <a:pt x="214" y="522"/>
                  </a:lnTo>
                  <a:lnTo>
                    <a:pt x="210" y="520"/>
                  </a:lnTo>
                  <a:lnTo>
                    <a:pt x="206" y="518"/>
                  </a:lnTo>
                  <a:lnTo>
                    <a:pt x="200" y="516"/>
                  </a:lnTo>
                  <a:lnTo>
                    <a:pt x="196" y="512"/>
                  </a:lnTo>
                  <a:lnTo>
                    <a:pt x="196" y="512"/>
                  </a:lnTo>
                  <a:lnTo>
                    <a:pt x="192" y="508"/>
                  </a:lnTo>
                  <a:lnTo>
                    <a:pt x="190" y="506"/>
                  </a:lnTo>
                  <a:lnTo>
                    <a:pt x="188" y="504"/>
                  </a:lnTo>
                  <a:lnTo>
                    <a:pt x="188" y="504"/>
                  </a:lnTo>
                  <a:lnTo>
                    <a:pt x="188" y="500"/>
                  </a:lnTo>
                  <a:lnTo>
                    <a:pt x="188" y="500"/>
                  </a:lnTo>
                  <a:lnTo>
                    <a:pt x="188" y="498"/>
                  </a:lnTo>
                  <a:lnTo>
                    <a:pt x="188" y="498"/>
                  </a:lnTo>
                  <a:lnTo>
                    <a:pt x="190" y="498"/>
                  </a:lnTo>
                  <a:lnTo>
                    <a:pt x="192" y="498"/>
                  </a:lnTo>
                  <a:lnTo>
                    <a:pt x="192" y="498"/>
                  </a:lnTo>
                  <a:lnTo>
                    <a:pt x="192" y="498"/>
                  </a:lnTo>
                  <a:lnTo>
                    <a:pt x="192" y="500"/>
                  </a:lnTo>
                  <a:lnTo>
                    <a:pt x="196" y="502"/>
                  </a:lnTo>
                  <a:lnTo>
                    <a:pt x="198" y="506"/>
                  </a:lnTo>
                  <a:lnTo>
                    <a:pt x="200" y="510"/>
                  </a:lnTo>
                  <a:lnTo>
                    <a:pt x="200" y="510"/>
                  </a:lnTo>
                  <a:lnTo>
                    <a:pt x="202" y="510"/>
                  </a:lnTo>
                  <a:lnTo>
                    <a:pt x="206" y="512"/>
                  </a:lnTo>
                  <a:lnTo>
                    <a:pt x="212" y="512"/>
                  </a:lnTo>
                  <a:lnTo>
                    <a:pt x="218" y="514"/>
                  </a:lnTo>
                  <a:lnTo>
                    <a:pt x="222" y="516"/>
                  </a:lnTo>
                  <a:lnTo>
                    <a:pt x="222" y="516"/>
                  </a:lnTo>
                  <a:lnTo>
                    <a:pt x="222" y="516"/>
                  </a:lnTo>
                  <a:lnTo>
                    <a:pt x="224" y="518"/>
                  </a:lnTo>
                  <a:lnTo>
                    <a:pt x="226" y="518"/>
                  </a:lnTo>
                  <a:lnTo>
                    <a:pt x="228" y="518"/>
                  </a:lnTo>
                  <a:lnTo>
                    <a:pt x="228" y="520"/>
                  </a:lnTo>
                  <a:lnTo>
                    <a:pt x="230" y="522"/>
                  </a:lnTo>
                  <a:lnTo>
                    <a:pt x="232" y="524"/>
                  </a:lnTo>
                  <a:lnTo>
                    <a:pt x="234" y="526"/>
                  </a:lnTo>
                  <a:lnTo>
                    <a:pt x="234" y="526"/>
                  </a:lnTo>
                  <a:lnTo>
                    <a:pt x="236" y="526"/>
                  </a:lnTo>
                  <a:lnTo>
                    <a:pt x="240" y="526"/>
                  </a:lnTo>
                  <a:lnTo>
                    <a:pt x="244" y="528"/>
                  </a:lnTo>
                  <a:lnTo>
                    <a:pt x="248" y="530"/>
                  </a:lnTo>
                  <a:lnTo>
                    <a:pt x="252" y="532"/>
                  </a:lnTo>
                  <a:lnTo>
                    <a:pt x="252" y="532"/>
                  </a:lnTo>
                  <a:lnTo>
                    <a:pt x="254" y="532"/>
                  </a:lnTo>
                  <a:lnTo>
                    <a:pt x="258" y="532"/>
                  </a:lnTo>
                  <a:lnTo>
                    <a:pt x="264" y="534"/>
                  </a:lnTo>
                  <a:lnTo>
                    <a:pt x="272" y="536"/>
                  </a:lnTo>
                  <a:lnTo>
                    <a:pt x="276" y="536"/>
                  </a:lnTo>
                  <a:lnTo>
                    <a:pt x="282" y="536"/>
                  </a:lnTo>
                  <a:lnTo>
                    <a:pt x="286" y="538"/>
                  </a:lnTo>
                  <a:lnTo>
                    <a:pt x="292" y="538"/>
                  </a:lnTo>
                  <a:lnTo>
                    <a:pt x="292" y="538"/>
                  </a:lnTo>
                  <a:lnTo>
                    <a:pt x="294" y="538"/>
                  </a:lnTo>
                  <a:lnTo>
                    <a:pt x="298" y="534"/>
                  </a:lnTo>
                  <a:lnTo>
                    <a:pt x="302" y="532"/>
                  </a:lnTo>
                  <a:lnTo>
                    <a:pt x="306" y="530"/>
                  </a:lnTo>
                  <a:lnTo>
                    <a:pt x="312" y="526"/>
                  </a:lnTo>
                  <a:lnTo>
                    <a:pt x="316" y="522"/>
                  </a:lnTo>
                  <a:lnTo>
                    <a:pt x="316" y="522"/>
                  </a:lnTo>
                  <a:lnTo>
                    <a:pt x="316" y="522"/>
                  </a:lnTo>
                  <a:lnTo>
                    <a:pt x="318" y="518"/>
                  </a:lnTo>
                  <a:lnTo>
                    <a:pt x="318" y="518"/>
                  </a:lnTo>
                  <a:lnTo>
                    <a:pt x="320" y="518"/>
                  </a:lnTo>
                  <a:lnTo>
                    <a:pt x="320" y="516"/>
                  </a:lnTo>
                  <a:lnTo>
                    <a:pt x="322" y="512"/>
                  </a:lnTo>
                  <a:lnTo>
                    <a:pt x="322" y="510"/>
                  </a:lnTo>
                  <a:lnTo>
                    <a:pt x="324" y="506"/>
                  </a:lnTo>
                  <a:lnTo>
                    <a:pt x="324" y="502"/>
                  </a:lnTo>
                  <a:lnTo>
                    <a:pt x="324" y="496"/>
                  </a:lnTo>
                  <a:lnTo>
                    <a:pt x="324" y="496"/>
                  </a:lnTo>
                  <a:lnTo>
                    <a:pt x="324" y="496"/>
                  </a:lnTo>
                  <a:lnTo>
                    <a:pt x="324" y="492"/>
                  </a:lnTo>
                  <a:lnTo>
                    <a:pt x="322" y="490"/>
                  </a:lnTo>
                  <a:lnTo>
                    <a:pt x="322" y="486"/>
                  </a:lnTo>
                  <a:lnTo>
                    <a:pt x="322" y="486"/>
                  </a:lnTo>
                  <a:lnTo>
                    <a:pt x="322" y="486"/>
                  </a:lnTo>
                  <a:lnTo>
                    <a:pt x="318" y="482"/>
                  </a:lnTo>
                  <a:lnTo>
                    <a:pt x="316" y="480"/>
                  </a:lnTo>
                  <a:lnTo>
                    <a:pt x="316" y="480"/>
                  </a:lnTo>
                  <a:lnTo>
                    <a:pt x="316" y="478"/>
                  </a:lnTo>
                  <a:lnTo>
                    <a:pt x="312" y="476"/>
                  </a:lnTo>
                  <a:lnTo>
                    <a:pt x="308" y="474"/>
                  </a:lnTo>
                  <a:lnTo>
                    <a:pt x="306" y="472"/>
                  </a:lnTo>
                  <a:lnTo>
                    <a:pt x="304" y="468"/>
                  </a:lnTo>
                  <a:lnTo>
                    <a:pt x="300" y="462"/>
                  </a:lnTo>
                  <a:lnTo>
                    <a:pt x="298" y="458"/>
                  </a:lnTo>
                  <a:lnTo>
                    <a:pt x="296" y="454"/>
                  </a:lnTo>
                  <a:lnTo>
                    <a:pt x="292" y="448"/>
                  </a:lnTo>
                  <a:lnTo>
                    <a:pt x="292" y="448"/>
                  </a:lnTo>
                  <a:lnTo>
                    <a:pt x="286" y="442"/>
                  </a:lnTo>
                  <a:lnTo>
                    <a:pt x="282" y="438"/>
                  </a:lnTo>
                  <a:lnTo>
                    <a:pt x="276" y="434"/>
                  </a:lnTo>
                  <a:lnTo>
                    <a:pt x="276" y="434"/>
                  </a:lnTo>
                  <a:lnTo>
                    <a:pt x="274" y="434"/>
                  </a:lnTo>
                  <a:lnTo>
                    <a:pt x="270" y="434"/>
                  </a:lnTo>
                  <a:lnTo>
                    <a:pt x="266" y="432"/>
                  </a:lnTo>
                  <a:lnTo>
                    <a:pt x="262" y="430"/>
                  </a:lnTo>
                  <a:lnTo>
                    <a:pt x="258" y="428"/>
                  </a:lnTo>
                  <a:lnTo>
                    <a:pt x="248" y="424"/>
                  </a:lnTo>
                  <a:lnTo>
                    <a:pt x="244" y="422"/>
                  </a:lnTo>
                  <a:lnTo>
                    <a:pt x="240" y="418"/>
                  </a:lnTo>
                  <a:lnTo>
                    <a:pt x="240" y="418"/>
                  </a:lnTo>
                  <a:lnTo>
                    <a:pt x="238" y="418"/>
                  </a:lnTo>
                  <a:lnTo>
                    <a:pt x="234" y="418"/>
                  </a:lnTo>
                  <a:lnTo>
                    <a:pt x="230" y="418"/>
                  </a:lnTo>
                  <a:lnTo>
                    <a:pt x="224" y="418"/>
                  </a:lnTo>
                  <a:lnTo>
                    <a:pt x="218" y="418"/>
                  </a:lnTo>
                  <a:lnTo>
                    <a:pt x="214" y="418"/>
                  </a:lnTo>
                  <a:lnTo>
                    <a:pt x="210" y="418"/>
                  </a:lnTo>
                  <a:lnTo>
                    <a:pt x="206" y="418"/>
                  </a:lnTo>
                  <a:lnTo>
                    <a:pt x="206" y="418"/>
                  </a:lnTo>
                  <a:lnTo>
                    <a:pt x="206" y="418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4"/>
                  </a:lnTo>
                  <a:lnTo>
                    <a:pt x="204" y="410"/>
                  </a:lnTo>
                  <a:lnTo>
                    <a:pt x="204" y="406"/>
                  </a:lnTo>
                  <a:lnTo>
                    <a:pt x="202" y="402"/>
                  </a:lnTo>
                  <a:lnTo>
                    <a:pt x="202" y="402"/>
                  </a:lnTo>
                  <a:lnTo>
                    <a:pt x="200" y="400"/>
                  </a:lnTo>
                  <a:lnTo>
                    <a:pt x="196" y="400"/>
                  </a:lnTo>
                  <a:lnTo>
                    <a:pt x="194" y="398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74" y="396"/>
                  </a:lnTo>
                  <a:lnTo>
                    <a:pt x="174" y="396"/>
                  </a:lnTo>
                  <a:lnTo>
                    <a:pt x="172" y="396"/>
                  </a:lnTo>
                  <a:lnTo>
                    <a:pt x="164" y="400"/>
                  </a:lnTo>
                  <a:lnTo>
                    <a:pt x="156" y="406"/>
                  </a:lnTo>
                  <a:lnTo>
                    <a:pt x="152" y="410"/>
                  </a:lnTo>
                  <a:lnTo>
                    <a:pt x="148" y="412"/>
                  </a:lnTo>
                  <a:lnTo>
                    <a:pt x="144" y="416"/>
                  </a:lnTo>
                  <a:lnTo>
                    <a:pt x="142" y="420"/>
                  </a:lnTo>
                  <a:lnTo>
                    <a:pt x="140" y="422"/>
                  </a:lnTo>
                  <a:lnTo>
                    <a:pt x="138" y="424"/>
                  </a:lnTo>
                  <a:lnTo>
                    <a:pt x="134" y="426"/>
                  </a:lnTo>
                  <a:lnTo>
                    <a:pt x="132" y="428"/>
                  </a:lnTo>
                  <a:lnTo>
                    <a:pt x="132" y="428"/>
                  </a:lnTo>
                  <a:lnTo>
                    <a:pt x="132" y="428"/>
                  </a:lnTo>
                  <a:lnTo>
                    <a:pt x="130" y="428"/>
                  </a:lnTo>
                  <a:lnTo>
                    <a:pt x="130" y="428"/>
                  </a:lnTo>
                  <a:lnTo>
                    <a:pt x="130" y="430"/>
                  </a:lnTo>
                  <a:lnTo>
                    <a:pt x="128" y="432"/>
                  </a:lnTo>
                  <a:lnTo>
                    <a:pt x="128" y="432"/>
                  </a:lnTo>
                  <a:lnTo>
                    <a:pt x="128" y="432"/>
                  </a:lnTo>
                  <a:lnTo>
                    <a:pt x="128" y="434"/>
                  </a:lnTo>
                  <a:lnTo>
                    <a:pt x="128" y="434"/>
                  </a:lnTo>
                  <a:lnTo>
                    <a:pt x="128" y="434"/>
                  </a:lnTo>
                  <a:lnTo>
                    <a:pt x="128" y="436"/>
                  </a:lnTo>
                  <a:lnTo>
                    <a:pt x="128" y="436"/>
                  </a:lnTo>
                  <a:lnTo>
                    <a:pt x="130" y="438"/>
                  </a:lnTo>
                  <a:lnTo>
                    <a:pt x="130" y="440"/>
                  </a:lnTo>
                  <a:lnTo>
                    <a:pt x="132" y="442"/>
                  </a:lnTo>
                  <a:lnTo>
                    <a:pt x="134" y="446"/>
                  </a:lnTo>
                  <a:lnTo>
                    <a:pt x="138" y="448"/>
                  </a:lnTo>
                  <a:lnTo>
                    <a:pt x="138" y="450"/>
                  </a:lnTo>
                  <a:lnTo>
                    <a:pt x="140" y="452"/>
                  </a:lnTo>
                  <a:lnTo>
                    <a:pt x="140" y="452"/>
                  </a:lnTo>
                  <a:lnTo>
                    <a:pt x="140" y="452"/>
                  </a:lnTo>
                  <a:lnTo>
                    <a:pt x="140" y="454"/>
                  </a:lnTo>
                  <a:lnTo>
                    <a:pt x="142" y="454"/>
                  </a:lnTo>
                  <a:lnTo>
                    <a:pt x="142" y="454"/>
                  </a:lnTo>
                  <a:lnTo>
                    <a:pt x="142" y="456"/>
                  </a:lnTo>
                  <a:lnTo>
                    <a:pt x="142" y="456"/>
                  </a:lnTo>
                  <a:lnTo>
                    <a:pt x="142" y="456"/>
                  </a:lnTo>
                  <a:lnTo>
                    <a:pt x="142" y="458"/>
                  </a:lnTo>
                  <a:lnTo>
                    <a:pt x="142" y="458"/>
                  </a:lnTo>
                  <a:lnTo>
                    <a:pt x="142" y="460"/>
                  </a:lnTo>
                  <a:lnTo>
                    <a:pt x="142" y="460"/>
                  </a:lnTo>
                  <a:lnTo>
                    <a:pt x="142" y="460"/>
                  </a:lnTo>
                  <a:lnTo>
                    <a:pt x="142" y="464"/>
                  </a:lnTo>
                  <a:lnTo>
                    <a:pt x="144" y="466"/>
                  </a:lnTo>
                  <a:lnTo>
                    <a:pt x="146" y="472"/>
                  </a:lnTo>
                  <a:lnTo>
                    <a:pt x="148" y="476"/>
                  </a:lnTo>
                  <a:lnTo>
                    <a:pt x="148" y="478"/>
                  </a:lnTo>
                  <a:lnTo>
                    <a:pt x="150" y="482"/>
                  </a:lnTo>
                  <a:lnTo>
                    <a:pt x="150" y="484"/>
                  </a:lnTo>
                  <a:lnTo>
                    <a:pt x="148" y="486"/>
                  </a:lnTo>
                  <a:lnTo>
                    <a:pt x="146" y="490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4" y="496"/>
                  </a:lnTo>
                  <a:lnTo>
                    <a:pt x="144" y="498"/>
                  </a:lnTo>
                  <a:lnTo>
                    <a:pt x="144" y="502"/>
                  </a:lnTo>
                  <a:lnTo>
                    <a:pt x="144" y="504"/>
                  </a:lnTo>
                  <a:lnTo>
                    <a:pt x="144" y="508"/>
                  </a:lnTo>
                  <a:lnTo>
                    <a:pt x="144" y="508"/>
                  </a:lnTo>
                  <a:lnTo>
                    <a:pt x="144" y="510"/>
                  </a:lnTo>
                  <a:lnTo>
                    <a:pt x="148" y="514"/>
                  </a:lnTo>
                  <a:lnTo>
                    <a:pt x="148" y="516"/>
                  </a:lnTo>
                  <a:lnTo>
                    <a:pt x="150" y="520"/>
                  </a:lnTo>
                  <a:lnTo>
                    <a:pt x="150" y="524"/>
                  </a:lnTo>
                  <a:lnTo>
                    <a:pt x="152" y="532"/>
                  </a:lnTo>
                  <a:lnTo>
                    <a:pt x="154" y="542"/>
                  </a:lnTo>
                  <a:lnTo>
                    <a:pt x="154" y="544"/>
                  </a:lnTo>
                  <a:lnTo>
                    <a:pt x="154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50"/>
                  </a:lnTo>
                  <a:lnTo>
                    <a:pt x="158" y="552"/>
                  </a:lnTo>
                  <a:lnTo>
                    <a:pt x="158" y="554"/>
                  </a:lnTo>
                  <a:lnTo>
                    <a:pt x="158" y="556"/>
                  </a:lnTo>
                  <a:lnTo>
                    <a:pt x="158" y="560"/>
                  </a:lnTo>
                  <a:lnTo>
                    <a:pt x="158" y="564"/>
                  </a:lnTo>
                  <a:lnTo>
                    <a:pt x="158" y="570"/>
                  </a:lnTo>
                  <a:lnTo>
                    <a:pt x="156" y="576"/>
                  </a:lnTo>
                  <a:lnTo>
                    <a:pt x="156" y="584"/>
                  </a:lnTo>
                  <a:lnTo>
                    <a:pt x="154" y="592"/>
                  </a:lnTo>
                  <a:lnTo>
                    <a:pt x="154" y="598"/>
                  </a:lnTo>
                  <a:lnTo>
                    <a:pt x="154" y="606"/>
                  </a:lnTo>
                  <a:lnTo>
                    <a:pt x="154" y="612"/>
                  </a:lnTo>
                  <a:lnTo>
                    <a:pt x="154" y="612"/>
                  </a:lnTo>
                  <a:lnTo>
                    <a:pt x="154" y="612"/>
                  </a:lnTo>
                  <a:lnTo>
                    <a:pt x="156" y="616"/>
                  </a:lnTo>
                  <a:lnTo>
                    <a:pt x="158" y="622"/>
                  </a:lnTo>
                  <a:lnTo>
                    <a:pt x="164" y="628"/>
                  </a:lnTo>
                  <a:lnTo>
                    <a:pt x="166" y="632"/>
                  </a:lnTo>
                  <a:lnTo>
                    <a:pt x="168" y="636"/>
                  </a:lnTo>
                  <a:lnTo>
                    <a:pt x="170" y="640"/>
                  </a:lnTo>
                  <a:lnTo>
                    <a:pt x="172" y="644"/>
                  </a:lnTo>
                  <a:lnTo>
                    <a:pt x="170" y="648"/>
                  </a:lnTo>
                  <a:lnTo>
                    <a:pt x="170" y="648"/>
                  </a:lnTo>
                  <a:lnTo>
                    <a:pt x="170" y="650"/>
                  </a:lnTo>
                  <a:lnTo>
                    <a:pt x="170" y="656"/>
                  </a:lnTo>
                  <a:lnTo>
                    <a:pt x="168" y="662"/>
                  </a:lnTo>
                  <a:lnTo>
                    <a:pt x="168" y="666"/>
                  </a:lnTo>
                  <a:lnTo>
                    <a:pt x="168" y="668"/>
                  </a:lnTo>
                  <a:lnTo>
                    <a:pt x="166" y="668"/>
                  </a:lnTo>
                  <a:lnTo>
                    <a:pt x="166" y="668"/>
                  </a:lnTo>
                  <a:lnTo>
                    <a:pt x="164" y="668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58" y="670"/>
                  </a:lnTo>
                  <a:lnTo>
                    <a:pt x="158" y="672"/>
                  </a:lnTo>
                  <a:lnTo>
                    <a:pt x="158" y="672"/>
                  </a:lnTo>
                  <a:lnTo>
                    <a:pt x="156" y="672"/>
                  </a:lnTo>
                  <a:lnTo>
                    <a:pt x="156" y="674"/>
                  </a:lnTo>
                  <a:lnTo>
                    <a:pt x="156" y="674"/>
                  </a:lnTo>
                  <a:lnTo>
                    <a:pt x="156" y="674"/>
                  </a:lnTo>
                  <a:lnTo>
                    <a:pt x="156" y="676"/>
                  </a:lnTo>
                  <a:lnTo>
                    <a:pt x="156" y="680"/>
                  </a:lnTo>
                  <a:lnTo>
                    <a:pt x="156" y="684"/>
                  </a:lnTo>
                  <a:lnTo>
                    <a:pt x="154" y="686"/>
                  </a:lnTo>
                  <a:lnTo>
                    <a:pt x="154" y="686"/>
                  </a:lnTo>
                  <a:lnTo>
                    <a:pt x="150" y="688"/>
                  </a:lnTo>
                  <a:lnTo>
                    <a:pt x="146" y="692"/>
                  </a:lnTo>
                  <a:lnTo>
                    <a:pt x="144" y="696"/>
                  </a:lnTo>
                  <a:lnTo>
                    <a:pt x="144" y="696"/>
                  </a:lnTo>
                  <a:lnTo>
                    <a:pt x="144" y="698"/>
                  </a:lnTo>
                  <a:lnTo>
                    <a:pt x="142" y="700"/>
                  </a:lnTo>
                  <a:lnTo>
                    <a:pt x="140" y="702"/>
                  </a:lnTo>
                  <a:lnTo>
                    <a:pt x="138" y="704"/>
                  </a:lnTo>
                  <a:lnTo>
                    <a:pt x="136" y="706"/>
                  </a:lnTo>
                  <a:lnTo>
                    <a:pt x="134" y="708"/>
                  </a:lnTo>
                  <a:lnTo>
                    <a:pt x="134" y="710"/>
                  </a:lnTo>
                  <a:lnTo>
                    <a:pt x="134" y="710"/>
                  </a:lnTo>
                  <a:lnTo>
                    <a:pt x="134" y="710"/>
                  </a:lnTo>
                  <a:lnTo>
                    <a:pt x="132" y="712"/>
                  </a:lnTo>
                  <a:lnTo>
                    <a:pt x="132" y="712"/>
                  </a:lnTo>
                  <a:lnTo>
                    <a:pt x="132" y="712"/>
                  </a:lnTo>
                  <a:lnTo>
                    <a:pt x="132" y="714"/>
                  </a:lnTo>
                  <a:lnTo>
                    <a:pt x="132" y="714"/>
                  </a:lnTo>
                  <a:lnTo>
                    <a:pt x="132" y="716"/>
                  </a:lnTo>
                  <a:lnTo>
                    <a:pt x="134" y="718"/>
                  </a:lnTo>
                  <a:lnTo>
                    <a:pt x="134" y="718"/>
                  </a:lnTo>
                  <a:lnTo>
                    <a:pt x="134" y="718"/>
                  </a:lnTo>
                  <a:lnTo>
                    <a:pt x="136" y="722"/>
                  </a:lnTo>
                  <a:lnTo>
                    <a:pt x="138" y="724"/>
                  </a:lnTo>
                  <a:lnTo>
                    <a:pt x="140" y="728"/>
                  </a:lnTo>
                  <a:lnTo>
                    <a:pt x="140" y="728"/>
                  </a:lnTo>
                  <a:lnTo>
                    <a:pt x="142" y="728"/>
                  </a:lnTo>
                  <a:lnTo>
                    <a:pt x="144" y="732"/>
                  </a:lnTo>
                  <a:lnTo>
                    <a:pt x="146" y="734"/>
                  </a:lnTo>
                  <a:lnTo>
                    <a:pt x="148" y="736"/>
                  </a:lnTo>
                  <a:lnTo>
                    <a:pt x="150" y="738"/>
                  </a:lnTo>
                  <a:lnTo>
                    <a:pt x="146" y="738"/>
                  </a:lnTo>
                  <a:lnTo>
                    <a:pt x="142" y="738"/>
                  </a:lnTo>
                  <a:lnTo>
                    <a:pt x="140" y="740"/>
                  </a:lnTo>
                  <a:lnTo>
                    <a:pt x="140" y="740"/>
                  </a:lnTo>
                  <a:lnTo>
                    <a:pt x="140" y="740"/>
                  </a:lnTo>
                  <a:lnTo>
                    <a:pt x="138" y="740"/>
                  </a:lnTo>
                  <a:lnTo>
                    <a:pt x="138" y="740"/>
                  </a:lnTo>
                  <a:lnTo>
                    <a:pt x="136" y="740"/>
                  </a:lnTo>
                  <a:lnTo>
                    <a:pt x="134" y="742"/>
                  </a:lnTo>
                  <a:lnTo>
                    <a:pt x="134" y="742"/>
                  </a:lnTo>
                  <a:lnTo>
                    <a:pt x="134" y="742"/>
                  </a:lnTo>
                  <a:lnTo>
                    <a:pt x="132" y="744"/>
                  </a:lnTo>
                  <a:lnTo>
                    <a:pt x="132" y="744"/>
                  </a:lnTo>
                  <a:lnTo>
                    <a:pt x="132" y="746"/>
                  </a:lnTo>
                  <a:lnTo>
                    <a:pt x="132" y="748"/>
                  </a:lnTo>
                  <a:lnTo>
                    <a:pt x="130" y="748"/>
                  </a:lnTo>
                  <a:lnTo>
                    <a:pt x="130" y="748"/>
                  </a:lnTo>
                  <a:lnTo>
                    <a:pt x="130" y="750"/>
                  </a:lnTo>
                  <a:lnTo>
                    <a:pt x="130" y="750"/>
                  </a:lnTo>
                  <a:lnTo>
                    <a:pt x="130" y="750"/>
                  </a:lnTo>
                  <a:lnTo>
                    <a:pt x="130" y="752"/>
                  </a:lnTo>
                  <a:lnTo>
                    <a:pt x="128" y="756"/>
                  </a:lnTo>
                  <a:lnTo>
                    <a:pt x="128" y="756"/>
                  </a:lnTo>
                  <a:lnTo>
                    <a:pt x="128" y="756"/>
                  </a:lnTo>
                  <a:lnTo>
                    <a:pt x="128" y="760"/>
                  </a:lnTo>
                  <a:lnTo>
                    <a:pt x="128" y="762"/>
                  </a:lnTo>
                  <a:lnTo>
                    <a:pt x="128" y="766"/>
                  </a:lnTo>
                  <a:lnTo>
                    <a:pt x="126" y="768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4" y="774"/>
                  </a:lnTo>
                  <a:lnTo>
                    <a:pt x="124" y="774"/>
                  </a:lnTo>
                  <a:lnTo>
                    <a:pt x="124" y="776"/>
                  </a:lnTo>
                  <a:lnTo>
                    <a:pt x="124" y="778"/>
                  </a:lnTo>
                  <a:lnTo>
                    <a:pt x="124" y="778"/>
                  </a:lnTo>
                  <a:lnTo>
                    <a:pt x="124" y="778"/>
                  </a:lnTo>
                  <a:lnTo>
                    <a:pt x="124" y="780"/>
                  </a:lnTo>
                  <a:lnTo>
                    <a:pt x="124" y="782"/>
                  </a:lnTo>
                  <a:lnTo>
                    <a:pt x="122" y="784"/>
                  </a:lnTo>
                  <a:lnTo>
                    <a:pt x="122" y="788"/>
                  </a:lnTo>
                  <a:lnTo>
                    <a:pt x="122" y="790"/>
                  </a:lnTo>
                  <a:lnTo>
                    <a:pt x="122" y="792"/>
                  </a:lnTo>
                  <a:lnTo>
                    <a:pt x="122" y="792"/>
                  </a:lnTo>
                  <a:lnTo>
                    <a:pt x="122" y="792"/>
                  </a:lnTo>
                  <a:lnTo>
                    <a:pt x="124" y="794"/>
                  </a:lnTo>
                  <a:lnTo>
                    <a:pt x="124" y="794"/>
                  </a:lnTo>
                  <a:lnTo>
                    <a:pt x="124" y="794"/>
                  </a:lnTo>
                  <a:lnTo>
                    <a:pt x="124" y="796"/>
                  </a:lnTo>
                  <a:lnTo>
                    <a:pt x="124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8" y="796"/>
                  </a:lnTo>
                  <a:lnTo>
                    <a:pt x="128" y="796"/>
                  </a:lnTo>
                  <a:lnTo>
                    <a:pt x="128" y="796"/>
                  </a:lnTo>
                  <a:lnTo>
                    <a:pt x="128" y="798"/>
                  </a:lnTo>
                  <a:lnTo>
                    <a:pt x="130" y="800"/>
                  </a:lnTo>
                  <a:lnTo>
                    <a:pt x="130" y="800"/>
                  </a:lnTo>
                  <a:lnTo>
                    <a:pt x="130" y="800"/>
                  </a:lnTo>
                  <a:lnTo>
                    <a:pt x="132" y="802"/>
                  </a:lnTo>
                  <a:lnTo>
                    <a:pt x="134" y="802"/>
                  </a:lnTo>
                  <a:lnTo>
                    <a:pt x="134" y="804"/>
                  </a:lnTo>
                  <a:lnTo>
                    <a:pt x="134" y="804"/>
                  </a:lnTo>
                  <a:lnTo>
                    <a:pt x="132" y="806"/>
                  </a:lnTo>
                  <a:lnTo>
                    <a:pt x="132" y="808"/>
                  </a:lnTo>
                  <a:lnTo>
                    <a:pt x="132" y="810"/>
                  </a:lnTo>
                  <a:lnTo>
                    <a:pt x="130" y="814"/>
                  </a:lnTo>
                  <a:lnTo>
                    <a:pt x="130" y="818"/>
                  </a:lnTo>
                  <a:lnTo>
                    <a:pt x="128" y="822"/>
                  </a:lnTo>
                  <a:lnTo>
                    <a:pt x="128" y="826"/>
                  </a:lnTo>
                  <a:lnTo>
                    <a:pt x="128" y="828"/>
                  </a:lnTo>
                  <a:lnTo>
                    <a:pt x="128" y="828"/>
                  </a:lnTo>
                  <a:lnTo>
                    <a:pt x="128" y="830"/>
                  </a:lnTo>
                  <a:lnTo>
                    <a:pt x="128" y="832"/>
                  </a:lnTo>
                  <a:lnTo>
                    <a:pt x="128" y="832"/>
                  </a:lnTo>
                  <a:lnTo>
                    <a:pt x="128" y="832"/>
                  </a:lnTo>
                  <a:lnTo>
                    <a:pt x="130" y="834"/>
                  </a:lnTo>
                  <a:lnTo>
                    <a:pt x="130" y="834"/>
                  </a:lnTo>
                  <a:lnTo>
                    <a:pt x="130" y="836"/>
                  </a:lnTo>
                  <a:lnTo>
                    <a:pt x="132" y="838"/>
                  </a:lnTo>
                  <a:lnTo>
                    <a:pt x="132" y="838"/>
                  </a:lnTo>
                  <a:lnTo>
                    <a:pt x="132" y="838"/>
                  </a:lnTo>
                  <a:lnTo>
                    <a:pt x="136" y="840"/>
                  </a:lnTo>
                  <a:lnTo>
                    <a:pt x="140" y="844"/>
                  </a:lnTo>
                  <a:lnTo>
                    <a:pt x="144" y="846"/>
                  </a:lnTo>
                  <a:lnTo>
                    <a:pt x="148" y="848"/>
                  </a:lnTo>
                  <a:lnTo>
                    <a:pt x="152" y="852"/>
                  </a:lnTo>
                  <a:lnTo>
                    <a:pt x="154" y="856"/>
                  </a:lnTo>
                  <a:lnTo>
                    <a:pt x="158" y="858"/>
                  </a:lnTo>
                  <a:lnTo>
                    <a:pt x="160" y="860"/>
                  </a:lnTo>
                  <a:lnTo>
                    <a:pt x="160" y="860"/>
                  </a:lnTo>
                  <a:lnTo>
                    <a:pt x="162" y="862"/>
                  </a:lnTo>
                  <a:lnTo>
                    <a:pt x="162" y="862"/>
                  </a:lnTo>
                  <a:lnTo>
                    <a:pt x="164" y="864"/>
                  </a:lnTo>
                  <a:lnTo>
                    <a:pt x="164" y="866"/>
                  </a:lnTo>
                  <a:lnTo>
                    <a:pt x="164" y="868"/>
                  </a:lnTo>
                  <a:lnTo>
                    <a:pt x="166" y="872"/>
                  </a:lnTo>
                  <a:lnTo>
                    <a:pt x="168" y="878"/>
                  </a:lnTo>
                  <a:lnTo>
                    <a:pt x="170" y="882"/>
                  </a:lnTo>
                  <a:lnTo>
                    <a:pt x="172" y="886"/>
                  </a:lnTo>
                  <a:lnTo>
                    <a:pt x="172" y="890"/>
                  </a:lnTo>
                  <a:lnTo>
                    <a:pt x="172" y="892"/>
                  </a:lnTo>
                  <a:lnTo>
                    <a:pt x="172" y="898"/>
                  </a:lnTo>
                  <a:lnTo>
                    <a:pt x="172" y="902"/>
                  </a:lnTo>
                  <a:lnTo>
                    <a:pt x="172" y="906"/>
                  </a:lnTo>
                  <a:lnTo>
                    <a:pt x="172" y="906"/>
                  </a:lnTo>
                  <a:lnTo>
                    <a:pt x="172" y="906"/>
                  </a:lnTo>
                  <a:lnTo>
                    <a:pt x="172" y="908"/>
                  </a:lnTo>
                  <a:lnTo>
                    <a:pt x="172" y="910"/>
                  </a:lnTo>
                  <a:lnTo>
                    <a:pt x="172" y="912"/>
                  </a:lnTo>
                  <a:lnTo>
                    <a:pt x="174" y="916"/>
                  </a:lnTo>
                  <a:lnTo>
                    <a:pt x="174" y="918"/>
                  </a:lnTo>
                  <a:lnTo>
                    <a:pt x="174" y="920"/>
                  </a:lnTo>
                  <a:lnTo>
                    <a:pt x="174" y="922"/>
                  </a:lnTo>
                  <a:lnTo>
                    <a:pt x="174" y="922"/>
                  </a:lnTo>
                  <a:lnTo>
                    <a:pt x="174" y="924"/>
                  </a:lnTo>
                  <a:lnTo>
                    <a:pt x="172" y="926"/>
                  </a:lnTo>
                  <a:lnTo>
                    <a:pt x="170" y="928"/>
                  </a:lnTo>
                  <a:lnTo>
                    <a:pt x="170" y="930"/>
                  </a:lnTo>
                  <a:lnTo>
                    <a:pt x="170" y="930"/>
                  </a:lnTo>
                  <a:lnTo>
                    <a:pt x="170" y="930"/>
                  </a:lnTo>
                  <a:lnTo>
                    <a:pt x="168" y="932"/>
                  </a:lnTo>
                  <a:lnTo>
                    <a:pt x="168" y="932"/>
                  </a:lnTo>
                  <a:lnTo>
                    <a:pt x="168" y="934"/>
                  </a:lnTo>
                  <a:lnTo>
                    <a:pt x="168" y="936"/>
                  </a:lnTo>
                  <a:lnTo>
                    <a:pt x="168" y="936"/>
                  </a:lnTo>
                  <a:lnTo>
                    <a:pt x="170" y="936"/>
                  </a:lnTo>
                  <a:lnTo>
                    <a:pt x="170" y="938"/>
                  </a:lnTo>
                  <a:lnTo>
                    <a:pt x="170" y="938"/>
                  </a:lnTo>
                  <a:lnTo>
                    <a:pt x="170" y="938"/>
                  </a:lnTo>
                  <a:lnTo>
                    <a:pt x="172" y="940"/>
                  </a:lnTo>
                  <a:lnTo>
                    <a:pt x="172" y="940"/>
                  </a:lnTo>
                  <a:lnTo>
                    <a:pt x="172" y="940"/>
                  </a:lnTo>
                  <a:lnTo>
                    <a:pt x="174" y="940"/>
                  </a:lnTo>
                  <a:lnTo>
                    <a:pt x="176" y="942"/>
                  </a:lnTo>
                  <a:lnTo>
                    <a:pt x="178" y="942"/>
                  </a:lnTo>
                  <a:lnTo>
                    <a:pt x="182" y="942"/>
                  </a:lnTo>
                  <a:lnTo>
                    <a:pt x="188" y="942"/>
                  </a:lnTo>
                  <a:lnTo>
                    <a:pt x="194" y="942"/>
                  </a:lnTo>
                  <a:lnTo>
                    <a:pt x="200" y="942"/>
                  </a:lnTo>
                  <a:lnTo>
                    <a:pt x="206" y="942"/>
                  </a:lnTo>
                  <a:lnTo>
                    <a:pt x="210" y="942"/>
                  </a:lnTo>
                  <a:lnTo>
                    <a:pt x="212" y="942"/>
                  </a:lnTo>
                  <a:lnTo>
                    <a:pt x="214" y="942"/>
                  </a:lnTo>
                  <a:lnTo>
                    <a:pt x="216" y="942"/>
                  </a:lnTo>
                  <a:lnTo>
                    <a:pt x="216" y="944"/>
                  </a:lnTo>
                  <a:lnTo>
                    <a:pt x="218" y="946"/>
                  </a:lnTo>
                  <a:lnTo>
                    <a:pt x="218" y="946"/>
                  </a:lnTo>
                  <a:lnTo>
                    <a:pt x="218" y="952"/>
                  </a:lnTo>
                  <a:lnTo>
                    <a:pt x="218" y="954"/>
                  </a:lnTo>
                  <a:lnTo>
                    <a:pt x="218" y="954"/>
                  </a:lnTo>
                  <a:lnTo>
                    <a:pt x="220" y="954"/>
                  </a:lnTo>
                  <a:lnTo>
                    <a:pt x="220" y="956"/>
                  </a:lnTo>
                  <a:lnTo>
                    <a:pt x="220" y="956"/>
                  </a:lnTo>
                  <a:lnTo>
                    <a:pt x="220" y="956"/>
                  </a:lnTo>
                  <a:lnTo>
                    <a:pt x="222" y="958"/>
                  </a:lnTo>
                  <a:lnTo>
                    <a:pt x="222" y="958"/>
                  </a:lnTo>
                  <a:lnTo>
                    <a:pt x="222" y="958"/>
                  </a:lnTo>
                  <a:lnTo>
                    <a:pt x="224" y="960"/>
                  </a:lnTo>
                  <a:lnTo>
                    <a:pt x="224" y="960"/>
                  </a:lnTo>
                  <a:lnTo>
                    <a:pt x="224" y="960"/>
                  </a:lnTo>
                  <a:lnTo>
                    <a:pt x="228" y="962"/>
                  </a:lnTo>
                  <a:lnTo>
                    <a:pt x="232" y="964"/>
                  </a:lnTo>
                  <a:lnTo>
                    <a:pt x="232" y="964"/>
                  </a:lnTo>
                  <a:lnTo>
                    <a:pt x="234" y="966"/>
                  </a:lnTo>
                  <a:lnTo>
                    <a:pt x="234" y="966"/>
                  </a:lnTo>
                  <a:lnTo>
                    <a:pt x="234" y="966"/>
                  </a:lnTo>
                  <a:lnTo>
                    <a:pt x="238" y="970"/>
                  </a:lnTo>
                  <a:lnTo>
                    <a:pt x="242" y="974"/>
                  </a:lnTo>
                  <a:lnTo>
                    <a:pt x="248" y="978"/>
                  </a:lnTo>
                  <a:lnTo>
                    <a:pt x="252" y="980"/>
                  </a:lnTo>
                  <a:lnTo>
                    <a:pt x="252" y="980"/>
                  </a:lnTo>
                  <a:lnTo>
                    <a:pt x="252" y="982"/>
                  </a:lnTo>
                  <a:lnTo>
                    <a:pt x="254" y="982"/>
                  </a:lnTo>
                  <a:lnTo>
                    <a:pt x="254" y="982"/>
                  </a:lnTo>
                  <a:lnTo>
                    <a:pt x="256" y="982"/>
                  </a:lnTo>
                  <a:lnTo>
                    <a:pt x="260" y="982"/>
                  </a:lnTo>
                  <a:lnTo>
                    <a:pt x="266" y="984"/>
                  </a:lnTo>
                  <a:lnTo>
                    <a:pt x="268" y="986"/>
                  </a:lnTo>
                  <a:lnTo>
                    <a:pt x="270" y="986"/>
                  </a:lnTo>
                  <a:lnTo>
                    <a:pt x="272" y="988"/>
                  </a:lnTo>
                  <a:lnTo>
                    <a:pt x="272" y="988"/>
                  </a:lnTo>
                  <a:lnTo>
                    <a:pt x="274" y="988"/>
                  </a:lnTo>
                  <a:lnTo>
                    <a:pt x="274" y="990"/>
                  </a:lnTo>
                  <a:lnTo>
                    <a:pt x="274" y="990"/>
                  </a:lnTo>
                  <a:lnTo>
                    <a:pt x="276" y="990"/>
                  </a:lnTo>
                  <a:lnTo>
                    <a:pt x="278" y="990"/>
                  </a:lnTo>
                  <a:lnTo>
                    <a:pt x="278" y="990"/>
                  </a:lnTo>
                  <a:lnTo>
                    <a:pt x="278" y="990"/>
                  </a:lnTo>
                  <a:lnTo>
                    <a:pt x="280" y="990"/>
                  </a:lnTo>
                  <a:lnTo>
                    <a:pt x="280" y="988"/>
                  </a:lnTo>
                  <a:lnTo>
                    <a:pt x="282" y="988"/>
                  </a:lnTo>
                  <a:lnTo>
                    <a:pt x="284" y="988"/>
                  </a:lnTo>
                  <a:lnTo>
                    <a:pt x="286" y="988"/>
                  </a:lnTo>
                  <a:lnTo>
                    <a:pt x="288" y="988"/>
                  </a:lnTo>
                  <a:lnTo>
                    <a:pt x="290" y="990"/>
                  </a:lnTo>
                  <a:lnTo>
                    <a:pt x="296" y="992"/>
                  </a:lnTo>
                  <a:lnTo>
                    <a:pt x="300" y="994"/>
                  </a:lnTo>
                  <a:lnTo>
                    <a:pt x="304" y="996"/>
                  </a:lnTo>
                  <a:lnTo>
                    <a:pt x="306" y="998"/>
                  </a:lnTo>
                  <a:lnTo>
                    <a:pt x="306" y="998"/>
                  </a:lnTo>
                  <a:lnTo>
                    <a:pt x="308" y="1000"/>
                  </a:lnTo>
                  <a:lnTo>
                    <a:pt x="308" y="1004"/>
                  </a:lnTo>
                  <a:lnTo>
                    <a:pt x="308" y="1004"/>
                  </a:lnTo>
                  <a:lnTo>
                    <a:pt x="310" y="1006"/>
                  </a:lnTo>
                  <a:lnTo>
                    <a:pt x="308" y="1008"/>
                  </a:lnTo>
                  <a:lnTo>
                    <a:pt x="308" y="1010"/>
                  </a:lnTo>
                  <a:lnTo>
                    <a:pt x="308" y="1014"/>
                  </a:lnTo>
                  <a:lnTo>
                    <a:pt x="306" y="1018"/>
                  </a:lnTo>
                  <a:lnTo>
                    <a:pt x="304" y="1024"/>
                  </a:lnTo>
                  <a:lnTo>
                    <a:pt x="302" y="1028"/>
                  </a:lnTo>
                  <a:lnTo>
                    <a:pt x="302" y="1030"/>
                  </a:lnTo>
                  <a:lnTo>
                    <a:pt x="298" y="1036"/>
                  </a:lnTo>
                  <a:lnTo>
                    <a:pt x="298" y="1036"/>
                  </a:lnTo>
                  <a:lnTo>
                    <a:pt x="296" y="1040"/>
                  </a:lnTo>
                  <a:lnTo>
                    <a:pt x="292" y="1042"/>
                  </a:lnTo>
                  <a:lnTo>
                    <a:pt x="290" y="1044"/>
                  </a:lnTo>
                  <a:lnTo>
                    <a:pt x="290" y="1044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6" y="1044"/>
                  </a:lnTo>
                  <a:lnTo>
                    <a:pt x="284" y="1042"/>
                  </a:lnTo>
                  <a:lnTo>
                    <a:pt x="284" y="1042"/>
                  </a:lnTo>
                  <a:lnTo>
                    <a:pt x="284" y="1042"/>
                  </a:lnTo>
                  <a:lnTo>
                    <a:pt x="282" y="1042"/>
                  </a:lnTo>
                  <a:lnTo>
                    <a:pt x="282" y="1042"/>
                  </a:lnTo>
                  <a:lnTo>
                    <a:pt x="280" y="1044"/>
                  </a:lnTo>
                  <a:lnTo>
                    <a:pt x="280" y="1044"/>
                  </a:lnTo>
                  <a:lnTo>
                    <a:pt x="280" y="1044"/>
                  </a:lnTo>
                  <a:lnTo>
                    <a:pt x="278" y="1046"/>
                  </a:lnTo>
                  <a:lnTo>
                    <a:pt x="278" y="1046"/>
                  </a:lnTo>
                  <a:lnTo>
                    <a:pt x="278" y="1046"/>
                  </a:lnTo>
                  <a:lnTo>
                    <a:pt x="278" y="1048"/>
                  </a:lnTo>
                  <a:lnTo>
                    <a:pt x="280" y="1050"/>
                  </a:lnTo>
                  <a:lnTo>
                    <a:pt x="284" y="1052"/>
                  </a:lnTo>
                  <a:lnTo>
                    <a:pt x="286" y="1052"/>
                  </a:lnTo>
                  <a:lnTo>
                    <a:pt x="286" y="1054"/>
                  </a:lnTo>
                  <a:lnTo>
                    <a:pt x="288" y="1056"/>
                  </a:lnTo>
                  <a:lnTo>
                    <a:pt x="288" y="1058"/>
                  </a:lnTo>
                  <a:lnTo>
                    <a:pt x="288" y="1058"/>
                  </a:lnTo>
                  <a:lnTo>
                    <a:pt x="288" y="1062"/>
                  </a:lnTo>
                  <a:lnTo>
                    <a:pt x="288" y="1064"/>
                  </a:lnTo>
                  <a:lnTo>
                    <a:pt x="288" y="1066"/>
                  </a:lnTo>
                  <a:lnTo>
                    <a:pt x="288" y="1066"/>
                  </a:lnTo>
                  <a:lnTo>
                    <a:pt x="286" y="1066"/>
                  </a:lnTo>
                  <a:lnTo>
                    <a:pt x="282" y="1066"/>
                  </a:lnTo>
                  <a:lnTo>
                    <a:pt x="282" y="1066"/>
                  </a:lnTo>
                  <a:lnTo>
                    <a:pt x="282" y="1066"/>
                  </a:lnTo>
                  <a:lnTo>
                    <a:pt x="280" y="1068"/>
                  </a:lnTo>
                  <a:lnTo>
                    <a:pt x="280" y="1068"/>
                  </a:lnTo>
                  <a:lnTo>
                    <a:pt x="280" y="1068"/>
                  </a:lnTo>
                  <a:lnTo>
                    <a:pt x="280" y="1070"/>
                  </a:lnTo>
                  <a:lnTo>
                    <a:pt x="280" y="1070"/>
                  </a:lnTo>
                  <a:lnTo>
                    <a:pt x="278" y="1070"/>
                  </a:lnTo>
                  <a:lnTo>
                    <a:pt x="278" y="1072"/>
                  </a:lnTo>
                  <a:lnTo>
                    <a:pt x="278" y="1078"/>
                  </a:lnTo>
                  <a:lnTo>
                    <a:pt x="278" y="1080"/>
                  </a:lnTo>
                  <a:lnTo>
                    <a:pt x="278" y="1082"/>
                  </a:lnTo>
                  <a:lnTo>
                    <a:pt x="278" y="1086"/>
                  </a:lnTo>
                  <a:lnTo>
                    <a:pt x="276" y="1090"/>
                  </a:lnTo>
                  <a:lnTo>
                    <a:pt x="276" y="1092"/>
                  </a:lnTo>
                  <a:lnTo>
                    <a:pt x="276" y="1092"/>
                  </a:lnTo>
                  <a:lnTo>
                    <a:pt x="276" y="1092"/>
                  </a:lnTo>
                  <a:lnTo>
                    <a:pt x="274" y="1092"/>
                  </a:lnTo>
                  <a:lnTo>
                    <a:pt x="272" y="1092"/>
                  </a:lnTo>
                  <a:lnTo>
                    <a:pt x="272" y="1092"/>
                  </a:lnTo>
                  <a:lnTo>
                    <a:pt x="272" y="1092"/>
                  </a:lnTo>
                  <a:lnTo>
                    <a:pt x="270" y="1094"/>
                  </a:lnTo>
                  <a:lnTo>
                    <a:pt x="270" y="1094"/>
                  </a:lnTo>
                  <a:lnTo>
                    <a:pt x="270" y="1094"/>
                  </a:lnTo>
                  <a:lnTo>
                    <a:pt x="268" y="1096"/>
                  </a:lnTo>
                  <a:lnTo>
                    <a:pt x="268" y="1096"/>
                  </a:lnTo>
                  <a:lnTo>
                    <a:pt x="268" y="1096"/>
                  </a:lnTo>
                  <a:lnTo>
                    <a:pt x="266" y="1098"/>
                  </a:lnTo>
                  <a:lnTo>
                    <a:pt x="266" y="1100"/>
                  </a:lnTo>
                  <a:lnTo>
                    <a:pt x="266" y="1102"/>
                  </a:lnTo>
                  <a:lnTo>
                    <a:pt x="266" y="1102"/>
                  </a:lnTo>
                  <a:lnTo>
                    <a:pt x="266" y="1104"/>
                  </a:lnTo>
                  <a:lnTo>
                    <a:pt x="266" y="1104"/>
                  </a:lnTo>
                  <a:lnTo>
                    <a:pt x="274" y="1108"/>
                  </a:lnTo>
                  <a:lnTo>
                    <a:pt x="280" y="1112"/>
                  </a:lnTo>
                  <a:lnTo>
                    <a:pt x="284" y="1116"/>
                  </a:lnTo>
                  <a:lnTo>
                    <a:pt x="286" y="1118"/>
                  </a:lnTo>
                  <a:lnTo>
                    <a:pt x="288" y="1120"/>
                  </a:lnTo>
                  <a:lnTo>
                    <a:pt x="292" y="1124"/>
                  </a:lnTo>
                  <a:lnTo>
                    <a:pt x="292" y="1124"/>
                  </a:lnTo>
                  <a:lnTo>
                    <a:pt x="294" y="1124"/>
                  </a:lnTo>
                  <a:lnTo>
                    <a:pt x="296" y="1126"/>
                  </a:lnTo>
                  <a:lnTo>
                    <a:pt x="298" y="1126"/>
                  </a:lnTo>
                  <a:lnTo>
                    <a:pt x="302" y="1128"/>
                  </a:lnTo>
                  <a:lnTo>
                    <a:pt x="306" y="1132"/>
                  </a:lnTo>
                  <a:lnTo>
                    <a:pt x="310" y="1134"/>
                  </a:lnTo>
                  <a:lnTo>
                    <a:pt x="310" y="1134"/>
                  </a:lnTo>
                  <a:lnTo>
                    <a:pt x="312" y="1134"/>
                  </a:lnTo>
                  <a:lnTo>
                    <a:pt x="318" y="1136"/>
                  </a:lnTo>
                  <a:lnTo>
                    <a:pt x="324" y="1138"/>
                  </a:lnTo>
                  <a:lnTo>
                    <a:pt x="330" y="1140"/>
                  </a:lnTo>
                  <a:lnTo>
                    <a:pt x="332" y="1140"/>
                  </a:lnTo>
                  <a:lnTo>
                    <a:pt x="334" y="1142"/>
                  </a:lnTo>
                  <a:lnTo>
                    <a:pt x="334" y="1142"/>
                  </a:lnTo>
                  <a:lnTo>
                    <a:pt x="336" y="1144"/>
                  </a:lnTo>
                  <a:lnTo>
                    <a:pt x="336" y="1144"/>
                  </a:lnTo>
                  <a:lnTo>
                    <a:pt x="338" y="1144"/>
                  </a:lnTo>
                  <a:lnTo>
                    <a:pt x="340" y="1144"/>
                  </a:lnTo>
                  <a:lnTo>
                    <a:pt x="342" y="1144"/>
                  </a:lnTo>
                  <a:lnTo>
                    <a:pt x="348" y="1146"/>
                  </a:lnTo>
                  <a:lnTo>
                    <a:pt x="350" y="1146"/>
                  </a:lnTo>
                  <a:lnTo>
                    <a:pt x="354" y="1146"/>
                  </a:lnTo>
                  <a:lnTo>
                    <a:pt x="360" y="1146"/>
                  </a:lnTo>
                  <a:lnTo>
                    <a:pt x="364" y="1148"/>
                  </a:lnTo>
                  <a:lnTo>
                    <a:pt x="370" y="1150"/>
                  </a:lnTo>
                  <a:lnTo>
                    <a:pt x="370" y="1150"/>
                  </a:lnTo>
                  <a:lnTo>
                    <a:pt x="374" y="1152"/>
                  </a:lnTo>
                  <a:lnTo>
                    <a:pt x="374" y="1152"/>
                  </a:lnTo>
                  <a:lnTo>
                    <a:pt x="376" y="1152"/>
                  </a:lnTo>
                  <a:lnTo>
                    <a:pt x="380" y="1152"/>
                  </a:lnTo>
                  <a:lnTo>
                    <a:pt x="382" y="1152"/>
                  </a:lnTo>
                  <a:lnTo>
                    <a:pt x="388" y="1154"/>
                  </a:lnTo>
                  <a:lnTo>
                    <a:pt x="390" y="1154"/>
                  </a:lnTo>
                  <a:lnTo>
                    <a:pt x="392" y="1154"/>
                  </a:lnTo>
                  <a:lnTo>
                    <a:pt x="394" y="1156"/>
                  </a:lnTo>
                  <a:lnTo>
                    <a:pt x="396" y="1158"/>
                  </a:lnTo>
                  <a:lnTo>
                    <a:pt x="396" y="1158"/>
                  </a:lnTo>
                  <a:lnTo>
                    <a:pt x="396" y="1158"/>
                  </a:lnTo>
                  <a:lnTo>
                    <a:pt x="398" y="1158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402" y="1162"/>
                  </a:lnTo>
                  <a:lnTo>
                    <a:pt x="404" y="1166"/>
                  </a:lnTo>
                  <a:lnTo>
                    <a:pt x="408" y="1172"/>
                  </a:lnTo>
                  <a:lnTo>
                    <a:pt x="408" y="1172"/>
                  </a:lnTo>
                  <a:lnTo>
                    <a:pt x="408" y="1172"/>
                  </a:lnTo>
                  <a:lnTo>
                    <a:pt x="410" y="1176"/>
                  </a:lnTo>
                  <a:lnTo>
                    <a:pt x="414" y="1178"/>
                  </a:lnTo>
                  <a:lnTo>
                    <a:pt x="416" y="1180"/>
                  </a:lnTo>
                  <a:lnTo>
                    <a:pt x="418" y="1182"/>
                  </a:lnTo>
                  <a:lnTo>
                    <a:pt x="418" y="1182"/>
                  </a:lnTo>
                  <a:lnTo>
                    <a:pt x="418" y="1182"/>
                  </a:lnTo>
                  <a:lnTo>
                    <a:pt x="420" y="1182"/>
                  </a:lnTo>
                  <a:lnTo>
                    <a:pt x="420" y="1182"/>
                  </a:lnTo>
                  <a:lnTo>
                    <a:pt x="420" y="1182"/>
                  </a:lnTo>
                  <a:lnTo>
                    <a:pt x="422" y="1182"/>
                  </a:lnTo>
                  <a:lnTo>
                    <a:pt x="422" y="1182"/>
                  </a:lnTo>
                  <a:lnTo>
                    <a:pt x="424" y="1182"/>
                  </a:lnTo>
                  <a:lnTo>
                    <a:pt x="424" y="1180"/>
                  </a:lnTo>
                  <a:lnTo>
                    <a:pt x="424" y="1180"/>
                  </a:lnTo>
                  <a:lnTo>
                    <a:pt x="426" y="1180"/>
                  </a:lnTo>
                  <a:lnTo>
                    <a:pt x="426" y="1178"/>
                  </a:lnTo>
                  <a:lnTo>
                    <a:pt x="426" y="1178"/>
                  </a:lnTo>
                  <a:lnTo>
                    <a:pt x="426" y="1178"/>
                  </a:lnTo>
                  <a:lnTo>
                    <a:pt x="428" y="1176"/>
                  </a:lnTo>
                  <a:lnTo>
                    <a:pt x="428" y="1176"/>
                  </a:lnTo>
                  <a:lnTo>
                    <a:pt x="428" y="1176"/>
                  </a:lnTo>
                  <a:lnTo>
                    <a:pt x="428" y="1174"/>
                  </a:lnTo>
                  <a:lnTo>
                    <a:pt x="428" y="1170"/>
                  </a:lnTo>
                  <a:lnTo>
                    <a:pt x="428" y="1168"/>
                  </a:lnTo>
                  <a:lnTo>
                    <a:pt x="428" y="1166"/>
                  </a:lnTo>
                  <a:lnTo>
                    <a:pt x="428" y="1166"/>
                  </a:lnTo>
                  <a:lnTo>
                    <a:pt x="428" y="1164"/>
                  </a:lnTo>
                  <a:lnTo>
                    <a:pt x="426" y="1162"/>
                  </a:lnTo>
                  <a:lnTo>
                    <a:pt x="426" y="1162"/>
                  </a:lnTo>
                  <a:lnTo>
                    <a:pt x="424" y="1162"/>
                  </a:lnTo>
                  <a:lnTo>
                    <a:pt x="424" y="1160"/>
                  </a:lnTo>
                  <a:lnTo>
                    <a:pt x="426" y="1158"/>
                  </a:lnTo>
                  <a:lnTo>
                    <a:pt x="426" y="1152"/>
                  </a:lnTo>
                  <a:lnTo>
                    <a:pt x="426" y="1150"/>
                  </a:lnTo>
                  <a:lnTo>
                    <a:pt x="426" y="1150"/>
                  </a:lnTo>
                  <a:lnTo>
                    <a:pt x="426" y="1150"/>
                  </a:lnTo>
                  <a:lnTo>
                    <a:pt x="426" y="1146"/>
                  </a:lnTo>
                  <a:lnTo>
                    <a:pt x="426" y="1146"/>
                  </a:lnTo>
                  <a:lnTo>
                    <a:pt x="426" y="1144"/>
                  </a:lnTo>
                  <a:lnTo>
                    <a:pt x="422" y="1136"/>
                  </a:lnTo>
                  <a:lnTo>
                    <a:pt x="420" y="1128"/>
                  </a:lnTo>
                  <a:lnTo>
                    <a:pt x="418" y="1120"/>
                  </a:lnTo>
                  <a:lnTo>
                    <a:pt x="418" y="1118"/>
                  </a:lnTo>
                  <a:lnTo>
                    <a:pt x="418" y="1114"/>
                  </a:lnTo>
                  <a:lnTo>
                    <a:pt x="420" y="1112"/>
                  </a:lnTo>
                  <a:lnTo>
                    <a:pt x="420" y="1108"/>
                  </a:lnTo>
                  <a:lnTo>
                    <a:pt x="422" y="1106"/>
                  </a:lnTo>
                  <a:lnTo>
                    <a:pt x="422" y="1104"/>
                  </a:lnTo>
                  <a:lnTo>
                    <a:pt x="424" y="1102"/>
                  </a:lnTo>
                  <a:lnTo>
                    <a:pt x="424" y="1102"/>
                  </a:lnTo>
                  <a:lnTo>
                    <a:pt x="424" y="1102"/>
                  </a:lnTo>
                  <a:lnTo>
                    <a:pt x="426" y="1100"/>
                  </a:lnTo>
                  <a:lnTo>
                    <a:pt x="426" y="1100"/>
                  </a:lnTo>
                  <a:lnTo>
                    <a:pt x="426" y="1100"/>
                  </a:lnTo>
                  <a:lnTo>
                    <a:pt x="428" y="1098"/>
                  </a:lnTo>
                  <a:lnTo>
                    <a:pt x="428" y="1098"/>
                  </a:lnTo>
                  <a:lnTo>
                    <a:pt x="428" y="1098"/>
                  </a:lnTo>
                  <a:lnTo>
                    <a:pt x="430" y="1094"/>
                  </a:lnTo>
                  <a:lnTo>
                    <a:pt x="430" y="1092"/>
                  </a:lnTo>
                  <a:lnTo>
                    <a:pt x="430" y="1090"/>
                  </a:lnTo>
                  <a:lnTo>
                    <a:pt x="432" y="1088"/>
                  </a:lnTo>
                  <a:lnTo>
                    <a:pt x="432" y="1088"/>
                  </a:lnTo>
                  <a:lnTo>
                    <a:pt x="432" y="1086"/>
                  </a:lnTo>
                  <a:lnTo>
                    <a:pt x="434" y="1084"/>
                  </a:lnTo>
                  <a:lnTo>
                    <a:pt x="434" y="1084"/>
                  </a:lnTo>
                  <a:lnTo>
                    <a:pt x="436" y="1084"/>
                  </a:lnTo>
                  <a:lnTo>
                    <a:pt x="438" y="1082"/>
                  </a:lnTo>
                  <a:lnTo>
                    <a:pt x="438" y="1082"/>
                  </a:lnTo>
                  <a:lnTo>
                    <a:pt x="438" y="1082"/>
                  </a:lnTo>
                  <a:lnTo>
                    <a:pt x="440" y="1080"/>
                  </a:lnTo>
                  <a:lnTo>
                    <a:pt x="440" y="1080"/>
                  </a:lnTo>
                  <a:lnTo>
                    <a:pt x="440" y="1080"/>
                  </a:lnTo>
                  <a:lnTo>
                    <a:pt x="440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2"/>
                  </a:lnTo>
                  <a:lnTo>
                    <a:pt x="438" y="1066"/>
                  </a:lnTo>
                  <a:lnTo>
                    <a:pt x="438" y="1066"/>
                  </a:lnTo>
                  <a:lnTo>
                    <a:pt x="436" y="1064"/>
                  </a:lnTo>
                  <a:lnTo>
                    <a:pt x="434" y="1064"/>
                  </a:lnTo>
                  <a:lnTo>
                    <a:pt x="432" y="1062"/>
                  </a:lnTo>
                  <a:lnTo>
                    <a:pt x="432" y="1062"/>
                  </a:lnTo>
                  <a:lnTo>
                    <a:pt x="432" y="1062"/>
                  </a:lnTo>
                  <a:lnTo>
                    <a:pt x="430" y="1060"/>
                  </a:lnTo>
                  <a:lnTo>
                    <a:pt x="430" y="1058"/>
                  </a:lnTo>
                  <a:lnTo>
                    <a:pt x="430" y="1056"/>
                  </a:lnTo>
                  <a:lnTo>
                    <a:pt x="430" y="1054"/>
                  </a:lnTo>
                  <a:lnTo>
                    <a:pt x="430" y="1050"/>
                  </a:lnTo>
                  <a:lnTo>
                    <a:pt x="430" y="1050"/>
                  </a:lnTo>
                  <a:lnTo>
                    <a:pt x="428" y="1048"/>
                  </a:lnTo>
                  <a:lnTo>
                    <a:pt x="426" y="1048"/>
                  </a:lnTo>
                  <a:lnTo>
                    <a:pt x="424" y="1048"/>
                  </a:lnTo>
                  <a:lnTo>
                    <a:pt x="422" y="1048"/>
                  </a:lnTo>
                  <a:lnTo>
                    <a:pt x="420" y="1046"/>
                  </a:lnTo>
                  <a:lnTo>
                    <a:pt x="420" y="1046"/>
                  </a:lnTo>
                  <a:lnTo>
                    <a:pt x="420" y="1046"/>
                  </a:lnTo>
                  <a:lnTo>
                    <a:pt x="420" y="1044"/>
                  </a:lnTo>
                  <a:lnTo>
                    <a:pt x="418" y="1042"/>
                  </a:lnTo>
                  <a:lnTo>
                    <a:pt x="418" y="1042"/>
                  </a:lnTo>
                  <a:lnTo>
                    <a:pt x="416" y="1042"/>
                  </a:lnTo>
                  <a:lnTo>
                    <a:pt x="414" y="1040"/>
                  </a:lnTo>
                  <a:lnTo>
                    <a:pt x="410" y="1038"/>
                  </a:lnTo>
                  <a:lnTo>
                    <a:pt x="404" y="1034"/>
                  </a:lnTo>
                  <a:lnTo>
                    <a:pt x="404" y="1034"/>
                  </a:lnTo>
                  <a:lnTo>
                    <a:pt x="404" y="1034"/>
                  </a:lnTo>
                  <a:lnTo>
                    <a:pt x="400" y="1032"/>
                  </a:lnTo>
                  <a:lnTo>
                    <a:pt x="402" y="1032"/>
                  </a:lnTo>
                  <a:lnTo>
                    <a:pt x="400" y="1032"/>
                  </a:lnTo>
                  <a:lnTo>
                    <a:pt x="400" y="1032"/>
                  </a:lnTo>
                  <a:lnTo>
                    <a:pt x="400" y="1032"/>
                  </a:lnTo>
                  <a:lnTo>
                    <a:pt x="400" y="1030"/>
                  </a:lnTo>
                  <a:lnTo>
                    <a:pt x="400" y="1030"/>
                  </a:lnTo>
                  <a:lnTo>
                    <a:pt x="400" y="1028"/>
                  </a:lnTo>
                  <a:lnTo>
                    <a:pt x="400" y="1026"/>
                  </a:lnTo>
                  <a:lnTo>
                    <a:pt x="400" y="1026"/>
                  </a:lnTo>
                  <a:lnTo>
                    <a:pt x="400" y="1024"/>
                  </a:lnTo>
                  <a:lnTo>
                    <a:pt x="402" y="1024"/>
                  </a:lnTo>
                  <a:lnTo>
                    <a:pt x="404" y="1022"/>
                  </a:lnTo>
                  <a:lnTo>
                    <a:pt x="408" y="1020"/>
                  </a:lnTo>
                  <a:lnTo>
                    <a:pt x="408" y="1020"/>
                  </a:lnTo>
                  <a:lnTo>
                    <a:pt x="408" y="1020"/>
                  </a:lnTo>
                  <a:lnTo>
                    <a:pt x="410" y="1018"/>
                  </a:lnTo>
                  <a:lnTo>
                    <a:pt x="410" y="1018"/>
                  </a:lnTo>
                  <a:lnTo>
                    <a:pt x="410" y="1018"/>
                  </a:lnTo>
                  <a:lnTo>
                    <a:pt x="412" y="1018"/>
                  </a:lnTo>
                  <a:lnTo>
                    <a:pt x="412" y="1018"/>
                  </a:lnTo>
                  <a:lnTo>
                    <a:pt x="412" y="1016"/>
                  </a:lnTo>
                  <a:lnTo>
                    <a:pt x="414" y="1014"/>
                  </a:lnTo>
                  <a:lnTo>
                    <a:pt x="414" y="1014"/>
                  </a:lnTo>
                  <a:lnTo>
                    <a:pt x="414" y="1012"/>
                  </a:lnTo>
                  <a:lnTo>
                    <a:pt x="414" y="1010"/>
                  </a:lnTo>
                  <a:lnTo>
                    <a:pt x="414" y="1006"/>
                  </a:lnTo>
                  <a:lnTo>
                    <a:pt x="416" y="1004"/>
                  </a:lnTo>
                  <a:lnTo>
                    <a:pt x="416" y="1002"/>
                  </a:lnTo>
                  <a:lnTo>
                    <a:pt x="416" y="1002"/>
                  </a:lnTo>
                  <a:lnTo>
                    <a:pt x="416" y="1000"/>
                  </a:lnTo>
                  <a:lnTo>
                    <a:pt x="416" y="998"/>
                  </a:lnTo>
                  <a:lnTo>
                    <a:pt x="416" y="994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20" y="992"/>
                  </a:lnTo>
                  <a:lnTo>
                    <a:pt x="422" y="994"/>
                  </a:lnTo>
                  <a:lnTo>
                    <a:pt x="424" y="994"/>
                  </a:lnTo>
                  <a:lnTo>
                    <a:pt x="426" y="996"/>
                  </a:lnTo>
                  <a:lnTo>
                    <a:pt x="426" y="996"/>
                  </a:lnTo>
                  <a:lnTo>
                    <a:pt x="426" y="996"/>
                  </a:lnTo>
                  <a:lnTo>
                    <a:pt x="428" y="996"/>
                  </a:lnTo>
                  <a:lnTo>
                    <a:pt x="428" y="996"/>
                  </a:lnTo>
                  <a:lnTo>
                    <a:pt x="428" y="996"/>
                  </a:lnTo>
                  <a:lnTo>
                    <a:pt x="430" y="996"/>
                  </a:lnTo>
                  <a:lnTo>
                    <a:pt x="430" y="996"/>
                  </a:lnTo>
                  <a:lnTo>
                    <a:pt x="430" y="996"/>
                  </a:lnTo>
                  <a:lnTo>
                    <a:pt x="432" y="996"/>
                  </a:lnTo>
                  <a:lnTo>
                    <a:pt x="432" y="996"/>
                  </a:lnTo>
                  <a:lnTo>
                    <a:pt x="432" y="994"/>
                  </a:lnTo>
                  <a:lnTo>
                    <a:pt x="432" y="994"/>
                  </a:lnTo>
                  <a:lnTo>
                    <a:pt x="432" y="994"/>
                  </a:lnTo>
                  <a:lnTo>
                    <a:pt x="434" y="994"/>
                  </a:lnTo>
                  <a:lnTo>
                    <a:pt x="434" y="992"/>
                  </a:lnTo>
                  <a:lnTo>
                    <a:pt x="434" y="992"/>
                  </a:lnTo>
                  <a:lnTo>
                    <a:pt x="434" y="992"/>
                  </a:lnTo>
                  <a:lnTo>
                    <a:pt x="434" y="990"/>
                  </a:lnTo>
                  <a:lnTo>
                    <a:pt x="434" y="988"/>
                  </a:lnTo>
                  <a:lnTo>
                    <a:pt x="436" y="986"/>
                  </a:lnTo>
                  <a:lnTo>
                    <a:pt x="436" y="984"/>
                  </a:lnTo>
                  <a:lnTo>
                    <a:pt x="438" y="980"/>
                  </a:lnTo>
                  <a:lnTo>
                    <a:pt x="438" y="978"/>
                  </a:lnTo>
                  <a:lnTo>
                    <a:pt x="440" y="978"/>
                  </a:lnTo>
                  <a:lnTo>
                    <a:pt x="442" y="976"/>
                  </a:lnTo>
                  <a:lnTo>
                    <a:pt x="444" y="976"/>
                  </a:lnTo>
                  <a:lnTo>
                    <a:pt x="444" y="976"/>
                  </a:lnTo>
                  <a:lnTo>
                    <a:pt x="444" y="976"/>
                  </a:lnTo>
                  <a:lnTo>
                    <a:pt x="446" y="974"/>
                  </a:lnTo>
                  <a:lnTo>
                    <a:pt x="446" y="974"/>
                  </a:lnTo>
                  <a:lnTo>
                    <a:pt x="446" y="974"/>
                  </a:lnTo>
                  <a:lnTo>
                    <a:pt x="448" y="972"/>
                  </a:lnTo>
                  <a:lnTo>
                    <a:pt x="448" y="972"/>
                  </a:lnTo>
                  <a:lnTo>
                    <a:pt x="448" y="972"/>
                  </a:lnTo>
                  <a:lnTo>
                    <a:pt x="448" y="970"/>
                  </a:lnTo>
                  <a:lnTo>
                    <a:pt x="448" y="970"/>
                  </a:lnTo>
                  <a:lnTo>
                    <a:pt x="448" y="970"/>
                  </a:lnTo>
                  <a:lnTo>
                    <a:pt x="448" y="968"/>
                  </a:lnTo>
                  <a:lnTo>
                    <a:pt x="450" y="968"/>
                  </a:lnTo>
                  <a:lnTo>
                    <a:pt x="454" y="966"/>
                  </a:lnTo>
                  <a:lnTo>
                    <a:pt x="458" y="964"/>
                  </a:lnTo>
                  <a:lnTo>
                    <a:pt x="462" y="960"/>
                  </a:lnTo>
                  <a:lnTo>
                    <a:pt x="464" y="960"/>
                  </a:lnTo>
                  <a:lnTo>
                    <a:pt x="466" y="958"/>
                  </a:lnTo>
                  <a:lnTo>
                    <a:pt x="470" y="956"/>
                  </a:lnTo>
                  <a:lnTo>
                    <a:pt x="476" y="956"/>
                  </a:lnTo>
                  <a:lnTo>
                    <a:pt x="482" y="954"/>
                  </a:lnTo>
                  <a:lnTo>
                    <a:pt x="486" y="954"/>
                  </a:lnTo>
                  <a:lnTo>
                    <a:pt x="490" y="954"/>
                  </a:lnTo>
                  <a:lnTo>
                    <a:pt x="492" y="954"/>
                  </a:lnTo>
                  <a:lnTo>
                    <a:pt x="496" y="956"/>
                  </a:lnTo>
                  <a:lnTo>
                    <a:pt x="502" y="958"/>
                  </a:lnTo>
                  <a:lnTo>
                    <a:pt x="506" y="960"/>
                  </a:lnTo>
                  <a:lnTo>
                    <a:pt x="506" y="960"/>
                  </a:lnTo>
                  <a:lnTo>
                    <a:pt x="506" y="960"/>
                  </a:lnTo>
                  <a:lnTo>
                    <a:pt x="508" y="960"/>
                  </a:lnTo>
                  <a:lnTo>
                    <a:pt x="510" y="962"/>
                  </a:lnTo>
                  <a:lnTo>
                    <a:pt x="510" y="962"/>
                  </a:lnTo>
                  <a:lnTo>
                    <a:pt x="512" y="962"/>
                  </a:lnTo>
                  <a:lnTo>
                    <a:pt x="514" y="966"/>
                  </a:lnTo>
                  <a:lnTo>
                    <a:pt x="516" y="966"/>
                  </a:lnTo>
                  <a:lnTo>
                    <a:pt x="518" y="968"/>
                  </a:lnTo>
                  <a:lnTo>
                    <a:pt x="518" y="968"/>
                  </a:lnTo>
                  <a:lnTo>
                    <a:pt x="518" y="970"/>
                  </a:lnTo>
                  <a:lnTo>
                    <a:pt x="522" y="970"/>
                  </a:lnTo>
                  <a:lnTo>
                    <a:pt x="524" y="972"/>
                  </a:lnTo>
                  <a:lnTo>
                    <a:pt x="530" y="974"/>
                  </a:lnTo>
                  <a:lnTo>
                    <a:pt x="536" y="976"/>
                  </a:lnTo>
                  <a:lnTo>
                    <a:pt x="540" y="978"/>
                  </a:lnTo>
                  <a:lnTo>
                    <a:pt x="544" y="980"/>
                  </a:lnTo>
                  <a:lnTo>
                    <a:pt x="544" y="980"/>
                  </a:lnTo>
                  <a:lnTo>
                    <a:pt x="546" y="978"/>
                  </a:lnTo>
                  <a:lnTo>
                    <a:pt x="548" y="976"/>
                  </a:lnTo>
                  <a:lnTo>
                    <a:pt x="552" y="976"/>
                  </a:lnTo>
                  <a:lnTo>
                    <a:pt x="558" y="974"/>
                  </a:lnTo>
                  <a:lnTo>
                    <a:pt x="560" y="972"/>
                  </a:lnTo>
                  <a:lnTo>
                    <a:pt x="562" y="972"/>
                  </a:lnTo>
                  <a:lnTo>
                    <a:pt x="566" y="970"/>
                  </a:lnTo>
                  <a:lnTo>
                    <a:pt x="570" y="970"/>
                  </a:lnTo>
                  <a:lnTo>
                    <a:pt x="572" y="972"/>
                  </a:lnTo>
                  <a:lnTo>
                    <a:pt x="576" y="972"/>
                  </a:lnTo>
                  <a:lnTo>
                    <a:pt x="580" y="974"/>
                  </a:lnTo>
                  <a:lnTo>
                    <a:pt x="582" y="976"/>
                  </a:lnTo>
                  <a:lnTo>
                    <a:pt x="586" y="976"/>
                  </a:lnTo>
                  <a:lnTo>
                    <a:pt x="590" y="978"/>
                  </a:lnTo>
                  <a:lnTo>
                    <a:pt x="596" y="980"/>
                  </a:lnTo>
                  <a:lnTo>
                    <a:pt x="600" y="982"/>
                  </a:lnTo>
                  <a:lnTo>
                    <a:pt x="600" y="982"/>
                  </a:lnTo>
                  <a:lnTo>
                    <a:pt x="600" y="982"/>
                  </a:lnTo>
                  <a:lnTo>
                    <a:pt x="604" y="982"/>
                  </a:lnTo>
                  <a:lnTo>
                    <a:pt x="606" y="982"/>
                  </a:lnTo>
                  <a:lnTo>
                    <a:pt x="612" y="980"/>
                  </a:lnTo>
                  <a:lnTo>
                    <a:pt x="616" y="980"/>
                  </a:lnTo>
                  <a:lnTo>
                    <a:pt x="618" y="980"/>
                  </a:lnTo>
                  <a:lnTo>
                    <a:pt x="622" y="978"/>
                  </a:lnTo>
                  <a:lnTo>
                    <a:pt x="624" y="978"/>
                  </a:lnTo>
                  <a:lnTo>
                    <a:pt x="624" y="978"/>
                  </a:lnTo>
                  <a:lnTo>
                    <a:pt x="624" y="978"/>
                  </a:lnTo>
                  <a:lnTo>
                    <a:pt x="626" y="976"/>
                  </a:lnTo>
                  <a:lnTo>
                    <a:pt x="626" y="976"/>
                  </a:lnTo>
                  <a:lnTo>
                    <a:pt x="628" y="974"/>
                  </a:lnTo>
                  <a:lnTo>
                    <a:pt x="628" y="972"/>
                  </a:lnTo>
                  <a:lnTo>
                    <a:pt x="628" y="972"/>
                  </a:lnTo>
                  <a:lnTo>
                    <a:pt x="630" y="972"/>
                  </a:lnTo>
                  <a:lnTo>
                    <a:pt x="630" y="968"/>
                  </a:lnTo>
                  <a:lnTo>
                    <a:pt x="630" y="968"/>
                  </a:lnTo>
                  <a:lnTo>
                    <a:pt x="630" y="968"/>
                  </a:lnTo>
                  <a:lnTo>
                    <a:pt x="630" y="966"/>
                  </a:lnTo>
                  <a:lnTo>
                    <a:pt x="630" y="966"/>
                  </a:lnTo>
                  <a:lnTo>
                    <a:pt x="630" y="964"/>
                  </a:lnTo>
                  <a:lnTo>
                    <a:pt x="628" y="964"/>
                  </a:lnTo>
                  <a:lnTo>
                    <a:pt x="628" y="964"/>
                  </a:lnTo>
                  <a:lnTo>
                    <a:pt x="628" y="962"/>
                  </a:lnTo>
                  <a:lnTo>
                    <a:pt x="626" y="960"/>
                  </a:lnTo>
                  <a:lnTo>
                    <a:pt x="624" y="958"/>
                  </a:lnTo>
                  <a:lnTo>
                    <a:pt x="618" y="954"/>
                  </a:lnTo>
                  <a:lnTo>
                    <a:pt x="614" y="950"/>
                  </a:lnTo>
                  <a:lnTo>
                    <a:pt x="612" y="948"/>
                  </a:lnTo>
                  <a:lnTo>
                    <a:pt x="614" y="948"/>
                  </a:lnTo>
                  <a:lnTo>
                    <a:pt x="614" y="948"/>
                  </a:lnTo>
                  <a:lnTo>
                    <a:pt x="614" y="946"/>
                  </a:lnTo>
                  <a:lnTo>
                    <a:pt x="618" y="942"/>
                  </a:lnTo>
                  <a:lnTo>
                    <a:pt x="618" y="942"/>
                  </a:lnTo>
                  <a:lnTo>
                    <a:pt x="618" y="942"/>
                  </a:lnTo>
                  <a:lnTo>
                    <a:pt x="620" y="938"/>
                  </a:lnTo>
                  <a:lnTo>
                    <a:pt x="620" y="938"/>
                  </a:lnTo>
                  <a:lnTo>
                    <a:pt x="622" y="936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622" y="932"/>
                  </a:lnTo>
                  <a:lnTo>
                    <a:pt x="624" y="928"/>
                  </a:lnTo>
                  <a:lnTo>
                    <a:pt x="626" y="924"/>
                  </a:lnTo>
                  <a:lnTo>
                    <a:pt x="628" y="920"/>
                  </a:lnTo>
                  <a:lnTo>
                    <a:pt x="628" y="918"/>
                  </a:lnTo>
                  <a:lnTo>
                    <a:pt x="628" y="914"/>
                  </a:lnTo>
                  <a:lnTo>
                    <a:pt x="628" y="910"/>
                  </a:lnTo>
                  <a:lnTo>
                    <a:pt x="628" y="906"/>
                  </a:lnTo>
                  <a:lnTo>
                    <a:pt x="628" y="902"/>
                  </a:lnTo>
                  <a:lnTo>
                    <a:pt x="630" y="902"/>
                  </a:lnTo>
                  <a:lnTo>
                    <a:pt x="630" y="900"/>
                  </a:lnTo>
                  <a:lnTo>
                    <a:pt x="632" y="900"/>
                  </a:lnTo>
                  <a:lnTo>
                    <a:pt x="634" y="898"/>
                  </a:lnTo>
                  <a:lnTo>
                    <a:pt x="638" y="898"/>
                  </a:lnTo>
                  <a:lnTo>
                    <a:pt x="642" y="898"/>
                  </a:lnTo>
                  <a:lnTo>
                    <a:pt x="646" y="898"/>
                  </a:lnTo>
                  <a:lnTo>
                    <a:pt x="652" y="898"/>
                  </a:lnTo>
                  <a:lnTo>
                    <a:pt x="658" y="896"/>
                  </a:lnTo>
                  <a:lnTo>
                    <a:pt x="660" y="896"/>
                  </a:lnTo>
                  <a:lnTo>
                    <a:pt x="664" y="896"/>
                  </a:lnTo>
                  <a:lnTo>
                    <a:pt x="668" y="894"/>
                  </a:lnTo>
                  <a:lnTo>
                    <a:pt x="672" y="894"/>
                  </a:lnTo>
                  <a:lnTo>
                    <a:pt x="678" y="894"/>
                  </a:lnTo>
                  <a:lnTo>
                    <a:pt x="678" y="894"/>
                  </a:lnTo>
                  <a:lnTo>
                    <a:pt x="678" y="894"/>
                  </a:lnTo>
                  <a:lnTo>
                    <a:pt x="680" y="892"/>
                  </a:lnTo>
                  <a:lnTo>
                    <a:pt x="680" y="892"/>
                  </a:lnTo>
                  <a:lnTo>
                    <a:pt x="682" y="892"/>
                  </a:lnTo>
                  <a:lnTo>
                    <a:pt x="682" y="892"/>
                  </a:lnTo>
                  <a:lnTo>
                    <a:pt x="682" y="892"/>
                  </a:lnTo>
                  <a:lnTo>
                    <a:pt x="684" y="890"/>
                  </a:lnTo>
                  <a:lnTo>
                    <a:pt x="684" y="890"/>
                  </a:lnTo>
                  <a:lnTo>
                    <a:pt x="686" y="888"/>
                  </a:lnTo>
                  <a:lnTo>
                    <a:pt x="688" y="886"/>
                  </a:lnTo>
                  <a:lnTo>
                    <a:pt x="688" y="886"/>
                  </a:lnTo>
                  <a:lnTo>
                    <a:pt x="690" y="886"/>
                  </a:lnTo>
                  <a:lnTo>
                    <a:pt x="690" y="886"/>
                  </a:lnTo>
                  <a:lnTo>
                    <a:pt x="692" y="884"/>
                  </a:lnTo>
                  <a:lnTo>
                    <a:pt x="696" y="884"/>
                  </a:lnTo>
                  <a:lnTo>
                    <a:pt x="698" y="884"/>
                  </a:lnTo>
                  <a:lnTo>
                    <a:pt x="702" y="882"/>
                  </a:lnTo>
                  <a:lnTo>
                    <a:pt x="706" y="882"/>
                  </a:lnTo>
                  <a:lnTo>
                    <a:pt x="712" y="880"/>
                  </a:lnTo>
                  <a:lnTo>
                    <a:pt x="718" y="878"/>
                  </a:lnTo>
                  <a:lnTo>
                    <a:pt x="720" y="880"/>
                  </a:lnTo>
                  <a:lnTo>
                    <a:pt x="722" y="878"/>
                  </a:lnTo>
                  <a:lnTo>
                    <a:pt x="724" y="876"/>
                  </a:lnTo>
                  <a:lnTo>
                    <a:pt x="730" y="874"/>
                  </a:lnTo>
                  <a:lnTo>
                    <a:pt x="734" y="874"/>
                  </a:lnTo>
                  <a:lnTo>
                    <a:pt x="738" y="872"/>
                  </a:lnTo>
                  <a:lnTo>
                    <a:pt x="742" y="870"/>
                  </a:lnTo>
                  <a:lnTo>
                    <a:pt x="744" y="870"/>
                  </a:lnTo>
                  <a:lnTo>
                    <a:pt x="748" y="868"/>
                  </a:lnTo>
                  <a:lnTo>
                    <a:pt x="748" y="868"/>
                  </a:lnTo>
                  <a:lnTo>
                    <a:pt x="750" y="872"/>
                  </a:lnTo>
                  <a:lnTo>
                    <a:pt x="754" y="876"/>
                  </a:lnTo>
                  <a:lnTo>
                    <a:pt x="758" y="880"/>
                  </a:lnTo>
                  <a:lnTo>
                    <a:pt x="762" y="884"/>
                  </a:lnTo>
                  <a:lnTo>
                    <a:pt x="764" y="888"/>
                  </a:lnTo>
                  <a:lnTo>
                    <a:pt x="766" y="890"/>
                  </a:lnTo>
                  <a:lnTo>
                    <a:pt x="766" y="890"/>
                  </a:lnTo>
                  <a:lnTo>
                    <a:pt x="766" y="890"/>
                  </a:lnTo>
                  <a:lnTo>
                    <a:pt x="768" y="890"/>
                  </a:lnTo>
                  <a:lnTo>
                    <a:pt x="768" y="890"/>
                  </a:lnTo>
                  <a:lnTo>
                    <a:pt x="768" y="890"/>
                  </a:lnTo>
                  <a:lnTo>
                    <a:pt x="770" y="890"/>
                  </a:lnTo>
                  <a:lnTo>
                    <a:pt x="770" y="890"/>
                  </a:lnTo>
                  <a:lnTo>
                    <a:pt x="772" y="892"/>
                  </a:lnTo>
                  <a:lnTo>
                    <a:pt x="772" y="892"/>
                  </a:lnTo>
                  <a:lnTo>
                    <a:pt x="772" y="890"/>
                  </a:lnTo>
                  <a:lnTo>
                    <a:pt x="774" y="890"/>
                  </a:lnTo>
                  <a:lnTo>
                    <a:pt x="774" y="890"/>
                  </a:lnTo>
                  <a:lnTo>
                    <a:pt x="776" y="890"/>
                  </a:lnTo>
                  <a:lnTo>
                    <a:pt x="778" y="888"/>
                  </a:lnTo>
                  <a:lnTo>
                    <a:pt x="780" y="886"/>
                  </a:lnTo>
                  <a:lnTo>
                    <a:pt x="782" y="884"/>
                  </a:lnTo>
                  <a:lnTo>
                    <a:pt x="782" y="884"/>
                  </a:lnTo>
                  <a:lnTo>
                    <a:pt x="784" y="884"/>
                  </a:lnTo>
                  <a:lnTo>
                    <a:pt x="784" y="882"/>
                  </a:lnTo>
                  <a:lnTo>
                    <a:pt x="788" y="882"/>
                  </a:lnTo>
                  <a:lnTo>
                    <a:pt x="790" y="884"/>
                  </a:lnTo>
                  <a:lnTo>
                    <a:pt x="794" y="886"/>
                  </a:lnTo>
                  <a:lnTo>
                    <a:pt x="800" y="888"/>
                  </a:lnTo>
                  <a:lnTo>
                    <a:pt x="806" y="890"/>
                  </a:lnTo>
                  <a:lnTo>
                    <a:pt x="810" y="892"/>
                  </a:lnTo>
                  <a:lnTo>
                    <a:pt x="816" y="896"/>
                  </a:lnTo>
                  <a:lnTo>
                    <a:pt x="818" y="898"/>
                  </a:lnTo>
                  <a:lnTo>
                    <a:pt x="822" y="900"/>
                  </a:lnTo>
                  <a:lnTo>
                    <a:pt x="822" y="902"/>
                  </a:lnTo>
                  <a:lnTo>
                    <a:pt x="824" y="902"/>
                  </a:lnTo>
                  <a:lnTo>
                    <a:pt x="824" y="904"/>
                  </a:lnTo>
                  <a:lnTo>
                    <a:pt x="822" y="904"/>
                  </a:lnTo>
                  <a:lnTo>
                    <a:pt x="822" y="906"/>
                  </a:lnTo>
                  <a:lnTo>
                    <a:pt x="822" y="908"/>
                  </a:lnTo>
                  <a:lnTo>
                    <a:pt x="822" y="908"/>
                  </a:lnTo>
                  <a:lnTo>
                    <a:pt x="822" y="908"/>
                  </a:lnTo>
                  <a:lnTo>
                    <a:pt x="822" y="910"/>
                  </a:lnTo>
                  <a:lnTo>
                    <a:pt x="822" y="910"/>
                  </a:lnTo>
                  <a:lnTo>
                    <a:pt x="824" y="912"/>
                  </a:lnTo>
                  <a:lnTo>
                    <a:pt x="824" y="912"/>
                  </a:lnTo>
                  <a:lnTo>
                    <a:pt x="824" y="912"/>
                  </a:lnTo>
                  <a:lnTo>
                    <a:pt x="826" y="912"/>
                  </a:lnTo>
                  <a:lnTo>
                    <a:pt x="828" y="912"/>
                  </a:lnTo>
                  <a:lnTo>
                    <a:pt x="828" y="912"/>
                  </a:lnTo>
                  <a:lnTo>
                    <a:pt x="828" y="912"/>
                  </a:lnTo>
                  <a:lnTo>
                    <a:pt x="830" y="912"/>
                  </a:lnTo>
                  <a:lnTo>
                    <a:pt x="832" y="910"/>
                  </a:lnTo>
                  <a:lnTo>
                    <a:pt x="834" y="908"/>
                  </a:lnTo>
                  <a:lnTo>
                    <a:pt x="838" y="906"/>
                  </a:lnTo>
                  <a:lnTo>
                    <a:pt x="844" y="902"/>
                  </a:lnTo>
                  <a:lnTo>
                    <a:pt x="846" y="900"/>
                  </a:lnTo>
                  <a:lnTo>
                    <a:pt x="850" y="898"/>
                  </a:lnTo>
                  <a:lnTo>
                    <a:pt x="856" y="894"/>
                  </a:lnTo>
                  <a:lnTo>
                    <a:pt x="858" y="894"/>
                  </a:lnTo>
                  <a:lnTo>
                    <a:pt x="862" y="892"/>
                  </a:lnTo>
                  <a:lnTo>
                    <a:pt x="864" y="892"/>
                  </a:lnTo>
                  <a:lnTo>
                    <a:pt x="864" y="892"/>
                  </a:lnTo>
                  <a:lnTo>
                    <a:pt x="866" y="892"/>
                  </a:lnTo>
                  <a:lnTo>
                    <a:pt x="866" y="892"/>
                  </a:lnTo>
                  <a:lnTo>
                    <a:pt x="866" y="894"/>
                  </a:lnTo>
                  <a:lnTo>
                    <a:pt x="866" y="896"/>
                  </a:lnTo>
                  <a:lnTo>
                    <a:pt x="866" y="902"/>
                  </a:lnTo>
                  <a:lnTo>
                    <a:pt x="866" y="902"/>
                  </a:lnTo>
                  <a:lnTo>
                    <a:pt x="866" y="902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70" y="908"/>
                  </a:lnTo>
                  <a:lnTo>
                    <a:pt x="870" y="908"/>
                  </a:lnTo>
                  <a:lnTo>
                    <a:pt x="870" y="908"/>
                  </a:lnTo>
                  <a:lnTo>
                    <a:pt x="872" y="910"/>
                  </a:lnTo>
                  <a:lnTo>
                    <a:pt x="872" y="910"/>
                  </a:lnTo>
                  <a:lnTo>
                    <a:pt x="872" y="910"/>
                  </a:lnTo>
                  <a:lnTo>
                    <a:pt x="874" y="912"/>
                  </a:lnTo>
                  <a:lnTo>
                    <a:pt x="880" y="916"/>
                  </a:lnTo>
                  <a:lnTo>
                    <a:pt x="886" y="918"/>
                  </a:lnTo>
                  <a:lnTo>
                    <a:pt x="888" y="920"/>
                  </a:lnTo>
                  <a:lnTo>
                    <a:pt x="890" y="922"/>
                  </a:lnTo>
                  <a:lnTo>
                    <a:pt x="890" y="922"/>
                  </a:lnTo>
                  <a:lnTo>
                    <a:pt x="894" y="928"/>
                  </a:lnTo>
                  <a:lnTo>
                    <a:pt x="898" y="932"/>
                  </a:lnTo>
                  <a:lnTo>
                    <a:pt x="900" y="938"/>
                  </a:lnTo>
                  <a:lnTo>
                    <a:pt x="902" y="942"/>
                  </a:lnTo>
                  <a:lnTo>
                    <a:pt x="904" y="944"/>
                  </a:lnTo>
                  <a:lnTo>
                    <a:pt x="904" y="948"/>
                  </a:lnTo>
                  <a:lnTo>
                    <a:pt x="904" y="954"/>
                  </a:lnTo>
                  <a:lnTo>
                    <a:pt x="906" y="958"/>
                  </a:lnTo>
                  <a:lnTo>
                    <a:pt x="906" y="960"/>
                  </a:lnTo>
                  <a:lnTo>
                    <a:pt x="906" y="964"/>
                  </a:lnTo>
                  <a:lnTo>
                    <a:pt x="906" y="968"/>
                  </a:lnTo>
                  <a:lnTo>
                    <a:pt x="908" y="970"/>
                  </a:lnTo>
                  <a:lnTo>
                    <a:pt x="908" y="970"/>
                  </a:lnTo>
                  <a:lnTo>
                    <a:pt x="908" y="970"/>
                  </a:lnTo>
                  <a:lnTo>
                    <a:pt x="910" y="972"/>
                  </a:lnTo>
                  <a:lnTo>
                    <a:pt x="910" y="972"/>
                  </a:lnTo>
                  <a:lnTo>
                    <a:pt x="910" y="974"/>
                  </a:lnTo>
                  <a:lnTo>
                    <a:pt x="912" y="976"/>
                  </a:lnTo>
                  <a:lnTo>
                    <a:pt x="912" y="976"/>
                  </a:lnTo>
                  <a:lnTo>
                    <a:pt x="914" y="976"/>
                  </a:lnTo>
                  <a:lnTo>
                    <a:pt x="914" y="976"/>
                  </a:lnTo>
                  <a:lnTo>
                    <a:pt x="914" y="976"/>
                  </a:lnTo>
                  <a:lnTo>
                    <a:pt x="916" y="976"/>
                  </a:lnTo>
                  <a:lnTo>
                    <a:pt x="918" y="974"/>
                  </a:lnTo>
                  <a:lnTo>
                    <a:pt x="920" y="974"/>
                  </a:lnTo>
                  <a:lnTo>
                    <a:pt x="922" y="972"/>
                  </a:lnTo>
                  <a:lnTo>
                    <a:pt x="924" y="970"/>
                  </a:lnTo>
                  <a:lnTo>
                    <a:pt x="926" y="970"/>
                  </a:lnTo>
                  <a:lnTo>
                    <a:pt x="926" y="970"/>
                  </a:lnTo>
                  <a:lnTo>
                    <a:pt x="928" y="970"/>
                  </a:lnTo>
                  <a:lnTo>
                    <a:pt x="930" y="970"/>
                  </a:lnTo>
                  <a:lnTo>
                    <a:pt x="932" y="970"/>
                  </a:lnTo>
                  <a:lnTo>
                    <a:pt x="934" y="970"/>
                  </a:lnTo>
                  <a:lnTo>
                    <a:pt x="938" y="974"/>
                  </a:lnTo>
                  <a:lnTo>
                    <a:pt x="942" y="976"/>
                  </a:lnTo>
                  <a:lnTo>
                    <a:pt x="942" y="976"/>
                  </a:lnTo>
                  <a:lnTo>
                    <a:pt x="942" y="976"/>
                  </a:lnTo>
                  <a:lnTo>
                    <a:pt x="944" y="978"/>
                  </a:lnTo>
                  <a:lnTo>
                    <a:pt x="944" y="978"/>
                  </a:lnTo>
                  <a:lnTo>
                    <a:pt x="946" y="978"/>
                  </a:lnTo>
                  <a:lnTo>
                    <a:pt x="948" y="978"/>
                  </a:lnTo>
                  <a:lnTo>
                    <a:pt x="948" y="978"/>
                  </a:lnTo>
                  <a:lnTo>
                    <a:pt x="948" y="978"/>
                  </a:lnTo>
                  <a:lnTo>
                    <a:pt x="952" y="978"/>
                  </a:lnTo>
                  <a:lnTo>
                    <a:pt x="952" y="978"/>
                  </a:lnTo>
                  <a:lnTo>
                    <a:pt x="956" y="978"/>
                  </a:lnTo>
                  <a:lnTo>
                    <a:pt x="958" y="976"/>
                  </a:lnTo>
                  <a:lnTo>
                    <a:pt x="962" y="976"/>
                  </a:lnTo>
                  <a:lnTo>
                    <a:pt x="964" y="974"/>
                  </a:lnTo>
                  <a:lnTo>
                    <a:pt x="966" y="974"/>
                  </a:lnTo>
                  <a:lnTo>
                    <a:pt x="970" y="974"/>
                  </a:lnTo>
                  <a:lnTo>
                    <a:pt x="972" y="974"/>
                  </a:lnTo>
                  <a:lnTo>
                    <a:pt x="974" y="976"/>
                  </a:lnTo>
                  <a:lnTo>
                    <a:pt x="976" y="978"/>
                  </a:lnTo>
                  <a:lnTo>
                    <a:pt x="980" y="982"/>
                  </a:lnTo>
                  <a:lnTo>
                    <a:pt x="982" y="986"/>
                  </a:lnTo>
                  <a:lnTo>
                    <a:pt x="986" y="990"/>
                  </a:lnTo>
                  <a:lnTo>
                    <a:pt x="990" y="994"/>
                  </a:lnTo>
                  <a:lnTo>
                    <a:pt x="992" y="996"/>
                  </a:lnTo>
                  <a:lnTo>
                    <a:pt x="996" y="998"/>
                  </a:lnTo>
                  <a:lnTo>
                    <a:pt x="998" y="1000"/>
                  </a:lnTo>
                  <a:lnTo>
                    <a:pt x="1000" y="1002"/>
                  </a:lnTo>
                  <a:lnTo>
                    <a:pt x="1002" y="1002"/>
                  </a:lnTo>
                  <a:lnTo>
                    <a:pt x="1002" y="1002"/>
                  </a:lnTo>
                  <a:lnTo>
                    <a:pt x="1002" y="1002"/>
                  </a:lnTo>
                  <a:lnTo>
                    <a:pt x="1004" y="1004"/>
                  </a:lnTo>
                  <a:lnTo>
                    <a:pt x="1006" y="1004"/>
                  </a:lnTo>
                  <a:lnTo>
                    <a:pt x="1008" y="1004"/>
                  </a:lnTo>
                  <a:lnTo>
                    <a:pt x="1012" y="1004"/>
                  </a:lnTo>
                  <a:lnTo>
                    <a:pt x="1014" y="1004"/>
                  </a:lnTo>
                  <a:lnTo>
                    <a:pt x="1018" y="1004"/>
                  </a:lnTo>
                  <a:lnTo>
                    <a:pt x="1024" y="1006"/>
                  </a:lnTo>
                  <a:lnTo>
                    <a:pt x="1028" y="1006"/>
                  </a:lnTo>
                  <a:lnTo>
                    <a:pt x="1034" y="1008"/>
                  </a:lnTo>
                  <a:lnTo>
                    <a:pt x="1040" y="1008"/>
                  </a:lnTo>
                  <a:lnTo>
                    <a:pt x="1044" y="1008"/>
                  </a:lnTo>
                  <a:lnTo>
                    <a:pt x="1050" y="1008"/>
                  </a:lnTo>
                  <a:lnTo>
                    <a:pt x="1050" y="1008"/>
                  </a:lnTo>
                  <a:lnTo>
                    <a:pt x="1052" y="1008"/>
                  </a:lnTo>
                  <a:lnTo>
                    <a:pt x="1052" y="1008"/>
                  </a:lnTo>
                  <a:lnTo>
                    <a:pt x="1052" y="1008"/>
                  </a:lnTo>
                  <a:lnTo>
                    <a:pt x="1054" y="1008"/>
                  </a:lnTo>
                  <a:lnTo>
                    <a:pt x="1054" y="1008"/>
                  </a:lnTo>
                  <a:lnTo>
                    <a:pt x="1054" y="1008"/>
                  </a:lnTo>
                  <a:lnTo>
                    <a:pt x="1054" y="1006"/>
                  </a:lnTo>
                  <a:lnTo>
                    <a:pt x="1054" y="1006"/>
                  </a:lnTo>
                  <a:lnTo>
                    <a:pt x="1056" y="1004"/>
                  </a:lnTo>
                  <a:lnTo>
                    <a:pt x="1056" y="1004"/>
                  </a:lnTo>
                  <a:lnTo>
                    <a:pt x="1056" y="1004"/>
                  </a:lnTo>
                  <a:lnTo>
                    <a:pt x="1054" y="1002"/>
                  </a:lnTo>
                  <a:lnTo>
                    <a:pt x="1054" y="1000"/>
                  </a:lnTo>
                  <a:lnTo>
                    <a:pt x="1052" y="998"/>
                  </a:lnTo>
                  <a:lnTo>
                    <a:pt x="1052" y="998"/>
                  </a:lnTo>
                  <a:lnTo>
                    <a:pt x="1052" y="998"/>
                  </a:lnTo>
                  <a:lnTo>
                    <a:pt x="1054" y="998"/>
                  </a:lnTo>
                  <a:lnTo>
                    <a:pt x="1058" y="998"/>
                  </a:lnTo>
                  <a:lnTo>
                    <a:pt x="1058" y="998"/>
                  </a:lnTo>
                  <a:lnTo>
                    <a:pt x="1060" y="998"/>
                  </a:lnTo>
                  <a:lnTo>
                    <a:pt x="1062" y="998"/>
                  </a:lnTo>
                  <a:lnTo>
                    <a:pt x="1064" y="998"/>
                  </a:lnTo>
                  <a:lnTo>
                    <a:pt x="1064" y="998"/>
                  </a:lnTo>
                  <a:lnTo>
                    <a:pt x="1064" y="998"/>
                  </a:lnTo>
                  <a:lnTo>
                    <a:pt x="1068" y="998"/>
                  </a:lnTo>
                  <a:lnTo>
                    <a:pt x="1068" y="998"/>
                  </a:lnTo>
                  <a:lnTo>
                    <a:pt x="1068" y="996"/>
                  </a:lnTo>
                  <a:lnTo>
                    <a:pt x="1070" y="996"/>
                  </a:lnTo>
                  <a:lnTo>
                    <a:pt x="1074" y="992"/>
                  </a:lnTo>
                  <a:lnTo>
                    <a:pt x="1076" y="990"/>
                  </a:lnTo>
                  <a:lnTo>
                    <a:pt x="1082" y="986"/>
                  </a:lnTo>
                  <a:lnTo>
                    <a:pt x="1084" y="984"/>
                  </a:lnTo>
                  <a:lnTo>
                    <a:pt x="1086" y="984"/>
                  </a:lnTo>
                  <a:lnTo>
                    <a:pt x="1092" y="982"/>
                  </a:lnTo>
                  <a:lnTo>
                    <a:pt x="1096" y="980"/>
                  </a:lnTo>
                  <a:lnTo>
                    <a:pt x="1102" y="978"/>
                  </a:lnTo>
                  <a:lnTo>
                    <a:pt x="1100" y="978"/>
                  </a:lnTo>
                  <a:lnTo>
                    <a:pt x="1102" y="978"/>
                  </a:lnTo>
                  <a:lnTo>
                    <a:pt x="1106" y="978"/>
                  </a:lnTo>
                  <a:lnTo>
                    <a:pt x="1108" y="978"/>
                  </a:lnTo>
                  <a:lnTo>
                    <a:pt x="1110" y="980"/>
                  </a:lnTo>
                  <a:lnTo>
                    <a:pt x="1118" y="982"/>
                  </a:lnTo>
                  <a:lnTo>
                    <a:pt x="1124" y="984"/>
                  </a:lnTo>
                  <a:lnTo>
                    <a:pt x="1128" y="986"/>
                  </a:lnTo>
                  <a:lnTo>
                    <a:pt x="1130" y="986"/>
                  </a:lnTo>
                  <a:lnTo>
                    <a:pt x="1132" y="988"/>
                  </a:lnTo>
                  <a:lnTo>
                    <a:pt x="1134" y="990"/>
                  </a:lnTo>
                  <a:lnTo>
                    <a:pt x="1138" y="994"/>
                  </a:lnTo>
                  <a:lnTo>
                    <a:pt x="1140" y="996"/>
                  </a:lnTo>
                  <a:lnTo>
                    <a:pt x="1142" y="998"/>
                  </a:lnTo>
                  <a:lnTo>
                    <a:pt x="1142" y="998"/>
                  </a:lnTo>
                  <a:lnTo>
                    <a:pt x="1142" y="998"/>
                  </a:lnTo>
                  <a:lnTo>
                    <a:pt x="1146" y="1000"/>
                  </a:lnTo>
                  <a:lnTo>
                    <a:pt x="1146" y="1000"/>
                  </a:lnTo>
                  <a:lnTo>
                    <a:pt x="1146" y="1000"/>
                  </a:lnTo>
                  <a:lnTo>
                    <a:pt x="1150" y="1002"/>
                  </a:lnTo>
                  <a:lnTo>
                    <a:pt x="1152" y="1002"/>
                  </a:lnTo>
                  <a:lnTo>
                    <a:pt x="1158" y="1002"/>
                  </a:lnTo>
                  <a:lnTo>
                    <a:pt x="1162" y="1004"/>
                  </a:lnTo>
                  <a:lnTo>
                    <a:pt x="1168" y="1004"/>
                  </a:lnTo>
                  <a:lnTo>
                    <a:pt x="1174" y="1002"/>
                  </a:lnTo>
                  <a:lnTo>
                    <a:pt x="1178" y="1002"/>
                  </a:lnTo>
                  <a:lnTo>
                    <a:pt x="1178" y="1002"/>
                  </a:lnTo>
                  <a:lnTo>
                    <a:pt x="1178" y="1002"/>
                  </a:lnTo>
                  <a:lnTo>
                    <a:pt x="1184" y="1000"/>
                  </a:lnTo>
                  <a:lnTo>
                    <a:pt x="1184" y="1000"/>
                  </a:lnTo>
                  <a:lnTo>
                    <a:pt x="1184" y="1000"/>
                  </a:lnTo>
                  <a:lnTo>
                    <a:pt x="1188" y="998"/>
                  </a:lnTo>
                  <a:lnTo>
                    <a:pt x="1188" y="998"/>
                  </a:lnTo>
                  <a:lnTo>
                    <a:pt x="1188" y="998"/>
                  </a:lnTo>
                  <a:lnTo>
                    <a:pt x="1190" y="996"/>
                  </a:lnTo>
                  <a:lnTo>
                    <a:pt x="1190" y="996"/>
                  </a:lnTo>
                  <a:lnTo>
                    <a:pt x="1190" y="996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2"/>
                  </a:lnTo>
                  <a:lnTo>
                    <a:pt x="1192" y="990"/>
                  </a:lnTo>
                  <a:lnTo>
                    <a:pt x="1192" y="988"/>
                  </a:lnTo>
                  <a:lnTo>
                    <a:pt x="1192" y="982"/>
                  </a:lnTo>
                  <a:lnTo>
                    <a:pt x="1192" y="974"/>
                  </a:lnTo>
                  <a:lnTo>
                    <a:pt x="1194" y="968"/>
                  </a:lnTo>
                  <a:lnTo>
                    <a:pt x="1194" y="962"/>
                  </a:lnTo>
                  <a:lnTo>
                    <a:pt x="1194" y="960"/>
                  </a:lnTo>
                  <a:lnTo>
                    <a:pt x="1194" y="958"/>
                  </a:lnTo>
                  <a:lnTo>
                    <a:pt x="1196" y="956"/>
                  </a:lnTo>
                  <a:lnTo>
                    <a:pt x="1196" y="956"/>
                  </a:lnTo>
                  <a:lnTo>
                    <a:pt x="1200" y="954"/>
                  </a:lnTo>
                  <a:lnTo>
                    <a:pt x="1202" y="954"/>
                  </a:lnTo>
                  <a:lnTo>
                    <a:pt x="1208" y="954"/>
                  </a:lnTo>
                  <a:lnTo>
                    <a:pt x="1212" y="954"/>
                  </a:lnTo>
                  <a:lnTo>
                    <a:pt x="1218" y="954"/>
                  </a:lnTo>
                  <a:lnTo>
                    <a:pt x="1222" y="956"/>
                  </a:lnTo>
                  <a:lnTo>
                    <a:pt x="1228" y="956"/>
                  </a:lnTo>
                  <a:lnTo>
                    <a:pt x="1230" y="958"/>
                  </a:lnTo>
                  <a:lnTo>
                    <a:pt x="1234" y="958"/>
                  </a:lnTo>
                  <a:lnTo>
                    <a:pt x="1236" y="958"/>
                  </a:lnTo>
                  <a:lnTo>
                    <a:pt x="1242" y="960"/>
                  </a:lnTo>
                  <a:lnTo>
                    <a:pt x="1242" y="960"/>
                  </a:lnTo>
                  <a:lnTo>
                    <a:pt x="1246" y="962"/>
                  </a:lnTo>
                  <a:lnTo>
                    <a:pt x="1248" y="966"/>
                  </a:lnTo>
                  <a:lnTo>
                    <a:pt x="1250" y="968"/>
                  </a:lnTo>
                  <a:lnTo>
                    <a:pt x="1250" y="970"/>
                  </a:lnTo>
                  <a:lnTo>
                    <a:pt x="1252" y="972"/>
                  </a:lnTo>
                  <a:lnTo>
                    <a:pt x="1254" y="976"/>
                  </a:lnTo>
                  <a:lnTo>
                    <a:pt x="1254" y="980"/>
                  </a:lnTo>
                  <a:lnTo>
                    <a:pt x="1254" y="980"/>
                  </a:lnTo>
                  <a:lnTo>
                    <a:pt x="1256" y="980"/>
                  </a:lnTo>
                  <a:lnTo>
                    <a:pt x="1258" y="984"/>
                  </a:lnTo>
                  <a:lnTo>
                    <a:pt x="1258" y="984"/>
                  </a:lnTo>
                  <a:lnTo>
                    <a:pt x="1258" y="984"/>
                  </a:lnTo>
                  <a:lnTo>
                    <a:pt x="1260" y="986"/>
                  </a:lnTo>
                  <a:lnTo>
                    <a:pt x="1260" y="986"/>
                  </a:lnTo>
                  <a:lnTo>
                    <a:pt x="1260" y="988"/>
                  </a:lnTo>
                  <a:lnTo>
                    <a:pt x="1264" y="990"/>
                  </a:lnTo>
                  <a:lnTo>
                    <a:pt x="1264" y="990"/>
                  </a:lnTo>
                  <a:lnTo>
                    <a:pt x="1266" y="990"/>
                  </a:lnTo>
                  <a:lnTo>
                    <a:pt x="1270" y="990"/>
                  </a:lnTo>
                  <a:lnTo>
                    <a:pt x="1270" y="990"/>
                  </a:lnTo>
                  <a:lnTo>
                    <a:pt x="1270" y="990"/>
                  </a:lnTo>
                  <a:lnTo>
                    <a:pt x="1276" y="990"/>
                  </a:lnTo>
                  <a:lnTo>
                    <a:pt x="1284" y="990"/>
                  </a:lnTo>
                  <a:lnTo>
                    <a:pt x="1290" y="990"/>
                  </a:lnTo>
                  <a:lnTo>
                    <a:pt x="1298" y="988"/>
                  </a:lnTo>
                  <a:lnTo>
                    <a:pt x="1304" y="988"/>
                  </a:lnTo>
                  <a:lnTo>
                    <a:pt x="1310" y="988"/>
                  </a:lnTo>
                  <a:lnTo>
                    <a:pt x="1310" y="988"/>
                  </a:lnTo>
                  <a:lnTo>
                    <a:pt x="1316" y="990"/>
                  </a:lnTo>
                  <a:lnTo>
                    <a:pt x="1320" y="992"/>
                  </a:lnTo>
                  <a:lnTo>
                    <a:pt x="1322" y="994"/>
                  </a:lnTo>
                  <a:lnTo>
                    <a:pt x="1324" y="996"/>
                  </a:lnTo>
                  <a:lnTo>
                    <a:pt x="1328" y="1000"/>
                  </a:lnTo>
                  <a:lnTo>
                    <a:pt x="1330" y="1004"/>
                  </a:lnTo>
                  <a:lnTo>
                    <a:pt x="1332" y="1008"/>
                  </a:lnTo>
                  <a:lnTo>
                    <a:pt x="1332" y="1008"/>
                  </a:lnTo>
                  <a:lnTo>
                    <a:pt x="1332" y="1008"/>
                  </a:lnTo>
                  <a:lnTo>
                    <a:pt x="1336" y="1010"/>
                  </a:lnTo>
                  <a:lnTo>
                    <a:pt x="1336" y="1010"/>
                  </a:lnTo>
                  <a:lnTo>
                    <a:pt x="1336" y="1012"/>
                  </a:lnTo>
                  <a:lnTo>
                    <a:pt x="1340" y="1014"/>
                  </a:lnTo>
                  <a:lnTo>
                    <a:pt x="1340" y="1014"/>
                  </a:lnTo>
                  <a:lnTo>
                    <a:pt x="1340" y="1014"/>
                  </a:lnTo>
                  <a:lnTo>
                    <a:pt x="1346" y="1014"/>
                  </a:lnTo>
                  <a:lnTo>
                    <a:pt x="1352" y="1016"/>
                  </a:lnTo>
                  <a:lnTo>
                    <a:pt x="1358" y="1016"/>
                  </a:lnTo>
                  <a:lnTo>
                    <a:pt x="1364" y="1016"/>
                  </a:lnTo>
                  <a:lnTo>
                    <a:pt x="1378" y="1016"/>
                  </a:lnTo>
                  <a:lnTo>
                    <a:pt x="1384" y="1014"/>
                  </a:lnTo>
                  <a:lnTo>
                    <a:pt x="1390" y="1014"/>
                  </a:lnTo>
                  <a:lnTo>
                    <a:pt x="1398" y="1012"/>
                  </a:lnTo>
                  <a:lnTo>
                    <a:pt x="1404" y="1008"/>
                  </a:lnTo>
                  <a:lnTo>
                    <a:pt x="1412" y="1006"/>
                  </a:lnTo>
                  <a:lnTo>
                    <a:pt x="1418" y="1002"/>
                  </a:lnTo>
                  <a:lnTo>
                    <a:pt x="1426" y="998"/>
                  </a:lnTo>
                  <a:lnTo>
                    <a:pt x="1432" y="996"/>
                  </a:lnTo>
                  <a:lnTo>
                    <a:pt x="1438" y="994"/>
                  </a:lnTo>
                  <a:lnTo>
                    <a:pt x="1442" y="992"/>
                  </a:lnTo>
                  <a:lnTo>
                    <a:pt x="1442" y="992"/>
                  </a:lnTo>
                  <a:lnTo>
                    <a:pt x="1446" y="992"/>
                  </a:lnTo>
                  <a:lnTo>
                    <a:pt x="1448" y="992"/>
                  </a:lnTo>
                  <a:lnTo>
                    <a:pt x="1450" y="992"/>
                  </a:lnTo>
                  <a:lnTo>
                    <a:pt x="1450" y="994"/>
                  </a:lnTo>
                  <a:lnTo>
                    <a:pt x="1452" y="996"/>
                  </a:lnTo>
                  <a:lnTo>
                    <a:pt x="1454" y="996"/>
                  </a:lnTo>
                  <a:lnTo>
                    <a:pt x="1454" y="996"/>
                  </a:lnTo>
                  <a:lnTo>
                    <a:pt x="1454" y="996"/>
                  </a:lnTo>
                  <a:lnTo>
                    <a:pt x="1456" y="998"/>
                  </a:lnTo>
                  <a:lnTo>
                    <a:pt x="1456" y="998"/>
                  </a:lnTo>
                  <a:lnTo>
                    <a:pt x="1458" y="998"/>
                  </a:lnTo>
                  <a:lnTo>
                    <a:pt x="1460" y="998"/>
                  </a:lnTo>
                  <a:lnTo>
                    <a:pt x="1464" y="998"/>
                  </a:lnTo>
                  <a:lnTo>
                    <a:pt x="1468" y="1000"/>
                  </a:lnTo>
                  <a:lnTo>
                    <a:pt x="1478" y="1000"/>
                  </a:lnTo>
                  <a:lnTo>
                    <a:pt x="1488" y="1000"/>
                  </a:lnTo>
                  <a:lnTo>
                    <a:pt x="1492" y="998"/>
                  </a:lnTo>
                  <a:lnTo>
                    <a:pt x="1496" y="998"/>
                  </a:lnTo>
                  <a:lnTo>
                    <a:pt x="1498" y="998"/>
                  </a:lnTo>
                  <a:lnTo>
                    <a:pt x="1500" y="998"/>
                  </a:lnTo>
                  <a:lnTo>
                    <a:pt x="1502" y="996"/>
                  </a:lnTo>
                  <a:lnTo>
                    <a:pt x="1504" y="996"/>
                  </a:lnTo>
                  <a:lnTo>
                    <a:pt x="1504" y="996"/>
                  </a:lnTo>
                  <a:lnTo>
                    <a:pt x="1504" y="996"/>
                  </a:lnTo>
                  <a:lnTo>
                    <a:pt x="1506" y="994"/>
                  </a:lnTo>
                  <a:lnTo>
                    <a:pt x="1506" y="994"/>
                  </a:lnTo>
                  <a:lnTo>
                    <a:pt x="1506" y="994"/>
                  </a:lnTo>
                  <a:lnTo>
                    <a:pt x="1508" y="992"/>
                  </a:lnTo>
                  <a:lnTo>
                    <a:pt x="1510" y="990"/>
                  </a:lnTo>
                  <a:lnTo>
                    <a:pt x="1512" y="988"/>
                  </a:lnTo>
                  <a:lnTo>
                    <a:pt x="1514" y="984"/>
                  </a:lnTo>
                  <a:lnTo>
                    <a:pt x="1516" y="980"/>
                  </a:lnTo>
                  <a:lnTo>
                    <a:pt x="1518" y="974"/>
                  </a:lnTo>
                  <a:lnTo>
                    <a:pt x="1522" y="970"/>
                  </a:lnTo>
                  <a:lnTo>
                    <a:pt x="1524" y="964"/>
                  </a:lnTo>
                  <a:lnTo>
                    <a:pt x="1526" y="958"/>
                  </a:lnTo>
                  <a:lnTo>
                    <a:pt x="1528" y="952"/>
                  </a:lnTo>
                  <a:lnTo>
                    <a:pt x="1530" y="946"/>
                  </a:lnTo>
                  <a:lnTo>
                    <a:pt x="1530" y="946"/>
                  </a:lnTo>
                  <a:lnTo>
                    <a:pt x="1530" y="946"/>
                  </a:lnTo>
                  <a:lnTo>
                    <a:pt x="1530" y="940"/>
                  </a:lnTo>
                  <a:lnTo>
                    <a:pt x="1530" y="940"/>
                  </a:lnTo>
                  <a:lnTo>
                    <a:pt x="1528" y="934"/>
                  </a:lnTo>
                  <a:lnTo>
                    <a:pt x="1528" y="930"/>
                  </a:lnTo>
                  <a:lnTo>
                    <a:pt x="1526" y="924"/>
                  </a:lnTo>
                  <a:lnTo>
                    <a:pt x="1524" y="920"/>
                  </a:lnTo>
                  <a:lnTo>
                    <a:pt x="1522" y="916"/>
                  </a:lnTo>
                  <a:lnTo>
                    <a:pt x="1522" y="916"/>
                  </a:lnTo>
                  <a:lnTo>
                    <a:pt x="1522" y="912"/>
                  </a:lnTo>
                  <a:lnTo>
                    <a:pt x="1522" y="912"/>
                  </a:lnTo>
                  <a:lnTo>
                    <a:pt x="1522" y="912"/>
                  </a:lnTo>
                  <a:lnTo>
                    <a:pt x="1524" y="912"/>
                  </a:lnTo>
                  <a:lnTo>
                    <a:pt x="1526" y="910"/>
                  </a:lnTo>
                  <a:lnTo>
                    <a:pt x="1528" y="908"/>
                  </a:lnTo>
                  <a:lnTo>
                    <a:pt x="1528" y="908"/>
                  </a:lnTo>
                  <a:lnTo>
                    <a:pt x="1532" y="906"/>
                  </a:lnTo>
                  <a:lnTo>
                    <a:pt x="1536" y="904"/>
                  </a:lnTo>
                  <a:lnTo>
                    <a:pt x="1542" y="904"/>
                  </a:lnTo>
                  <a:lnTo>
                    <a:pt x="1548" y="904"/>
                  </a:lnTo>
                  <a:lnTo>
                    <a:pt x="1558" y="902"/>
                  </a:lnTo>
                  <a:lnTo>
                    <a:pt x="1564" y="902"/>
                  </a:lnTo>
                  <a:lnTo>
                    <a:pt x="1570" y="902"/>
                  </a:lnTo>
                  <a:lnTo>
                    <a:pt x="1576" y="902"/>
                  </a:lnTo>
                  <a:lnTo>
                    <a:pt x="1582" y="902"/>
                  </a:lnTo>
                  <a:lnTo>
                    <a:pt x="1588" y="904"/>
                  </a:lnTo>
                  <a:lnTo>
                    <a:pt x="1594" y="904"/>
                  </a:lnTo>
                  <a:lnTo>
                    <a:pt x="1598" y="906"/>
                  </a:lnTo>
                  <a:lnTo>
                    <a:pt x="1602" y="908"/>
                  </a:lnTo>
                  <a:lnTo>
                    <a:pt x="1606" y="910"/>
                  </a:lnTo>
                  <a:lnTo>
                    <a:pt x="1604" y="910"/>
                  </a:lnTo>
                  <a:lnTo>
                    <a:pt x="1608" y="914"/>
                  </a:lnTo>
                  <a:lnTo>
                    <a:pt x="1608" y="918"/>
                  </a:lnTo>
                  <a:lnTo>
                    <a:pt x="1610" y="922"/>
                  </a:lnTo>
                  <a:lnTo>
                    <a:pt x="1610" y="928"/>
                  </a:lnTo>
                  <a:lnTo>
                    <a:pt x="1612" y="932"/>
                  </a:lnTo>
                  <a:lnTo>
                    <a:pt x="1612" y="936"/>
                  </a:lnTo>
                  <a:lnTo>
                    <a:pt x="1614" y="940"/>
                  </a:lnTo>
                  <a:lnTo>
                    <a:pt x="1614" y="940"/>
                  </a:lnTo>
                  <a:lnTo>
                    <a:pt x="1614" y="940"/>
                  </a:lnTo>
                  <a:lnTo>
                    <a:pt x="1616" y="944"/>
                  </a:lnTo>
                  <a:lnTo>
                    <a:pt x="1618" y="946"/>
                  </a:lnTo>
                  <a:lnTo>
                    <a:pt x="1618" y="946"/>
                  </a:lnTo>
                  <a:lnTo>
                    <a:pt x="1618" y="946"/>
                  </a:lnTo>
                  <a:lnTo>
                    <a:pt x="1620" y="950"/>
                  </a:lnTo>
                  <a:lnTo>
                    <a:pt x="1622" y="950"/>
                  </a:lnTo>
                  <a:lnTo>
                    <a:pt x="1624" y="952"/>
                  </a:lnTo>
                  <a:lnTo>
                    <a:pt x="1626" y="954"/>
                  </a:lnTo>
                  <a:lnTo>
                    <a:pt x="1626" y="954"/>
                  </a:lnTo>
                  <a:lnTo>
                    <a:pt x="1626" y="956"/>
                  </a:lnTo>
                  <a:lnTo>
                    <a:pt x="1628" y="958"/>
                  </a:lnTo>
                  <a:lnTo>
                    <a:pt x="1628" y="958"/>
                  </a:lnTo>
                  <a:lnTo>
                    <a:pt x="1630" y="962"/>
                  </a:lnTo>
                  <a:lnTo>
                    <a:pt x="1630" y="966"/>
                  </a:lnTo>
                  <a:lnTo>
                    <a:pt x="1632" y="972"/>
                  </a:lnTo>
                  <a:lnTo>
                    <a:pt x="1632" y="978"/>
                  </a:lnTo>
                  <a:lnTo>
                    <a:pt x="1634" y="984"/>
                  </a:lnTo>
                  <a:lnTo>
                    <a:pt x="1634" y="988"/>
                  </a:lnTo>
                  <a:lnTo>
                    <a:pt x="1636" y="994"/>
                  </a:lnTo>
                  <a:lnTo>
                    <a:pt x="1638" y="996"/>
                  </a:lnTo>
                  <a:lnTo>
                    <a:pt x="1638" y="996"/>
                  </a:lnTo>
                  <a:lnTo>
                    <a:pt x="1638" y="998"/>
                  </a:lnTo>
                  <a:lnTo>
                    <a:pt x="1640" y="1000"/>
                  </a:lnTo>
                  <a:lnTo>
                    <a:pt x="1640" y="1000"/>
                  </a:lnTo>
                  <a:lnTo>
                    <a:pt x="1640" y="1000"/>
                  </a:lnTo>
                  <a:lnTo>
                    <a:pt x="1642" y="1002"/>
                  </a:lnTo>
                  <a:lnTo>
                    <a:pt x="1642" y="1002"/>
                  </a:lnTo>
                  <a:lnTo>
                    <a:pt x="1642" y="1004"/>
                  </a:lnTo>
                  <a:lnTo>
                    <a:pt x="1646" y="1006"/>
                  </a:lnTo>
                  <a:lnTo>
                    <a:pt x="1648" y="1006"/>
                  </a:lnTo>
                  <a:lnTo>
                    <a:pt x="1650" y="1008"/>
                  </a:lnTo>
                  <a:lnTo>
                    <a:pt x="1654" y="1010"/>
                  </a:lnTo>
                  <a:lnTo>
                    <a:pt x="1656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60" y="1010"/>
                  </a:lnTo>
                  <a:lnTo>
                    <a:pt x="1660" y="1010"/>
                  </a:lnTo>
                  <a:lnTo>
                    <a:pt x="1660" y="1010"/>
                  </a:lnTo>
                  <a:lnTo>
                    <a:pt x="1662" y="1008"/>
                  </a:lnTo>
                  <a:lnTo>
                    <a:pt x="1662" y="1010"/>
                  </a:lnTo>
                  <a:lnTo>
                    <a:pt x="1666" y="1012"/>
                  </a:lnTo>
                  <a:lnTo>
                    <a:pt x="1668" y="1014"/>
                  </a:lnTo>
                  <a:lnTo>
                    <a:pt x="1674" y="1018"/>
                  </a:lnTo>
                  <a:lnTo>
                    <a:pt x="1676" y="1022"/>
                  </a:lnTo>
                  <a:lnTo>
                    <a:pt x="1678" y="1024"/>
                  </a:lnTo>
                  <a:lnTo>
                    <a:pt x="1678" y="1024"/>
                  </a:lnTo>
                  <a:lnTo>
                    <a:pt x="1678" y="1026"/>
                  </a:lnTo>
                  <a:lnTo>
                    <a:pt x="1680" y="1030"/>
                  </a:lnTo>
                  <a:lnTo>
                    <a:pt x="1682" y="1036"/>
                  </a:lnTo>
                  <a:lnTo>
                    <a:pt x="1682" y="1040"/>
                  </a:lnTo>
                  <a:lnTo>
                    <a:pt x="1684" y="1044"/>
                  </a:lnTo>
                  <a:lnTo>
                    <a:pt x="1684" y="1046"/>
                  </a:lnTo>
                  <a:lnTo>
                    <a:pt x="1684" y="1046"/>
                  </a:lnTo>
                  <a:lnTo>
                    <a:pt x="1686" y="1046"/>
                  </a:lnTo>
                  <a:lnTo>
                    <a:pt x="1686" y="1048"/>
                  </a:lnTo>
                  <a:lnTo>
                    <a:pt x="1686" y="1048"/>
                  </a:lnTo>
                  <a:lnTo>
                    <a:pt x="1688" y="1048"/>
                  </a:lnTo>
                  <a:lnTo>
                    <a:pt x="1690" y="1050"/>
                  </a:lnTo>
                  <a:lnTo>
                    <a:pt x="1690" y="1050"/>
                  </a:lnTo>
                  <a:lnTo>
                    <a:pt x="1690" y="1050"/>
                  </a:lnTo>
                  <a:lnTo>
                    <a:pt x="1692" y="1050"/>
                  </a:lnTo>
                  <a:lnTo>
                    <a:pt x="1692" y="1050"/>
                  </a:lnTo>
                  <a:lnTo>
                    <a:pt x="1692" y="1050"/>
                  </a:lnTo>
                  <a:lnTo>
                    <a:pt x="1694" y="1050"/>
                  </a:lnTo>
                  <a:lnTo>
                    <a:pt x="1696" y="1050"/>
                  </a:lnTo>
                  <a:lnTo>
                    <a:pt x="1696" y="1050"/>
                  </a:lnTo>
                  <a:lnTo>
                    <a:pt x="1698" y="1050"/>
                  </a:lnTo>
                  <a:lnTo>
                    <a:pt x="1702" y="1048"/>
                  </a:lnTo>
                  <a:lnTo>
                    <a:pt x="1708" y="1046"/>
                  </a:lnTo>
                  <a:lnTo>
                    <a:pt x="1710" y="1044"/>
                  </a:lnTo>
                  <a:lnTo>
                    <a:pt x="1712" y="1044"/>
                  </a:lnTo>
                  <a:lnTo>
                    <a:pt x="1718" y="1040"/>
                  </a:lnTo>
                  <a:lnTo>
                    <a:pt x="1722" y="1036"/>
                  </a:lnTo>
                  <a:lnTo>
                    <a:pt x="1728" y="1032"/>
                  </a:lnTo>
                  <a:lnTo>
                    <a:pt x="1734" y="1028"/>
                  </a:lnTo>
                  <a:lnTo>
                    <a:pt x="1736" y="1026"/>
                  </a:lnTo>
                  <a:lnTo>
                    <a:pt x="1738" y="1026"/>
                  </a:lnTo>
                  <a:lnTo>
                    <a:pt x="1740" y="1024"/>
                  </a:lnTo>
                  <a:lnTo>
                    <a:pt x="1740" y="1026"/>
                  </a:lnTo>
                  <a:lnTo>
                    <a:pt x="1740" y="1028"/>
                  </a:lnTo>
                  <a:lnTo>
                    <a:pt x="1738" y="1032"/>
                  </a:lnTo>
                  <a:lnTo>
                    <a:pt x="1738" y="1036"/>
                  </a:lnTo>
                  <a:lnTo>
                    <a:pt x="1736" y="1040"/>
                  </a:lnTo>
                  <a:lnTo>
                    <a:pt x="1736" y="1044"/>
                  </a:lnTo>
                  <a:lnTo>
                    <a:pt x="1732" y="1056"/>
                  </a:lnTo>
                  <a:lnTo>
                    <a:pt x="1728" y="1066"/>
                  </a:lnTo>
                  <a:lnTo>
                    <a:pt x="1726" y="1070"/>
                  </a:lnTo>
                  <a:lnTo>
                    <a:pt x="1724" y="1076"/>
                  </a:lnTo>
                  <a:lnTo>
                    <a:pt x="1722" y="1080"/>
                  </a:lnTo>
                  <a:lnTo>
                    <a:pt x="1720" y="1084"/>
                  </a:lnTo>
                  <a:lnTo>
                    <a:pt x="1720" y="1088"/>
                  </a:lnTo>
                  <a:lnTo>
                    <a:pt x="1718" y="1090"/>
                  </a:lnTo>
                  <a:lnTo>
                    <a:pt x="1716" y="1092"/>
                  </a:lnTo>
                  <a:lnTo>
                    <a:pt x="1716" y="1092"/>
                  </a:lnTo>
                  <a:lnTo>
                    <a:pt x="1716" y="1092"/>
                  </a:lnTo>
                  <a:lnTo>
                    <a:pt x="1714" y="1092"/>
                  </a:lnTo>
                  <a:lnTo>
                    <a:pt x="1712" y="1094"/>
                  </a:lnTo>
                  <a:lnTo>
                    <a:pt x="1708" y="1092"/>
                  </a:lnTo>
                  <a:lnTo>
                    <a:pt x="1708" y="1092"/>
                  </a:lnTo>
                  <a:lnTo>
                    <a:pt x="1704" y="1092"/>
                  </a:lnTo>
                  <a:lnTo>
                    <a:pt x="1700" y="1090"/>
                  </a:lnTo>
                  <a:lnTo>
                    <a:pt x="1696" y="1090"/>
                  </a:lnTo>
                  <a:lnTo>
                    <a:pt x="1694" y="1090"/>
                  </a:lnTo>
                  <a:lnTo>
                    <a:pt x="1694" y="1090"/>
                  </a:lnTo>
                  <a:lnTo>
                    <a:pt x="1694" y="1090"/>
                  </a:lnTo>
                  <a:lnTo>
                    <a:pt x="1692" y="1090"/>
                  </a:lnTo>
                  <a:lnTo>
                    <a:pt x="1692" y="1090"/>
                  </a:lnTo>
                  <a:lnTo>
                    <a:pt x="1690" y="1090"/>
                  </a:lnTo>
                  <a:lnTo>
                    <a:pt x="1690" y="1092"/>
                  </a:lnTo>
                  <a:lnTo>
                    <a:pt x="1690" y="1092"/>
                  </a:lnTo>
                  <a:lnTo>
                    <a:pt x="1688" y="1092"/>
                  </a:lnTo>
                  <a:lnTo>
                    <a:pt x="1688" y="1094"/>
                  </a:lnTo>
                  <a:lnTo>
                    <a:pt x="1688" y="1094"/>
                  </a:lnTo>
                  <a:lnTo>
                    <a:pt x="1688" y="1094"/>
                  </a:lnTo>
                  <a:lnTo>
                    <a:pt x="1686" y="1096"/>
                  </a:lnTo>
                  <a:lnTo>
                    <a:pt x="1686" y="1100"/>
                  </a:lnTo>
                  <a:lnTo>
                    <a:pt x="1684" y="1102"/>
                  </a:lnTo>
                  <a:lnTo>
                    <a:pt x="1684" y="1106"/>
                  </a:lnTo>
                  <a:lnTo>
                    <a:pt x="1684" y="1112"/>
                  </a:lnTo>
                  <a:lnTo>
                    <a:pt x="1682" y="1120"/>
                  </a:lnTo>
                  <a:lnTo>
                    <a:pt x="1682" y="1128"/>
                  </a:lnTo>
                  <a:lnTo>
                    <a:pt x="1684" y="1134"/>
                  </a:lnTo>
                  <a:lnTo>
                    <a:pt x="1684" y="1138"/>
                  </a:lnTo>
                  <a:lnTo>
                    <a:pt x="1684" y="1140"/>
                  </a:lnTo>
                  <a:lnTo>
                    <a:pt x="1686" y="1142"/>
                  </a:lnTo>
                  <a:lnTo>
                    <a:pt x="1686" y="1142"/>
                  </a:lnTo>
                  <a:lnTo>
                    <a:pt x="1686" y="1144"/>
                  </a:lnTo>
                  <a:lnTo>
                    <a:pt x="1686" y="1144"/>
                  </a:lnTo>
                  <a:lnTo>
                    <a:pt x="1686" y="1144"/>
                  </a:lnTo>
                  <a:lnTo>
                    <a:pt x="1686" y="1146"/>
                  </a:lnTo>
                  <a:lnTo>
                    <a:pt x="1690" y="1148"/>
                  </a:lnTo>
                  <a:lnTo>
                    <a:pt x="1690" y="1148"/>
                  </a:lnTo>
                  <a:lnTo>
                    <a:pt x="1690" y="1148"/>
                  </a:lnTo>
                  <a:lnTo>
                    <a:pt x="1694" y="1150"/>
                  </a:lnTo>
                  <a:lnTo>
                    <a:pt x="1694" y="1150"/>
                  </a:lnTo>
                  <a:lnTo>
                    <a:pt x="1696" y="1150"/>
                  </a:lnTo>
                  <a:lnTo>
                    <a:pt x="1700" y="1152"/>
                  </a:lnTo>
                  <a:lnTo>
                    <a:pt x="1700" y="1152"/>
                  </a:lnTo>
                  <a:lnTo>
                    <a:pt x="1706" y="1152"/>
                  </a:lnTo>
                  <a:lnTo>
                    <a:pt x="1712" y="1152"/>
                  </a:lnTo>
                  <a:lnTo>
                    <a:pt x="1718" y="1152"/>
                  </a:lnTo>
                  <a:lnTo>
                    <a:pt x="1724" y="1150"/>
                  </a:lnTo>
                  <a:lnTo>
                    <a:pt x="1730" y="1148"/>
                  </a:lnTo>
                  <a:lnTo>
                    <a:pt x="1736" y="1146"/>
                  </a:lnTo>
                  <a:lnTo>
                    <a:pt x="1740" y="1142"/>
                  </a:lnTo>
                  <a:lnTo>
                    <a:pt x="1746" y="1138"/>
                  </a:lnTo>
                  <a:lnTo>
                    <a:pt x="1750" y="1134"/>
                  </a:lnTo>
                  <a:lnTo>
                    <a:pt x="1756" y="1130"/>
                  </a:lnTo>
                  <a:lnTo>
                    <a:pt x="1760" y="1124"/>
                  </a:lnTo>
                  <a:lnTo>
                    <a:pt x="1766" y="1116"/>
                  </a:lnTo>
                  <a:lnTo>
                    <a:pt x="1772" y="1110"/>
                  </a:lnTo>
                  <a:lnTo>
                    <a:pt x="1774" y="1104"/>
                  </a:lnTo>
                  <a:lnTo>
                    <a:pt x="1778" y="1100"/>
                  </a:lnTo>
                  <a:lnTo>
                    <a:pt x="1782" y="1094"/>
                  </a:lnTo>
                  <a:lnTo>
                    <a:pt x="1786" y="1088"/>
                  </a:lnTo>
                  <a:lnTo>
                    <a:pt x="1794" y="1074"/>
                  </a:lnTo>
                  <a:lnTo>
                    <a:pt x="1804" y="1060"/>
                  </a:lnTo>
                  <a:lnTo>
                    <a:pt x="1812" y="1048"/>
                  </a:lnTo>
                  <a:lnTo>
                    <a:pt x="1820" y="1034"/>
                  </a:lnTo>
                  <a:lnTo>
                    <a:pt x="1824" y="1028"/>
                  </a:lnTo>
                  <a:lnTo>
                    <a:pt x="1826" y="1022"/>
                  </a:lnTo>
                  <a:lnTo>
                    <a:pt x="1830" y="1016"/>
                  </a:lnTo>
                  <a:lnTo>
                    <a:pt x="1832" y="1012"/>
                  </a:lnTo>
                  <a:lnTo>
                    <a:pt x="1834" y="1008"/>
                  </a:lnTo>
                  <a:lnTo>
                    <a:pt x="1834" y="1004"/>
                  </a:lnTo>
                  <a:lnTo>
                    <a:pt x="1836" y="1000"/>
                  </a:lnTo>
                  <a:lnTo>
                    <a:pt x="1836" y="996"/>
                  </a:lnTo>
                  <a:lnTo>
                    <a:pt x="1836" y="992"/>
                  </a:lnTo>
                  <a:lnTo>
                    <a:pt x="1836" y="986"/>
                  </a:lnTo>
                  <a:lnTo>
                    <a:pt x="1834" y="984"/>
                  </a:lnTo>
                  <a:lnTo>
                    <a:pt x="1832" y="980"/>
                  </a:lnTo>
                  <a:lnTo>
                    <a:pt x="1832" y="976"/>
                  </a:lnTo>
                  <a:lnTo>
                    <a:pt x="1832" y="976"/>
                  </a:lnTo>
                  <a:lnTo>
                    <a:pt x="1832" y="972"/>
                  </a:lnTo>
                  <a:lnTo>
                    <a:pt x="1832" y="968"/>
                  </a:lnTo>
                  <a:lnTo>
                    <a:pt x="1834" y="962"/>
                  </a:lnTo>
                  <a:lnTo>
                    <a:pt x="1836" y="952"/>
                  </a:lnTo>
                  <a:lnTo>
                    <a:pt x="1838" y="946"/>
                  </a:lnTo>
                  <a:lnTo>
                    <a:pt x="1840" y="940"/>
                  </a:lnTo>
                  <a:lnTo>
                    <a:pt x="1840" y="936"/>
                  </a:lnTo>
                  <a:lnTo>
                    <a:pt x="1840" y="930"/>
                  </a:lnTo>
                  <a:lnTo>
                    <a:pt x="1842" y="926"/>
                  </a:lnTo>
                  <a:lnTo>
                    <a:pt x="1842" y="924"/>
                  </a:lnTo>
                  <a:lnTo>
                    <a:pt x="1840" y="920"/>
                  </a:lnTo>
                  <a:lnTo>
                    <a:pt x="1840" y="918"/>
                  </a:lnTo>
                  <a:lnTo>
                    <a:pt x="1840" y="918"/>
                  </a:lnTo>
                  <a:lnTo>
                    <a:pt x="1840" y="918"/>
                  </a:lnTo>
                  <a:lnTo>
                    <a:pt x="1838" y="912"/>
                  </a:lnTo>
                  <a:lnTo>
                    <a:pt x="1836" y="908"/>
                  </a:lnTo>
                  <a:lnTo>
                    <a:pt x="1834" y="904"/>
                  </a:lnTo>
                  <a:lnTo>
                    <a:pt x="1832" y="902"/>
                  </a:lnTo>
                  <a:lnTo>
                    <a:pt x="1826" y="896"/>
                  </a:lnTo>
                  <a:lnTo>
                    <a:pt x="1822" y="892"/>
                  </a:lnTo>
                  <a:lnTo>
                    <a:pt x="1818" y="890"/>
                  </a:lnTo>
                  <a:lnTo>
                    <a:pt x="1816" y="888"/>
                  </a:lnTo>
                  <a:lnTo>
                    <a:pt x="1814" y="888"/>
                  </a:lnTo>
                  <a:lnTo>
                    <a:pt x="1814" y="888"/>
                  </a:lnTo>
                  <a:lnTo>
                    <a:pt x="1814" y="886"/>
                  </a:lnTo>
                  <a:lnTo>
                    <a:pt x="1812" y="886"/>
                  </a:lnTo>
                  <a:lnTo>
                    <a:pt x="1812" y="886"/>
                  </a:lnTo>
                  <a:lnTo>
                    <a:pt x="1812" y="886"/>
                  </a:lnTo>
                  <a:lnTo>
                    <a:pt x="1808" y="886"/>
                  </a:lnTo>
                  <a:lnTo>
                    <a:pt x="1808" y="886"/>
                  </a:lnTo>
                  <a:lnTo>
                    <a:pt x="1806" y="886"/>
                  </a:lnTo>
                  <a:lnTo>
                    <a:pt x="1804" y="888"/>
                  </a:lnTo>
                  <a:lnTo>
                    <a:pt x="1804" y="888"/>
                  </a:lnTo>
                  <a:lnTo>
                    <a:pt x="1802" y="888"/>
                  </a:lnTo>
                  <a:lnTo>
                    <a:pt x="1802" y="888"/>
                  </a:lnTo>
                  <a:lnTo>
                    <a:pt x="1802" y="888"/>
                  </a:lnTo>
                  <a:lnTo>
                    <a:pt x="1800" y="888"/>
                  </a:lnTo>
                  <a:lnTo>
                    <a:pt x="1800" y="890"/>
                  </a:lnTo>
                  <a:lnTo>
                    <a:pt x="1800" y="890"/>
                  </a:lnTo>
                  <a:lnTo>
                    <a:pt x="1800" y="890"/>
                  </a:lnTo>
                  <a:lnTo>
                    <a:pt x="1798" y="892"/>
                  </a:lnTo>
                  <a:lnTo>
                    <a:pt x="1798" y="892"/>
                  </a:lnTo>
                  <a:lnTo>
                    <a:pt x="1798" y="894"/>
                  </a:lnTo>
                  <a:lnTo>
                    <a:pt x="1798" y="896"/>
                  </a:lnTo>
                  <a:lnTo>
                    <a:pt x="1798" y="898"/>
                  </a:lnTo>
                  <a:lnTo>
                    <a:pt x="1800" y="902"/>
                  </a:lnTo>
                  <a:lnTo>
                    <a:pt x="1800" y="904"/>
                  </a:lnTo>
                  <a:lnTo>
                    <a:pt x="1800" y="906"/>
                  </a:lnTo>
                  <a:lnTo>
                    <a:pt x="1800" y="908"/>
                  </a:lnTo>
                  <a:lnTo>
                    <a:pt x="1798" y="908"/>
                  </a:lnTo>
                  <a:lnTo>
                    <a:pt x="1798" y="908"/>
                  </a:lnTo>
                  <a:lnTo>
                    <a:pt x="1796" y="908"/>
                  </a:lnTo>
                  <a:lnTo>
                    <a:pt x="1794" y="908"/>
                  </a:lnTo>
                  <a:lnTo>
                    <a:pt x="1792" y="906"/>
                  </a:lnTo>
                  <a:lnTo>
                    <a:pt x="1792" y="906"/>
                  </a:lnTo>
                  <a:lnTo>
                    <a:pt x="1792" y="904"/>
                  </a:lnTo>
                  <a:lnTo>
                    <a:pt x="1792" y="904"/>
                  </a:lnTo>
                  <a:lnTo>
                    <a:pt x="1792" y="904"/>
                  </a:lnTo>
                  <a:lnTo>
                    <a:pt x="1792" y="900"/>
                  </a:lnTo>
                  <a:lnTo>
                    <a:pt x="1794" y="894"/>
                  </a:lnTo>
                  <a:lnTo>
                    <a:pt x="1796" y="890"/>
                  </a:lnTo>
                  <a:lnTo>
                    <a:pt x="1798" y="884"/>
                  </a:lnTo>
                  <a:lnTo>
                    <a:pt x="1798" y="880"/>
                  </a:lnTo>
                  <a:lnTo>
                    <a:pt x="1800" y="876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800" y="872"/>
                  </a:lnTo>
                  <a:lnTo>
                    <a:pt x="1800" y="872"/>
                  </a:lnTo>
                  <a:lnTo>
                    <a:pt x="1798" y="870"/>
                  </a:lnTo>
                  <a:lnTo>
                    <a:pt x="1798" y="870"/>
                  </a:lnTo>
                  <a:lnTo>
                    <a:pt x="1798" y="870"/>
                  </a:lnTo>
                  <a:lnTo>
                    <a:pt x="1796" y="870"/>
                  </a:lnTo>
                  <a:lnTo>
                    <a:pt x="1794" y="870"/>
                  </a:lnTo>
                  <a:lnTo>
                    <a:pt x="1794" y="870"/>
                  </a:lnTo>
                  <a:lnTo>
                    <a:pt x="1794" y="870"/>
                  </a:lnTo>
                  <a:lnTo>
                    <a:pt x="1792" y="872"/>
                  </a:lnTo>
                  <a:lnTo>
                    <a:pt x="1790" y="872"/>
                  </a:lnTo>
                  <a:lnTo>
                    <a:pt x="1786" y="876"/>
                  </a:lnTo>
                  <a:lnTo>
                    <a:pt x="1782" y="878"/>
                  </a:lnTo>
                  <a:lnTo>
                    <a:pt x="1780" y="878"/>
                  </a:lnTo>
                  <a:lnTo>
                    <a:pt x="1778" y="880"/>
                  </a:lnTo>
                  <a:lnTo>
                    <a:pt x="1772" y="880"/>
                  </a:lnTo>
                  <a:lnTo>
                    <a:pt x="1768" y="880"/>
                  </a:lnTo>
                  <a:lnTo>
                    <a:pt x="1764" y="880"/>
                  </a:lnTo>
                  <a:lnTo>
                    <a:pt x="1758" y="880"/>
                  </a:lnTo>
                  <a:lnTo>
                    <a:pt x="1754" y="880"/>
                  </a:lnTo>
                  <a:lnTo>
                    <a:pt x="1752" y="880"/>
                  </a:lnTo>
                  <a:lnTo>
                    <a:pt x="1750" y="880"/>
                  </a:lnTo>
                  <a:lnTo>
                    <a:pt x="1748" y="880"/>
                  </a:lnTo>
                  <a:lnTo>
                    <a:pt x="1748" y="878"/>
                  </a:lnTo>
                  <a:lnTo>
                    <a:pt x="1750" y="878"/>
                  </a:lnTo>
                  <a:lnTo>
                    <a:pt x="1750" y="876"/>
                  </a:lnTo>
                  <a:lnTo>
                    <a:pt x="1754" y="872"/>
                  </a:lnTo>
                  <a:lnTo>
                    <a:pt x="1754" y="872"/>
                  </a:lnTo>
                  <a:lnTo>
                    <a:pt x="1758" y="868"/>
                  </a:lnTo>
                  <a:lnTo>
                    <a:pt x="1760" y="866"/>
                  </a:lnTo>
                  <a:lnTo>
                    <a:pt x="1762" y="864"/>
                  </a:lnTo>
                  <a:lnTo>
                    <a:pt x="1770" y="860"/>
                  </a:lnTo>
                  <a:lnTo>
                    <a:pt x="1772" y="858"/>
                  </a:lnTo>
                  <a:lnTo>
                    <a:pt x="1776" y="854"/>
                  </a:lnTo>
                  <a:lnTo>
                    <a:pt x="1780" y="850"/>
                  </a:lnTo>
                  <a:lnTo>
                    <a:pt x="1786" y="846"/>
                  </a:lnTo>
                  <a:lnTo>
                    <a:pt x="1790" y="842"/>
                  </a:lnTo>
                  <a:lnTo>
                    <a:pt x="1794" y="838"/>
                  </a:lnTo>
                  <a:lnTo>
                    <a:pt x="1796" y="836"/>
                  </a:lnTo>
                  <a:lnTo>
                    <a:pt x="1796" y="836"/>
                  </a:lnTo>
                  <a:lnTo>
                    <a:pt x="1796" y="836"/>
                  </a:lnTo>
                  <a:lnTo>
                    <a:pt x="1798" y="834"/>
                  </a:lnTo>
                  <a:lnTo>
                    <a:pt x="1798" y="834"/>
                  </a:lnTo>
                  <a:lnTo>
                    <a:pt x="1798" y="834"/>
                  </a:lnTo>
                  <a:lnTo>
                    <a:pt x="1798" y="830"/>
                  </a:lnTo>
                  <a:lnTo>
                    <a:pt x="1800" y="826"/>
                  </a:lnTo>
                  <a:lnTo>
                    <a:pt x="1800" y="828"/>
                  </a:lnTo>
                  <a:lnTo>
                    <a:pt x="1800" y="826"/>
                  </a:lnTo>
                  <a:lnTo>
                    <a:pt x="1802" y="824"/>
                  </a:lnTo>
                  <a:lnTo>
                    <a:pt x="1802" y="824"/>
                  </a:lnTo>
                  <a:lnTo>
                    <a:pt x="1804" y="822"/>
                  </a:lnTo>
                  <a:lnTo>
                    <a:pt x="1808" y="820"/>
                  </a:lnTo>
                  <a:lnTo>
                    <a:pt x="1812" y="818"/>
                  </a:lnTo>
                  <a:lnTo>
                    <a:pt x="1814" y="816"/>
                  </a:lnTo>
                  <a:lnTo>
                    <a:pt x="1816" y="816"/>
                  </a:lnTo>
                  <a:lnTo>
                    <a:pt x="1818" y="814"/>
                  </a:lnTo>
                  <a:lnTo>
                    <a:pt x="1818" y="812"/>
                  </a:lnTo>
                  <a:lnTo>
                    <a:pt x="1818" y="812"/>
                  </a:lnTo>
                  <a:lnTo>
                    <a:pt x="1818" y="812"/>
                  </a:lnTo>
                  <a:lnTo>
                    <a:pt x="1820" y="810"/>
                  </a:lnTo>
                  <a:lnTo>
                    <a:pt x="1822" y="808"/>
                  </a:lnTo>
                  <a:lnTo>
                    <a:pt x="1822" y="806"/>
                  </a:lnTo>
                  <a:lnTo>
                    <a:pt x="1824" y="804"/>
                  </a:lnTo>
                  <a:lnTo>
                    <a:pt x="1828" y="800"/>
                  </a:lnTo>
                  <a:lnTo>
                    <a:pt x="1828" y="800"/>
                  </a:lnTo>
                  <a:lnTo>
                    <a:pt x="1830" y="800"/>
                  </a:lnTo>
                  <a:lnTo>
                    <a:pt x="1832" y="796"/>
                  </a:lnTo>
                  <a:lnTo>
                    <a:pt x="1832" y="796"/>
                  </a:lnTo>
                  <a:lnTo>
                    <a:pt x="1832" y="796"/>
                  </a:lnTo>
                  <a:lnTo>
                    <a:pt x="1832" y="794"/>
                  </a:lnTo>
                  <a:lnTo>
                    <a:pt x="1832" y="792"/>
                  </a:lnTo>
                  <a:lnTo>
                    <a:pt x="1834" y="788"/>
                  </a:lnTo>
                  <a:lnTo>
                    <a:pt x="1834" y="786"/>
                  </a:lnTo>
                  <a:lnTo>
                    <a:pt x="1834" y="784"/>
                  </a:lnTo>
                  <a:lnTo>
                    <a:pt x="1834" y="782"/>
                  </a:lnTo>
                  <a:lnTo>
                    <a:pt x="1836" y="782"/>
                  </a:lnTo>
                  <a:lnTo>
                    <a:pt x="1836" y="782"/>
                  </a:lnTo>
                  <a:lnTo>
                    <a:pt x="1838" y="782"/>
                  </a:lnTo>
                  <a:lnTo>
                    <a:pt x="1842" y="784"/>
                  </a:lnTo>
                  <a:lnTo>
                    <a:pt x="1842" y="784"/>
                  </a:lnTo>
                  <a:lnTo>
                    <a:pt x="1842" y="784"/>
                  </a:lnTo>
                  <a:lnTo>
                    <a:pt x="1844" y="784"/>
                  </a:lnTo>
                  <a:lnTo>
                    <a:pt x="1844" y="784"/>
                  </a:lnTo>
                  <a:lnTo>
                    <a:pt x="1844" y="784"/>
                  </a:lnTo>
                  <a:lnTo>
                    <a:pt x="1846" y="782"/>
                  </a:lnTo>
                  <a:lnTo>
                    <a:pt x="1846" y="782"/>
                  </a:lnTo>
                  <a:lnTo>
                    <a:pt x="1848" y="782"/>
                  </a:lnTo>
                  <a:lnTo>
                    <a:pt x="1848" y="782"/>
                  </a:lnTo>
                  <a:lnTo>
                    <a:pt x="1848" y="782"/>
                  </a:lnTo>
                  <a:lnTo>
                    <a:pt x="1848" y="780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4"/>
                  </a:lnTo>
                  <a:lnTo>
                    <a:pt x="1850" y="772"/>
                  </a:lnTo>
                  <a:lnTo>
                    <a:pt x="1850" y="770"/>
                  </a:lnTo>
                  <a:lnTo>
                    <a:pt x="1850" y="770"/>
                  </a:lnTo>
                  <a:lnTo>
                    <a:pt x="1854" y="764"/>
                  </a:lnTo>
                  <a:lnTo>
                    <a:pt x="1854" y="760"/>
                  </a:lnTo>
                  <a:lnTo>
                    <a:pt x="1856" y="758"/>
                  </a:lnTo>
                  <a:lnTo>
                    <a:pt x="1856" y="760"/>
                  </a:lnTo>
                  <a:lnTo>
                    <a:pt x="1856" y="758"/>
                  </a:lnTo>
                  <a:lnTo>
                    <a:pt x="1858" y="758"/>
                  </a:lnTo>
                  <a:lnTo>
                    <a:pt x="1862" y="756"/>
                  </a:lnTo>
                  <a:lnTo>
                    <a:pt x="1866" y="754"/>
                  </a:lnTo>
                  <a:lnTo>
                    <a:pt x="1870" y="754"/>
                  </a:lnTo>
                  <a:lnTo>
                    <a:pt x="1874" y="754"/>
                  </a:lnTo>
                  <a:lnTo>
                    <a:pt x="1878" y="754"/>
                  </a:lnTo>
                  <a:lnTo>
                    <a:pt x="1884" y="754"/>
                  </a:lnTo>
                  <a:lnTo>
                    <a:pt x="1888" y="754"/>
                  </a:lnTo>
                  <a:lnTo>
                    <a:pt x="1892" y="754"/>
                  </a:lnTo>
                  <a:lnTo>
                    <a:pt x="1896" y="754"/>
                  </a:lnTo>
                  <a:lnTo>
                    <a:pt x="1900" y="754"/>
                  </a:lnTo>
                  <a:lnTo>
                    <a:pt x="1902" y="754"/>
                  </a:lnTo>
                  <a:lnTo>
                    <a:pt x="1902" y="754"/>
                  </a:lnTo>
                  <a:lnTo>
                    <a:pt x="1904" y="756"/>
                  </a:lnTo>
                  <a:lnTo>
                    <a:pt x="1904" y="754"/>
                  </a:lnTo>
                  <a:lnTo>
                    <a:pt x="1906" y="758"/>
                  </a:lnTo>
                  <a:lnTo>
                    <a:pt x="1908" y="760"/>
                  </a:lnTo>
                  <a:lnTo>
                    <a:pt x="1908" y="760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2" y="762"/>
                  </a:lnTo>
                  <a:lnTo>
                    <a:pt x="1912" y="762"/>
                  </a:lnTo>
                  <a:lnTo>
                    <a:pt x="1914" y="762"/>
                  </a:lnTo>
                  <a:lnTo>
                    <a:pt x="1914" y="760"/>
                  </a:lnTo>
                  <a:lnTo>
                    <a:pt x="1914" y="760"/>
                  </a:lnTo>
                  <a:lnTo>
                    <a:pt x="1916" y="760"/>
                  </a:lnTo>
                  <a:lnTo>
                    <a:pt x="1916" y="758"/>
                  </a:lnTo>
                  <a:lnTo>
                    <a:pt x="1914" y="756"/>
                  </a:lnTo>
                  <a:lnTo>
                    <a:pt x="1916" y="758"/>
                  </a:lnTo>
                  <a:lnTo>
                    <a:pt x="1918" y="760"/>
                  </a:lnTo>
                  <a:lnTo>
                    <a:pt x="1918" y="760"/>
                  </a:lnTo>
                  <a:lnTo>
                    <a:pt x="1918" y="760"/>
                  </a:lnTo>
                  <a:lnTo>
                    <a:pt x="1920" y="762"/>
                  </a:lnTo>
                  <a:lnTo>
                    <a:pt x="1920" y="762"/>
                  </a:lnTo>
                  <a:lnTo>
                    <a:pt x="1922" y="762"/>
                  </a:lnTo>
                  <a:lnTo>
                    <a:pt x="1924" y="762"/>
                  </a:lnTo>
                  <a:lnTo>
                    <a:pt x="1924" y="762"/>
                  </a:lnTo>
                  <a:lnTo>
                    <a:pt x="1924" y="762"/>
                  </a:lnTo>
                  <a:lnTo>
                    <a:pt x="1926" y="762"/>
                  </a:lnTo>
                  <a:lnTo>
                    <a:pt x="1930" y="760"/>
                  </a:lnTo>
                  <a:lnTo>
                    <a:pt x="1934" y="758"/>
                  </a:lnTo>
                  <a:lnTo>
                    <a:pt x="1938" y="756"/>
                  </a:lnTo>
                  <a:lnTo>
                    <a:pt x="1940" y="756"/>
                  </a:lnTo>
                  <a:lnTo>
                    <a:pt x="1942" y="756"/>
                  </a:lnTo>
                  <a:lnTo>
                    <a:pt x="1942" y="756"/>
                  </a:lnTo>
                  <a:lnTo>
                    <a:pt x="1944" y="756"/>
                  </a:lnTo>
                  <a:lnTo>
                    <a:pt x="1946" y="756"/>
                  </a:lnTo>
                  <a:lnTo>
                    <a:pt x="1950" y="756"/>
                  </a:lnTo>
                  <a:lnTo>
                    <a:pt x="1954" y="758"/>
                  </a:lnTo>
                  <a:lnTo>
                    <a:pt x="1954" y="758"/>
                  </a:lnTo>
                  <a:lnTo>
                    <a:pt x="1954" y="758"/>
                  </a:lnTo>
                  <a:lnTo>
                    <a:pt x="1956" y="758"/>
                  </a:lnTo>
                  <a:lnTo>
                    <a:pt x="1956" y="758"/>
                  </a:lnTo>
                  <a:lnTo>
                    <a:pt x="1956" y="758"/>
                  </a:lnTo>
                  <a:lnTo>
                    <a:pt x="1958" y="756"/>
                  </a:lnTo>
                  <a:lnTo>
                    <a:pt x="1958" y="756"/>
                  </a:lnTo>
                  <a:lnTo>
                    <a:pt x="1960" y="756"/>
                  </a:lnTo>
                  <a:lnTo>
                    <a:pt x="1960" y="754"/>
                  </a:lnTo>
                  <a:lnTo>
                    <a:pt x="1960" y="754"/>
                  </a:lnTo>
                  <a:lnTo>
                    <a:pt x="1960" y="754"/>
                  </a:lnTo>
                  <a:lnTo>
                    <a:pt x="1960" y="752"/>
                  </a:lnTo>
                  <a:lnTo>
                    <a:pt x="1960" y="752"/>
                  </a:lnTo>
                  <a:lnTo>
                    <a:pt x="1960" y="750"/>
                  </a:lnTo>
                  <a:lnTo>
                    <a:pt x="1960" y="748"/>
                  </a:lnTo>
                  <a:lnTo>
                    <a:pt x="1960" y="746"/>
                  </a:lnTo>
                  <a:lnTo>
                    <a:pt x="1960" y="744"/>
                  </a:lnTo>
                  <a:lnTo>
                    <a:pt x="1960" y="742"/>
                  </a:lnTo>
                  <a:lnTo>
                    <a:pt x="1960" y="740"/>
                  </a:lnTo>
                  <a:lnTo>
                    <a:pt x="1960" y="740"/>
                  </a:lnTo>
                  <a:lnTo>
                    <a:pt x="1962" y="740"/>
                  </a:lnTo>
                  <a:lnTo>
                    <a:pt x="1964" y="740"/>
                  </a:lnTo>
                  <a:lnTo>
                    <a:pt x="1964" y="740"/>
                  </a:lnTo>
                  <a:lnTo>
                    <a:pt x="1966" y="742"/>
                  </a:lnTo>
                  <a:lnTo>
                    <a:pt x="1968" y="742"/>
                  </a:lnTo>
                  <a:lnTo>
                    <a:pt x="1970" y="744"/>
                  </a:lnTo>
                  <a:lnTo>
                    <a:pt x="1976" y="748"/>
                  </a:lnTo>
                  <a:lnTo>
                    <a:pt x="1982" y="752"/>
                  </a:lnTo>
                  <a:lnTo>
                    <a:pt x="1984" y="754"/>
                  </a:lnTo>
                  <a:lnTo>
                    <a:pt x="1986" y="756"/>
                  </a:lnTo>
                  <a:lnTo>
                    <a:pt x="1988" y="758"/>
                  </a:lnTo>
                  <a:lnTo>
                    <a:pt x="1988" y="758"/>
                  </a:lnTo>
                  <a:lnTo>
                    <a:pt x="1990" y="762"/>
                  </a:lnTo>
                  <a:lnTo>
                    <a:pt x="1992" y="764"/>
                  </a:lnTo>
                  <a:lnTo>
                    <a:pt x="1992" y="764"/>
                  </a:lnTo>
                  <a:lnTo>
                    <a:pt x="1994" y="764"/>
                  </a:lnTo>
                  <a:lnTo>
                    <a:pt x="1996" y="764"/>
                  </a:lnTo>
                  <a:lnTo>
                    <a:pt x="1996" y="764"/>
                  </a:lnTo>
                  <a:lnTo>
                    <a:pt x="1996" y="766"/>
                  </a:lnTo>
                  <a:lnTo>
                    <a:pt x="1998" y="766"/>
                  </a:lnTo>
                  <a:lnTo>
                    <a:pt x="1998" y="766"/>
                  </a:lnTo>
                  <a:lnTo>
                    <a:pt x="1998" y="766"/>
                  </a:lnTo>
                  <a:lnTo>
                    <a:pt x="2000" y="766"/>
                  </a:lnTo>
                  <a:lnTo>
                    <a:pt x="2000" y="766"/>
                  </a:lnTo>
                  <a:lnTo>
                    <a:pt x="2002" y="766"/>
                  </a:lnTo>
                  <a:lnTo>
                    <a:pt x="2002" y="766"/>
                  </a:lnTo>
                  <a:lnTo>
                    <a:pt x="2004" y="766"/>
                  </a:lnTo>
                  <a:lnTo>
                    <a:pt x="2008" y="764"/>
                  </a:lnTo>
                  <a:lnTo>
                    <a:pt x="2012" y="762"/>
                  </a:lnTo>
                  <a:lnTo>
                    <a:pt x="2018" y="760"/>
                  </a:lnTo>
                  <a:lnTo>
                    <a:pt x="2018" y="760"/>
                  </a:lnTo>
                  <a:lnTo>
                    <a:pt x="2022" y="758"/>
                  </a:lnTo>
                  <a:lnTo>
                    <a:pt x="2028" y="758"/>
                  </a:lnTo>
                  <a:lnTo>
                    <a:pt x="2030" y="758"/>
                  </a:lnTo>
                  <a:lnTo>
                    <a:pt x="2032" y="758"/>
                  </a:lnTo>
                  <a:lnTo>
                    <a:pt x="2032" y="758"/>
                  </a:lnTo>
                  <a:lnTo>
                    <a:pt x="2034" y="758"/>
                  </a:lnTo>
                  <a:lnTo>
                    <a:pt x="2036" y="758"/>
                  </a:lnTo>
                  <a:lnTo>
                    <a:pt x="2036" y="758"/>
                  </a:lnTo>
                  <a:lnTo>
                    <a:pt x="2036" y="756"/>
                  </a:lnTo>
                  <a:lnTo>
                    <a:pt x="2038" y="756"/>
                  </a:lnTo>
                  <a:lnTo>
                    <a:pt x="2038" y="756"/>
                  </a:lnTo>
                  <a:lnTo>
                    <a:pt x="2038" y="754"/>
                  </a:lnTo>
                  <a:lnTo>
                    <a:pt x="2040" y="752"/>
                  </a:lnTo>
                  <a:lnTo>
                    <a:pt x="2040" y="752"/>
                  </a:lnTo>
                  <a:lnTo>
                    <a:pt x="2040" y="752"/>
                  </a:lnTo>
                  <a:lnTo>
                    <a:pt x="2042" y="748"/>
                  </a:lnTo>
                  <a:lnTo>
                    <a:pt x="2042" y="744"/>
                  </a:lnTo>
                  <a:lnTo>
                    <a:pt x="2042" y="742"/>
                  </a:lnTo>
                  <a:lnTo>
                    <a:pt x="2042" y="734"/>
                  </a:lnTo>
                  <a:lnTo>
                    <a:pt x="2044" y="730"/>
                  </a:lnTo>
                  <a:lnTo>
                    <a:pt x="2044" y="732"/>
                  </a:lnTo>
                  <a:lnTo>
                    <a:pt x="2044" y="728"/>
                  </a:lnTo>
                  <a:lnTo>
                    <a:pt x="2046" y="726"/>
                  </a:lnTo>
                  <a:lnTo>
                    <a:pt x="2046" y="726"/>
                  </a:lnTo>
                  <a:lnTo>
                    <a:pt x="2048" y="724"/>
                  </a:lnTo>
                  <a:lnTo>
                    <a:pt x="2048" y="726"/>
                  </a:lnTo>
                  <a:lnTo>
                    <a:pt x="2054" y="722"/>
                  </a:lnTo>
                  <a:lnTo>
                    <a:pt x="2058" y="720"/>
                  </a:lnTo>
                  <a:lnTo>
                    <a:pt x="2060" y="718"/>
                  </a:lnTo>
                  <a:lnTo>
                    <a:pt x="2060" y="718"/>
                  </a:lnTo>
                  <a:lnTo>
                    <a:pt x="2062" y="718"/>
                  </a:lnTo>
                  <a:lnTo>
                    <a:pt x="2062" y="716"/>
                  </a:lnTo>
                  <a:lnTo>
                    <a:pt x="2062" y="716"/>
                  </a:lnTo>
                  <a:lnTo>
                    <a:pt x="2064" y="716"/>
                  </a:lnTo>
                  <a:lnTo>
                    <a:pt x="2064" y="714"/>
                  </a:lnTo>
                  <a:lnTo>
                    <a:pt x="2066" y="712"/>
                  </a:lnTo>
                  <a:lnTo>
                    <a:pt x="2066" y="712"/>
                  </a:lnTo>
                  <a:lnTo>
                    <a:pt x="2066" y="712"/>
                  </a:lnTo>
                  <a:lnTo>
                    <a:pt x="2068" y="708"/>
                  </a:lnTo>
                  <a:lnTo>
                    <a:pt x="2068" y="706"/>
                  </a:lnTo>
                  <a:lnTo>
                    <a:pt x="2070" y="704"/>
                  </a:lnTo>
                  <a:lnTo>
                    <a:pt x="2072" y="700"/>
                  </a:lnTo>
                  <a:lnTo>
                    <a:pt x="2072" y="696"/>
                  </a:lnTo>
                  <a:lnTo>
                    <a:pt x="2074" y="694"/>
                  </a:lnTo>
                  <a:lnTo>
                    <a:pt x="2076" y="692"/>
                  </a:lnTo>
                  <a:lnTo>
                    <a:pt x="2076" y="690"/>
                  </a:lnTo>
                  <a:lnTo>
                    <a:pt x="2078" y="688"/>
                  </a:lnTo>
                  <a:lnTo>
                    <a:pt x="2080" y="686"/>
                  </a:lnTo>
                  <a:lnTo>
                    <a:pt x="2084" y="684"/>
                  </a:lnTo>
                  <a:lnTo>
                    <a:pt x="2086" y="684"/>
                  </a:lnTo>
                  <a:lnTo>
                    <a:pt x="2088" y="682"/>
                  </a:lnTo>
                  <a:lnTo>
                    <a:pt x="2092" y="682"/>
                  </a:lnTo>
                  <a:lnTo>
                    <a:pt x="2098" y="680"/>
                  </a:lnTo>
                  <a:lnTo>
                    <a:pt x="2100" y="680"/>
                  </a:lnTo>
                  <a:lnTo>
                    <a:pt x="2104" y="678"/>
                  </a:lnTo>
                  <a:lnTo>
                    <a:pt x="2106" y="680"/>
                  </a:lnTo>
                  <a:lnTo>
                    <a:pt x="2106" y="680"/>
                  </a:lnTo>
                  <a:lnTo>
                    <a:pt x="2108" y="680"/>
                  </a:lnTo>
                  <a:lnTo>
                    <a:pt x="2110" y="682"/>
                  </a:lnTo>
                  <a:lnTo>
                    <a:pt x="2112" y="684"/>
                  </a:lnTo>
                  <a:lnTo>
                    <a:pt x="2114" y="686"/>
                  </a:lnTo>
                  <a:lnTo>
                    <a:pt x="2114" y="686"/>
                  </a:lnTo>
                  <a:lnTo>
                    <a:pt x="2114" y="686"/>
                  </a:lnTo>
                  <a:lnTo>
                    <a:pt x="2114" y="690"/>
                  </a:lnTo>
                  <a:lnTo>
                    <a:pt x="2114" y="694"/>
                  </a:lnTo>
                  <a:lnTo>
                    <a:pt x="2114" y="696"/>
                  </a:lnTo>
                  <a:lnTo>
                    <a:pt x="2114" y="698"/>
                  </a:lnTo>
                  <a:lnTo>
                    <a:pt x="2114" y="700"/>
                  </a:lnTo>
                  <a:lnTo>
                    <a:pt x="2116" y="702"/>
                  </a:lnTo>
                  <a:lnTo>
                    <a:pt x="2116" y="708"/>
                  </a:lnTo>
                  <a:lnTo>
                    <a:pt x="2118" y="710"/>
                  </a:lnTo>
                  <a:lnTo>
                    <a:pt x="2118" y="712"/>
                  </a:lnTo>
                  <a:lnTo>
                    <a:pt x="2118" y="712"/>
                  </a:lnTo>
                  <a:lnTo>
                    <a:pt x="2118" y="712"/>
                  </a:lnTo>
                  <a:lnTo>
                    <a:pt x="2120" y="714"/>
                  </a:lnTo>
                  <a:lnTo>
                    <a:pt x="2120" y="714"/>
                  </a:lnTo>
                  <a:lnTo>
                    <a:pt x="2120" y="716"/>
                  </a:lnTo>
                  <a:lnTo>
                    <a:pt x="2122" y="716"/>
                  </a:lnTo>
                  <a:lnTo>
                    <a:pt x="2122" y="716"/>
                  </a:lnTo>
                  <a:lnTo>
                    <a:pt x="2122" y="716"/>
                  </a:lnTo>
                  <a:lnTo>
                    <a:pt x="2124" y="718"/>
                  </a:lnTo>
                  <a:lnTo>
                    <a:pt x="2124" y="718"/>
                  </a:lnTo>
                  <a:lnTo>
                    <a:pt x="2124" y="718"/>
                  </a:lnTo>
                  <a:lnTo>
                    <a:pt x="2126" y="718"/>
                  </a:lnTo>
                  <a:lnTo>
                    <a:pt x="2126" y="718"/>
                  </a:lnTo>
                  <a:lnTo>
                    <a:pt x="2128" y="718"/>
                  </a:lnTo>
                  <a:lnTo>
                    <a:pt x="2130" y="716"/>
                  </a:lnTo>
                  <a:lnTo>
                    <a:pt x="2130" y="716"/>
                  </a:lnTo>
                  <a:lnTo>
                    <a:pt x="2130" y="716"/>
                  </a:lnTo>
                  <a:lnTo>
                    <a:pt x="2132" y="714"/>
                  </a:lnTo>
                  <a:lnTo>
                    <a:pt x="2138" y="712"/>
                  </a:lnTo>
                  <a:lnTo>
                    <a:pt x="2142" y="708"/>
                  </a:lnTo>
                  <a:lnTo>
                    <a:pt x="2144" y="706"/>
                  </a:lnTo>
                  <a:lnTo>
                    <a:pt x="2148" y="704"/>
                  </a:lnTo>
                  <a:lnTo>
                    <a:pt x="2152" y="696"/>
                  </a:lnTo>
                  <a:lnTo>
                    <a:pt x="2156" y="690"/>
                  </a:lnTo>
                  <a:lnTo>
                    <a:pt x="2158" y="688"/>
                  </a:lnTo>
                  <a:lnTo>
                    <a:pt x="2160" y="686"/>
                  </a:lnTo>
                  <a:lnTo>
                    <a:pt x="2162" y="684"/>
                  </a:lnTo>
                  <a:lnTo>
                    <a:pt x="2162" y="684"/>
                  </a:lnTo>
                  <a:lnTo>
                    <a:pt x="2166" y="682"/>
                  </a:lnTo>
                  <a:lnTo>
                    <a:pt x="2168" y="680"/>
                  </a:lnTo>
                  <a:lnTo>
                    <a:pt x="2168" y="680"/>
                  </a:lnTo>
                  <a:lnTo>
                    <a:pt x="2168" y="680"/>
                  </a:lnTo>
                  <a:lnTo>
                    <a:pt x="2170" y="678"/>
                  </a:lnTo>
                  <a:lnTo>
                    <a:pt x="2170" y="678"/>
                  </a:lnTo>
                  <a:lnTo>
                    <a:pt x="2170" y="678"/>
                  </a:lnTo>
                  <a:lnTo>
                    <a:pt x="2170" y="676"/>
                  </a:lnTo>
                  <a:lnTo>
                    <a:pt x="2170" y="676"/>
                  </a:lnTo>
                  <a:lnTo>
                    <a:pt x="2172" y="676"/>
                  </a:lnTo>
                  <a:lnTo>
                    <a:pt x="2172" y="674"/>
                  </a:lnTo>
                  <a:lnTo>
                    <a:pt x="2172" y="674"/>
                  </a:lnTo>
                  <a:lnTo>
                    <a:pt x="2172" y="672"/>
                  </a:lnTo>
                  <a:lnTo>
                    <a:pt x="2170" y="672"/>
                  </a:lnTo>
                  <a:lnTo>
                    <a:pt x="2170" y="672"/>
                  </a:lnTo>
                  <a:lnTo>
                    <a:pt x="2170" y="670"/>
                  </a:lnTo>
                  <a:lnTo>
                    <a:pt x="2168" y="666"/>
                  </a:lnTo>
                  <a:lnTo>
                    <a:pt x="2168" y="664"/>
                  </a:lnTo>
                  <a:lnTo>
                    <a:pt x="2168" y="664"/>
                  </a:lnTo>
                  <a:lnTo>
                    <a:pt x="2166" y="662"/>
                  </a:lnTo>
                  <a:lnTo>
                    <a:pt x="2166" y="662"/>
                  </a:lnTo>
                  <a:lnTo>
                    <a:pt x="2168" y="658"/>
                  </a:lnTo>
                  <a:lnTo>
                    <a:pt x="2168" y="656"/>
                  </a:lnTo>
                  <a:lnTo>
                    <a:pt x="2168" y="656"/>
                  </a:lnTo>
                  <a:lnTo>
                    <a:pt x="2168" y="656"/>
                  </a:lnTo>
                  <a:lnTo>
                    <a:pt x="2170" y="654"/>
                  </a:lnTo>
                  <a:lnTo>
                    <a:pt x="2170" y="654"/>
                  </a:lnTo>
                  <a:lnTo>
                    <a:pt x="2172" y="654"/>
                  </a:lnTo>
                  <a:lnTo>
                    <a:pt x="2172" y="654"/>
                  </a:lnTo>
                  <a:lnTo>
                    <a:pt x="2174" y="654"/>
                  </a:lnTo>
                  <a:lnTo>
                    <a:pt x="2176" y="654"/>
                  </a:lnTo>
                  <a:lnTo>
                    <a:pt x="2180" y="654"/>
                  </a:lnTo>
                  <a:lnTo>
                    <a:pt x="2184" y="654"/>
                  </a:lnTo>
                  <a:lnTo>
                    <a:pt x="2188" y="654"/>
                  </a:lnTo>
                  <a:lnTo>
                    <a:pt x="2192" y="654"/>
                  </a:lnTo>
                  <a:lnTo>
                    <a:pt x="2190" y="654"/>
                  </a:lnTo>
                  <a:lnTo>
                    <a:pt x="2186" y="658"/>
                  </a:lnTo>
                  <a:lnTo>
                    <a:pt x="2186" y="658"/>
                  </a:lnTo>
                  <a:lnTo>
                    <a:pt x="2186" y="658"/>
                  </a:lnTo>
                  <a:lnTo>
                    <a:pt x="2184" y="662"/>
                  </a:lnTo>
                  <a:lnTo>
                    <a:pt x="2184" y="662"/>
                  </a:lnTo>
                  <a:lnTo>
                    <a:pt x="2184" y="662"/>
                  </a:lnTo>
                  <a:lnTo>
                    <a:pt x="2182" y="664"/>
                  </a:lnTo>
                  <a:lnTo>
                    <a:pt x="2182" y="664"/>
                  </a:lnTo>
                  <a:lnTo>
                    <a:pt x="2182" y="666"/>
                  </a:lnTo>
                  <a:lnTo>
                    <a:pt x="2180" y="668"/>
                  </a:lnTo>
                  <a:lnTo>
                    <a:pt x="2180" y="670"/>
                  </a:lnTo>
                  <a:lnTo>
                    <a:pt x="2180" y="674"/>
                  </a:lnTo>
                  <a:lnTo>
                    <a:pt x="2180" y="684"/>
                  </a:lnTo>
                  <a:lnTo>
                    <a:pt x="2180" y="688"/>
                  </a:lnTo>
                  <a:lnTo>
                    <a:pt x="2180" y="694"/>
                  </a:lnTo>
                  <a:lnTo>
                    <a:pt x="2178" y="698"/>
                  </a:lnTo>
                  <a:lnTo>
                    <a:pt x="2178" y="700"/>
                  </a:lnTo>
                  <a:lnTo>
                    <a:pt x="2176" y="704"/>
                  </a:lnTo>
                  <a:lnTo>
                    <a:pt x="2172" y="706"/>
                  </a:lnTo>
                  <a:lnTo>
                    <a:pt x="2174" y="706"/>
                  </a:lnTo>
                  <a:lnTo>
                    <a:pt x="2170" y="708"/>
                  </a:lnTo>
                  <a:lnTo>
                    <a:pt x="2166" y="710"/>
                  </a:lnTo>
                  <a:lnTo>
                    <a:pt x="2158" y="714"/>
                  </a:lnTo>
                  <a:lnTo>
                    <a:pt x="2154" y="716"/>
                  </a:lnTo>
                  <a:lnTo>
                    <a:pt x="2152" y="718"/>
                  </a:lnTo>
                  <a:lnTo>
                    <a:pt x="2148" y="720"/>
                  </a:lnTo>
                  <a:lnTo>
                    <a:pt x="2146" y="722"/>
                  </a:lnTo>
                  <a:lnTo>
                    <a:pt x="2142" y="724"/>
                  </a:lnTo>
                  <a:lnTo>
                    <a:pt x="2140" y="726"/>
                  </a:lnTo>
                  <a:lnTo>
                    <a:pt x="2136" y="728"/>
                  </a:lnTo>
                  <a:lnTo>
                    <a:pt x="2134" y="732"/>
                  </a:lnTo>
                  <a:lnTo>
                    <a:pt x="2132" y="734"/>
                  </a:lnTo>
                  <a:lnTo>
                    <a:pt x="2130" y="738"/>
                  </a:lnTo>
                  <a:lnTo>
                    <a:pt x="2126" y="742"/>
                  </a:lnTo>
                  <a:lnTo>
                    <a:pt x="2122" y="746"/>
                  </a:lnTo>
                  <a:lnTo>
                    <a:pt x="2120" y="752"/>
                  </a:lnTo>
                  <a:lnTo>
                    <a:pt x="2112" y="762"/>
                  </a:lnTo>
                  <a:lnTo>
                    <a:pt x="2110" y="766"/>
                  </a:lnTo>
                  <a:lnTo>
                    <a:pt x="2106" y="770"/>
                  </a:lnTo>
                  <a:lnTo>
                    <a:pt x="2098" y="776"/>
                  </a:lnTo>
                  <a:lnTo>
                    <a:pt x="2092" y="784"/>
                  </a:lnTo>
                  <a:lnTo>
                    <a:pt x="2084" y="790"/>
                  </a:lnTo>
                  <a:lnTo>
                    <a:pt x="2078" y="796"/>
                  </a:lnTo>
                  <a:lnTo>
                    <a:pt x="2074" y="800"/>
                  </a:lnTo>
                  <a:lnTo>
                    <a:pt x="2070" y="802"/>
                  </a:lnTo>
                  <a:lnTo>
                    <a:pt x="2064" y="808"/>
                  </a:lnTo>
                  <a:lnTo>
                    <a:pt x="2062" y="812"/>
                  </a:lnTo>
                  <a:lnTo>
                    <a:pt x="2058" y="816"/>
                  </a:lnTo>
                  <a:lnTo>
                    <a:pt x="2056" y="820"/>
                  </a:lnTo>
                  <a:lnTo>
                    <a:pt x="2054" y="824"/>
                  </a:lnTo>
                  <a:lnTo>
                    <a:pt x="2052" y="830"/>
                  </a:lnTo>
                  <a:lnTo>
                    <a:pt x="2050" y="836"/>
                  </a:lnTo>
                  <a:lnTo>
                    <a:pt x="2048" y="844"/>
                  </a:lnTo>
                  <a:lnTo>
                    <a:pt x="2048" y="850"/>
                  </a:lnTo>
                  <a:lnTo>
                    <a:pt x="2048" y="858"/>
                  </a:lnTo>
                  <a:lnTo>
                    <a:pt x="2048" y="866"/>
                  </a:lnTo>
                  <a:lnTo>
                    <a:pt x="2046" y="872"/>
                  </a:lnTo>
                  <a:lnTo>
                    <a:pt x="2048" y="878"/>
                  </a:lnTo>
                  <a:lnTo>
                    <a:pt x="2048" y="882"/>
                  </a:lnTo>
                  <a:lnTo>
                    <a:pt x="2048" y="882"/>
                  </a:lnTo>
                  <a:lnTo>
                    <a:pt x="2048" y="882"/>
                  </a:lnTo>
                  <a:lnTo>
                    <a:pt x="2050" y="884"/>
                  </a:lnTo>
                  <a:lnTo>
                    <a:pt x="2050" y="884"/>
                  </a:lnTo>
                  <a:lnTo>
                    <a:pt x="2050" y="886"/>
                  </a:lnTo>
                  <a:lnTo>
                    <a:pt x="2052" y="888"/>
                  </a:lnTo>
                  <a:lnTo>
                    <a:pt x="2052" y="888"/>
                  </a:lnTo>
                  <a:lnTo>
                    <a:pt x="2052" y="888"/>
                  </a:lnTo>
                  <a:lnTo>
                    <a:pt x="2054" y="890"/>
                  </a:lnTo>
                  <a:lnTo>
                    <a:pt x="2058" y="894"/>
                  </a:lnTo>
                  <a:lnTo>
                    <a:pt x="2058" y="894"/>
                  </a:lnTo>
                  <a:lnTo>
                    <a:pt x="2058" y="896"/>
                  </a:lnTo>
                  <a:lnTo>
                    <a:pt x="2060" y="898"/>
                  </a:lnTo>
                  <a:lnTo>
                    <a:pt x="2060" y="900"/>
                  </a:lnTo>
                  <a:lnTo>
                    <a:pt x="2060" y="904"/>
                  </a:lnTo>
                  <a:lnTo>
                    <a:pt x="2060" y="910"/>
                  </a:lnTo>
                  <a:lnTo>
                    <a:pt x="2058" y="918"/>
                  </a:lnTo>
                  <a:lnTo>
                    <a:pt x="2058" y="922"/>
                  </a:lnTo>
                  <a:lnTo>
                    <a:pt x="2058" y="924"/>
                  </a:lnTo>
                  <a:lnTo>
                    <a:pt x="2058" y="926"/>
                  </a:lnTo>
                  <a:lnTo>
                    <a:pt x="2058" y="928"/>
                  </a:lnTo>
                  <a:lnTo>
                    <a:pt x="2058" y="928"/>
                  </a:lnTo>
                  <a:lnTo>
                    <a:pt x="2060" y="928"/>
                  </a:lnTo>
                  <a:lnTo>
                    <a:pt x="2060" y="930"/>
                  </a:lnTo>
                  <a:lnTo>
                    <a:pt x="2062" y="934"/>
                  </a:lnTo>
                  <a:lnTo>
                    <a:pt x="2064" y="938"/>
                  </a:lnTo>
                  <a:lnTo>
                    <a:pt x="2064" y="940"/>
                  </a:lnTo>
                  <a:lnTo>
                    <a:pt x="2066" y="942"/>
                  </a:lnTo>
                  <a:lnTo>
                    <a:pt x="2066" y="944"/>
                  </a:lnTo>
                  <a:lnTo>
                    <a:pt x="2066" y="948"/>
                  </a:lnTo>
                  <a:lnTo>
                    <a:pt x="2066" y="952"/>
                  </a:lnTo>
                  <a:lnTo>
                    <a:pt x="2066" y="956"/>
                  </a:lnTo>
                  <a:lnTo>
                    <a:pt x="2066" y="960"/>
                  </a:lnTo>
                  <a:lnTo>
                    <a:pt x="2064" y="964"/>
                  </a:lnTo>
                  <a:lnTo>
                    <a:pt x="2066" y="968"/>
                  </a:lnTo>
                  <a:lnTo>
                    <a:pt x="2066" y="970"/>
                  </a:lnTo>
                  <a:lnTo>
                    <a:pt x="2066" y="970"/>
                  </a:lnTo>
                  <a:lnTo>
                    <a:pt x="2066" y="970"/>
                  </a:lnTo>
                  <a:lnTo>
                    <a:pt x="2066" y="972"/>
                  </a:lnTo>
                  <a:lnTo>
                    <a:pt x="2066" y="972"/>
                  </a:lnTo>
                  <a:lnTo>
                    <a:pt x="2070" y="972"/>
                  </a:lnTo>
                  <a:lnTo>
                    <a:pt x="2070" y="972"/>
                  </a:lnTo>
                  <a:lnTo>
                    <a:pt x="2070" y="972"/>
                  </a:lnTo>
                  <a:lnTo>
                    <a:pt x="2072" y="972"/>
                  </a:lnTo>
                  <a:lnTo>
                    <a:pt x="2072" y="970"/>
                  </a:lnTo>
                  <a:lnTo>
                    <a:pt x="2074" y="970"/>
                  </a:lnTo>
                  <a:lnTo>
                    <a:pt x="2076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82" y="966"/>
                  </a:lnTo>
                  <a:lnTo>
                    <a:pt x="2084" y="966"/>
                  </a:lnTo>
                  <a:lnTo>
                    <a:pt x="2084" y="966"/>
                  </a:lnTo>
                  <a:lnTo>
                    <a:pt x="2084" y="966"/>
                  </a:lnTo>
                  <a:lnTo>
                    <a:pt x="2086" y="966"/>
                  </a:lnTo>
                  <a:lnTo>
                    <a:pt x="2086" y="966"/>
                  </a:lnTo>
                  <a:lnTo>
                    <a:pt x="2086" y="966"/>
                  </a:lnTo>
                  <a:lnTo>
                    <a:pt x="2088" y="964"/>
                  </a:lnTo>
                  <a:lnTo>
                    <a:pt x="2088" y="964"/>
                  </a:lnTo>
                  <a:lnTo>
                    <a:pt x="2088" y="964"/>
                  </a:lnTo>
                  <a:lnTo>
                    <a:pt x="2090" y="962"/>
                  </a:lnTo>
                  <a:lnTo>
                    <a:pt x="2090" y="962"/>
                  </a:lnTo>
                  <a:lnTo>
                    <a:pt x="2090" y="962"/>
                  </a:lnTo>
                  <a:lnTo>
                    <a:pt x="2092" y="960"/>
                  </a:lnTo>
                  <a:lnTo>
                    <a:pt x="2094" y="956"/>
                  </a:lnTo>
                  <a:lnTo>
                    <a:pt x="2096" y="954"/>
                  </a:lnTo>
                  <a:lnTo>
                    <a:pt x="2098" y="950"/>
                  </a:lnTo>
                  <a:lnTo>
                    <a:pt x="2100" y="942"/>
                  </a:lnTo>
                  <a:lnTo>
                    <a:pt x="2102" y="940"/>
                  </a:lnTo>
                  <a:lnTo>
                    <a:pt x="2102" y="936"/>
                  </a:lnTo>
                  <a:lnTo>
                    <a:pt x="2104" y="932"/>
                  </a:lnTo>
                  <a:lnTo>
                    <a:pt x="2106" y="926"/>
                  </a:lnTo>
                  <a:lnTo>
                    <a:pt x="2108" y="924"/>
                  </a:lnTo>
                  <a:lnTo>
                    <a:pt x="2108" y="922"/>
                  </a:lnTo>
                  <a:lnTo>
                    <a:pt x="2110" y="922"/>
                  </a:lnTo>
                  <a:lnTo>
                    <a:pt x="2110" y="922"/>
                  </a:lnTo>
                  <a:lnTo>
                    <a:pt x="2110" y="922"/>
                  </a:lnTo>
                  <a:lnTo>
                    <a:pt x="2112" y="922"/>
                  </a:lnTo>
                  <a:lnTo>
                    <a:pt x="2112" y="924"/>
                  </a:lnTo>
                  <a:lnTo>
                    <a:pt x="2114" y="926"/>
                  </a:lnTo>
                  <a:lnTo>
                    <a:pt x="2116" y="928"/>
                  </a:lnTo>
                  <a:lnTo>
                    <a:pt x="2116" y="928"/>
                  </a:lnTo>
                  <a:lnTo>
                    <a:pt x="2118" y="928"/>
                  </a:lnTo>
                  <a:lnTo>
                    <a:pt x="2118" y="928"/>
                  </a:lnTo>
                  <a:lnTo>
                    <a:pt x="2118" y="928"/>
                  </a:lnTo>
                  <a:lnTo>
                    <a:pt x="2122" y="928"/>
                  </a:lnTo>
                  <a:lnTo>
                    <a:pt x="2122" y="926"/>
                  </a:lnTo>
                  <a:lnTo>
                    <a:pt x="2122" y="926"/>
                  </a:lnTo>
                  <a:lnTo>
                    <a:pt x="2124" y="924"/>
                  </a:lnTo>
                  <a:lnTo>
                    <a:pt x="2124" y="924"/>
                  </a:lnTo>
                  <a:lnTo>
                    <a:pt x="2124" y="922"/>
                  </a:lnTo>
                  <a:lnTo>
                    <a:pt x="2122" y="920"/>
                  </a:lnTo>
                  <a:lnTo>
                    <a:pt x="2122" y="918"/>
                  </a:lnTo>
                  <a:lnTo>
                    <a:pt x="2122" y="914"/>
                  </a:lnTo>
                  <a:lnTo>
                    <a:pt x="2120" y="910"/>
                  </a:lnTo>
                  <a:lnTo>
                    <a:pt x="2120" y="908"/>
                  </a:lnTo>
                  <a:lnTo>
                    <a:pt x="2120" y="904"/>
                  </a:lnTo>
                  <a:lnTo>
                    <a:pt x="2118" y="902"/>
                  </a:lnTo>
                  <a:lnTo>
                    <a:pt x="2120" y="902"/>
                  </a:lnTo>
                  <a:lnTo>
                    <a:pt x="2120" y="900"/>
                  </a:lnTo>
                  <a:lnTo>
                    <a:pt x="2120" y="900"/>
                  </a:lnTo>
                  <a:lnTo>
                    <a:pt x="2122" y="898"/>
                  </a:lnTo>
                  <a:lnTo>
                    <a:pt x="2124" y="896"/>
                  </a:lnTo>
                  <a:lnTo>
                    <a:pt x="2126" y="894"/>
                  </a:lnTo>
                  <a:lnTo>
                    <a:pt x="2128" y="892"/>
                  </a:lnTo>
                  <a:lnTo>
                    <a:pt x="2132" y="890"/>
                  </a:lnTo>
                  <a:lnTo>
                    <a:pt x="2130" y="890"/>
                  </a:lnTo>
                  <a:lnTo>
                    <a:pt x="2134" y="888"/>
                  </a:lnTo>
                  <a:lnTo>
                    <a:pt x="2134" y="888"/>
                  </a:lnTo>
                  <a:lnTo>
                    <a:pt x="2134" y="888"/>
                  </a:lnTo>
                  <a:lnTo>
                    <a:pt x="2138" y="888"/>
                  </a:lnTo>
                  <a:lnTo>
                    <a:pt x="2142" y="890"/>
                  </a:lnTo>
                  <a:lnTo>
                    <a:pt x="2142" y="890"/>
                  </a:lnTo>
                  <a:lnTo>
                    <a:pt x="2142" y="890"/>
                  </a:lnTo>
                  <a:lnTo>
                    <a:pt x="2144" y="890"/>
                  </a:lnTo>
                  <a:lnTo>
                    <a:pt x="2144" y="890"/>
                  </a:lnTo>
                  <a:lnTo>
                    <a:pt x="2144" y="888"/>
                  </a:lnTo>
                  <a:lnTo>
                    <a:pt x="2146" y="888"/>
                  </a:lnTo>
                  <a:lnTo>
                    <a:pt x="2146" y="888"/>
                  </a:lnTo>
                  <a:lnTo>
                    <a:pt x="2146" y="888"/>
                  </a:lnTo>
                  <a:lnTo>
                    <a:pt x="2148" y="886"/>
                  </a:lnTo>
                  <a:lnTo>
                    <a:pt x="2148" y="886"/>
                  </a:lnTo>
                  <a:lnTo>
                    <a:pt x="2148" y="886"/>
                  </a:lnTo>
                  <a:lnTo>
                    <a:pt x="2152" y="884"/>
                  </a:lnTo>
                  <a:lnTo>
                    <a:pt x="2154" y="880"/>
                  </a:lnTo>
                  <a:lnTo>
                    <a:pt x="2154" y="880"/>
                  </a:lnTo>
                  <a:lnTo>
                    <a:pt x="2154" y="880"/>
                  </a:lnTo>
                  <a:lnTo>
                    <a:pt x="2154" y="878"/>
                  </a:lnTo>
                  <a:lnTo>
                    <a:pt x="2154" y="878"/>
                  </a:lnTo>
                  <a:lnTo>
                    <a:pt x="2154" y="878"/>
                  </a:lnTo>
                  <a:lnTo>
                    <a:pt x="2156" y="874"/>
                  </a:lnTo>
                  <a:lnTo>
                    <a:pt x="2156" y="874"/>
                  </a:lnTo>
                  <a:lnTo>
                    <a:pt x="2156" y="872"/>
                  </a:lnTo>
                  <a:lnTo>
                    <a:pt x="2156" y="868"/>
                  </a:lnTo>
                  <a:lnTo>
                    <a:pt x="2154" y="864"/>
                  </a:lnTo>
                  <a:lnTo>
                    <a:pt x="2154" y="860"/>
                  </a:lnTo>
                  <a:lnTo>
                    <a:pt x="2154" y="856"/>
                  </a:lnTo>
                  <a:lnTo>
                    <a:pt x="2154" y="852"/>
                  </a:lnTo>
                  <a:lnTo>
                    <a:pt x="2154" y="852"/>
                  </a:lnTo>
                  <a:lnTo>
                    <a:pt x="2154" y="850"/>
                  </a:lnTo>
                  <a:lnTo>
                    <a:pt x="2154" y="850"/>
                  </a:lnTo>
                  <a:lnTo>
                    <a:pt x="2156" y="850"/>
                  </a:lnTo>
                  <a:lnTo>
                    <a:pt x="2158" y="852"/>
                  </a:lnTo>
                  <a:lnTo>
                    <a:pt x="2162" y="852"/>
                  </a:lnTo>
                  <a:lnTo>
                    <a:pt x="2166" y="852"/>
                  </a:lnTo>
                  <a:lnTo>
                    <a:pt x="2168" y="852"/>
                  </a:lnTo>
                  <a:lnTo>
                    <a:pt x="2168" y="852"/>
                  </a:lnTo>
                  <a:lnTo>
                    <a:pt x="2170" y="852"/>
                  </a:lnTo>
                  <a:lnTo>
                    <a:pt x="2170" y="852"/>
                  </a:lnTo>
                  <a:lnTo>
                    <a:pt x="2172" y="852"/>
                  </a:lnTo>
                  <a:lnTo>
                    <a:pt x="2174" y="852"/>
                  </a:lnTo>
                  <a:lnTo>
                    <a:pt x="2174" y="852"/>
                  </a:lnTo>
                  <a:lnTo>
                    <a:pt x="2174" y="850"/>
                  </a:lnTo>
                  <a:lnTo>
                    <a:pt x="2176" y="848"/>
                  </a:lnTo>
                  <a:lnTo>
                    <a:pt x="2176" y="848"/>
                  </a:lnTo>
                  <a:lnTo>
                    <a:pt x="2176" y="848"/>
                  </a:lnTo>
                  <a:lnTo>
                    <a:pt x="2176" y="846"/>
                  </a:lnTo>
                  <a:lnTo>
                    <a:pt x="2176" y="846"/>
                  </a:lnTo>
                  <a:lnTo>
                    <a:pt x="2176" y="846"/>
                  </a:lnTo>
                  <a:lnTo>
                    <a:pt x="2176" y="844"/>
                  </a:lnTo>
                  <a:lnTo>
                    <a:pt x="2176" y="840"/>
                  </a:lnTo>
                  <a:lnTo>
                    <a:pt x="2174" y="836"/>
                  </a:lnTo>
                  <a:lnTo>
                    <a:pt x="2174" y="830"/>
                  </a:lnTo>
                  <a:lnTo>
                    <a:pt x="2174" y="828"/>
                  </a:lnTo>
                  <a:lnTo>
                    <a:pt x="2174" y="828"/>
                  </a:lnTo>
                  <a:lnTo>
                    <a:pt x="2174" y="828"/>
                  </a:lnTo>
                  <a:lnTo>
                    <a:pt x="2172" y="824"/>
                  </a:lnTo>
                  <a:lnTo>
                    <a:pt x="2168" y="820"/>
                  </a:lnTo>
                  <a:lnTo>
                    <a:pt x="2168" y="818"/>
                  </a:lnTo>
                  <a:lnTo>
                    <a:pt x="2166" y="816"/>
                  </a:lnTo>
                  <a:lnTo>
                    <a:pt x="2166" y="814"/>
                  </a:lnTo>
                  <a:lnTo>
                    <a:pt x="2166" y="812"/>
                  </a:lnTo>
                  <a:lnTo>
                    <a:pt x="2166" y="812"/>
                  </a:lnTo>
                  <a:lnTo>
                    <a:pt x="2166" y="810"/>
                  </a:lnTo>
                  <a:lnTo>
                    <a:pt x="2168" y="808"/>
                  </a:lnTo>
                  <a:lnTo>
                    <a:pt x="2170" y="806"/>
                  </a:lnTo>
                  <a:lnTo>
                    <a:pt x="2172" y="804"/>
                  </a:lnTo>
                  <a:lnTo>
                    <a:pt x="2174" y="804"/>
                  </a:lnTo>
                  <a:lnTo>
                    <a:pt x="2174" y="804"/>
                  </a:lnTo>
                  <a:lnTo>
                    <a:pt x="2174" y="802"/>
                  </a:lnTo>
                  <a:lnTo>
                    <a:pt x="2174" y="802"/>
                  </a:lnTo>
                  <a:lnTo>
                    <a:pt x="2174" y="802"/>
                  </a:lnTo>
                  <a:lnTo>
                    <a:pt x="2174" y="800"/>
                  </a:lnTo>
                  <a:lnTo>
                    <a:pt x="2174" y="800"/>
                  </a:lnTo>
                  <a:lnTo>
                    <a:pt x="2174" y="800"/>
                  </a:lnTo>
                  <a:lnTo>
                    <a:pt x="2174" y="798"/>
                  </a:lnTo>
                  <a:lnTo>
                    <a:pt x="2174" y="796"/>
                  </a:lnTo>
                  <a:lnTo>
                    <a:pt x="2172" y="796"/>
                  </a:lnTo>
                  <a:lnTo>
                    <a:pt x="2172" y="796"/>
                  </a:lnTo>
                  <a:lnTo>
                    <a:pt x="2172" y="796"/>
                  </a:lnTo>
                  <a:lnTo>
                    <a:pt x="2168" y="796"/>
                  </a:lnTo>
                  <a:lnTo>
                    <a:pt x="2166" y="796"/>
                  </a:lnTo>
                  <a:lnTo>
                    <a:pt x="2164" y="798"/>
                  </a:lnTo>
                  <a:lnTo>
                    <a:pt x="2160" y="798"/>
                  </a:lnTo>
                  <a:lnTo>
                    <a:pt x="2158" y="798"/>
                  </a:lnTo>
                  <a:lnTo>
                    <a:pt x="2158" y="798"/>
                  </a:lnTo>
                  <a:lnTo>
                    <a:pt x="2156" y="798"/>
                  </a:lnTo>
                  <a:lnTo>
                    <a:pt x="2156" y="798"/>
                  </a:lnTo>
                  <a:lnTo>
                    <a:pt x="2156" y="798"/>
                  </a:lnTo>
                  <a:lnTo>
                    <a:pt x="2156" y="794"/>
                  </a:lnTo>
                  <a:lnTo>
                    <a:pt x="2156" y="790"/>
                  </a:lnTo>
                  <a:lnTo>
                    <a:pt x="2156" y="786"/>
                  </a:lnTo>
                  <a:lnTo>
                    <a:pt x="2156" y="782"/>
                  </a:lnTo>
                  <a:lnTo>
                    <a:pt x="2156" y="780"/>
                  </a:lnTo>
                  <a:lnTo>
                    <a:pt x="2156" y="776"/>
                  </a:lnTo>
                  <a:lnTo>
                    <a:pt x="2158" y="774"/>
                  </a:lnTo>
                  <a:lnTo>
                    <a:pt x="2158" y="772"/>
                  </a:lnTo>
                  <a:lnTo>
                    <a:pt x="2160" y="770"/>
                  </a:lnTo>
                  <a:lnTo>
                    <a:pt x="2162" y="768"/>
                  </a:lnTo>
                  <a:lnTo>
                    <a:pt x="2164" y="766"/>
                  </a:lnTo>
                  <a:lnTo>
                    <a:pt x="2166" y="766"/>
                  </a:lnTo>
                  <a:lnTo>
                    <a:pt x="2168" y="766"/>
                  </a:lnTo>
                  <a:lnTo>
                    <a:pt x="2168" y="766"/>
                  </a:lnTo>
                  <a:lnTo>
                    <a:pt x="2168" y="770"/>
                  </a:lnTo>
                  <a:lnTo>
                    <a:pt x="2168" y="772"/>
                  </a:lnTo>
                  <a:lnTo>
                    <a:pt x="2168" y="772"/>
                  </a:lnTo>
                  <a:lnTo>
                    <a:pt x="2168" y="774"/>
                  </a:lnTo>
                  <a:lnTo>
                    <a:pt x="2168" y="774"/>
                  </a:lnTo>
                  <a:lnTo>
                    <a:pt x="2168" y="776"/>
                  </a:lnTo>
                  <a:lnTo>
                    <a:pt x="2170" y="776"/>
                  </a:lnTo>
                  <a:lnTo>
                    <a:pt x="2170" y="776"/>
                  </a:lnTo>
                  <a:lnTo>
                    <a:pt x="2172" y="778"/>
                  </a:lnTo>
                  <a:lnTo>
                    <a:pt x="2172" y="778"/>
                  </a:lnTo>
                  <a:lnTo>
                    <a:pt x="2172" y="778"/>
                  </a:lnTo>
                  <a:lnTo>
                    <a:pt x="2174" y="778"/>
                  </a:lnTo>
                  <a:lnTo>
                    <a:pt x="2176" y="778"/>
                  </a:lnTo>
                  <a:lnTo>
                    <a:pt x="2178" y="778"/>
                  </a:lnTo>
                  <a:lnTo>
                    <a:pt x="2182" y="778"/>
                  </a:lnTo>
                  <a:lnTo>
                    <a:pt x="2184" y="776"/>
                  </a:lnTo>
                  <a:lnTo>
                    <a:pt x="2188" y="776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2" y="772"/>
                  </a:lnTo>
                  <a:lnTo>
                    <a:pt x="2194" y="770"/>
                  </a:lnTo>
                  <a:lnTo>
                    <a:pt x="2194" y="770"/>
                  </a:lnTo>
                  <a:lnTo>
                    <a:pt x="2194" y="768"/>
                  </a:lnTo>
                  <a:lnTo>
                    <a:pt x="2194" y="766"/>
                  </a:lnTo>
                  <a:lnTo>
                    <a:pt x="2194" y="766"/>
                  </a:lnTo>
                  <a:lnTo>
                    <a:pt x="2194" y="764"/>
                  </a:lnTo>
                  <a:lnTo>
                    <a:pt x="2194" y="762"/>
                  </a:lnTo>
                  <a:lnTo>
                    <a:pt x="2194" y="762"/>
                  </a:lnTo>
                  <a:lnTo>
                    <a:pt x="2194" y="762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2" y="758"/>
                  </a:lnTo>
                  <a:lnTo>
                    <a:pt x="2192" y="758"/>
                  </a:lnTo>
                  <a:lnTo>
                    <a:pt x="2192" y="758"/>
                  </a:lnTo>
                  <a:lnTo>
                    <a:pt x="2190" y="756"/>
                  </a:lnTo>
                  <a:lnTo>
                    <a:pt x="2190" y="756"/>
                  </a:lnTo>
                  <a:lnTo>
                    <a:pt x="2190" y="756"/>
                  </a:lnTo>
                  <a:lnTo>
                    <a:pt x="2188" y="756"/>
                  </a:lnTo>
                  <a:lnTo>
                    <a:pt x="2188" y="756"/>
                  </a:lnTo>
                  <a:lnTo>
                    <a:pt x="2184" y="756"/>
                  </a:lnTo>
                  <a:lnTo>
                    <a:pt x="2180" y="758"/>
                  </a:lnTo>
                  <a:lnTo>
                    <a:pt x="2178" y="758"/>
                  </a:lnTo>
                  <a:lnTo>
                    <a:pt x="2178" y="758"/>
                  </a:lnTo>
                  <a:lnTo>
                    <a:pt x="2176" y="756"/>
                  </a:lnTo>
                  <a:lnTo>
                    <a:pt x="2174" y="756"/>
                  </a:lnTo>
                  <a:lnTo>
                    <a:pt x="2168" y="754"/>
                  </a:lnTo>
                  <a:lnTo>
                    <a:pt x="2166" y="754"/>
                  </a:lnTo>
                  <a:lnTo>
                    <a:pt x="2166" y="754"/>
                  </a:lnTo>
                  <a:lnTo>
                    <a:pt x="2166" y="752"/>
                  </a:lnTo>
                  <a:lnTo>
                    <a:pt x="2168" y="752"/>
                  </a:lnTo>
                  <a:lnTo>
                    <a:pt x="2172" y="750"/>
                  </a:lnTo>
                  <a:lnTo>
                    <a:pt x="2178" y="746"/>
                  </a:lnTo>
                  <a:lnTo>
                    <a:pt x="2182" y="744"/>
                  </a:lnTo>
                  <a:lnTo>
                    <a:pt x="2184" y="744"/>
                  </a:lnTo>
                  <a:lnTo>
                    <a:pt x="2190" y="742"/>
                  </a:lnTo>
                  <a:lnTo>
                    <a:pt x="2196" y="740"/>
                  </a:lnTo>
                  <a:lnTo>
                    <a:pt x="2202" y="738"/>
                  </a:lnTo>
                  <a:lnTo>
                    <a:pt x="2204" y="736"/>
                  </a:lnTo>
                  <a:lnTo>
                    <a:pt x="2204" y="736"/>
                  </a:lnTo>
                  <a:lnTo>
                    <a:pt x="2204" y="736"/>
                  </a:lnTo>
                  <a:lnTo>
                    <a:pt x="2206" y="736"/>
                  </a:lnTo>
                  <a:lnTo>
                    <a:pt x="2206" y="736"/>
                  </a:lnTo>
                  <a:lnTo>
                    <a:pt x="2208" y="734"/>
                  </a:lnTo>
                  <a:lnTo>
                    <a:pt x="2208" y="734"/>
                  </a:lnTo>
                  <a:lnTo>
                    <a:pt x="2208" y="734"/>
                  </a:lnTo>
                  <a:lnTo>
                    <a:pt x="2210" y="732"/>
                  </a:lnTo>
                  <a:lnTo>
                    <a:pt x="2210" y="730"/>
                  </a:lnTo>
                  <a:lnTo>
                    <a:pt x="2210" y="730"/>
                  </a:lnTo>
                  <a:lnTo>
                    <a:pt x="2212" y="730"/>
                  </a:lnTo>
                  <a:lnTo>
                    <a:pt x="2214" y="726"/>
                  </a:lnTo>
                  <a:lnTo>
                    <a:pt x="2214" y="724"/>
                  </a:lnTo>
                  <a:lnTo>
                    <a:pt x="2214" y="726"/>
                  </a:lnTo>
                  <a:lnTo>
                    <a:pt x="2214" y="728"/>
                  </a:lnTo>
                  <a:lnTo>
                    <a:pt x="2216" y="730"/>
                  </a:lnTo>
                  <a:lnTo>
                    <a:pt x="2216" y="730"/>
                  </a:lnTo>
                  <a:lnTo>
                    <a:pt x="2216" y="730"/>
                  </a:lnTo>
                  <a:lnTo>
                    <a:pt x="2216" y="732"/>
                  </a:lnTo>
                  <a:lnTo>
                    <a:pt x="2216" y="732"/>
                  </a:lnTo>
                  <a:lnTo>
                    <a:pt x="2218" y="734"/>
                  </a:lnTo>
                  <a:lnTo>
                    <a:pt x="2218" y="734"/>
                  </a:lnTo>
                  <a:lnTo>
                    <a:pt x="2218" y="734"/>
                  </a:lnTo>
                  <a:lnTo>
                    <a:pt x="2220" y="734"/>
                  </a:lnTo>
                  <a:lnTo>
                    <a:pt x="2222" y="734"/>
                  </a:lnTo>
                  <a:lnTo>
                    <a:pt x="2222" y="734"/>
                  </a:lnTo>
                  <a:lnTo>
                    <a:pt x="2222" y="734"/>
                  </a:lnTo>
                  <a:lnTo>
                    <a:pt x="2224" y="734"/>
                  </a:lnTo>
                  <a:lnTo>
                    <a:pt x="2224" y="734"/>
                  </a:lnTo>
                  <a:lnTo>
                    <a:pt x="2226" y="734"/>
                  </a:lnTo>
                  <a:lnTo>
                    <a:pt x="2228" y="732"/>
                  </a:lnTo>
                  <a:lnTo>
                    <a:pt x="2230" y="732"/>
                  </a:lnTo>
                  <a:lnTo>
                    <a:pt x="2236" y="728"/>
                  </a:lnTo>
                  <a:lnTo>
                    <a:pt x="2238" y="726"/>
                  </a:lnTo>
                  <a:lnTo>
                    <a:pt x="2240" y="726"/>
                  </a:lnTo>
                  <a:lnTo>
                    <a:pt x="2238" y="726"/>
                  </a:lnTo>
                  <a:lnTo>
                    <a:pt x="2242" y="724"/>
                  </a:lnTo>
                  <a:lnTo>
                    <a:pt x="2246" y="724"/>
                  </a:lnTo>
                  <a:lnTo>
                    <a:pt x="2250" y="724"/>
                  </a:lnTo>
                  <a:lnTo>
                    <a:pt x="2254" y="724"/>
                  </a:lnTo>
                  <a:lnTo>
                    <a:pt x="2258" y="724"/>
                  </a:lnTo>
                  <a:lnTo>
                    <a:pt x="2260" y="724"/>
                  </a:lnTo>
                  <a:lnTo>
                    <a:pt x="2262" y="724"/>
                  </a:lnTo>
                  <a:lnTo>
                    <a:pt x="2264" y="724"/>
                  </a:lnTo>
                  <a:lnTo>
                    <a:pt x="2264" y="724"/>
                  </a:lnTo>
                  <a:lnTo>
                    <a:pt x="2264" y="726"/>
                  </a:lnTo>
                  <a:lnTo>
                    <a:pt x="2266" y="726"/>
                  </a:lnTo>
                  <a:lnTo>
                    <a:pt x="2266" y="730"/>
                  </a:lnTo>
                  <a:lnTo>
                    <a:pt x="2266" y="732"/>
                  </a:lnTo>
                  <a:lnTo>
                    <a:pt x="2268" y="734"/>
                  </a:lnTo>
                  <a:lnTo>
                    <a:pt x="2268" y="736"/>
                  </a:lnTo>
                  <a:lnTo>
                    <a:pt x="2268" y="736"/>
                  </a:lnTo>
                  <a:lnTo>
                    <a:pt x="2268" y="738"/>
                  </a:lnTo>
                  <a:lnTo>
                    <a:pt x="2270" y="738"/>
                  </a:lnTo>
                  <a:lnTo>
                    <a:pt x="2270" y="738"/>
                  </a:lnTo>
                  <a:lnTo>
                    <a:pt x="2272" y="738"/>
                  </a:lnTo>
                  <a:lnTo>
                    <a:pt x="2272" y="738"/>
                  </a:lnTo>
                  <a:lnTo>
                    <a:pt x="2272" y="738"/>
                  </a:lnTo>
                  <a:lnTo>
                    <a:pt x="2274" y="738"/>
                  </a:lnTo>
                  <a:lnTo>
                    <a:pt x="2274" y="738"/>
                  </a:lnTo>
                  <a:lnTo>
                    <a:pt x="2274" y="738"/>
                  </a:lnTo>
                  <a:lnTo>
                    <a:pt x="2276" y="736"/>
                  </a:lnTo>
                  <a:lnTo>
                    <a:pt x="2276" y="736"/>
                  </a:lnTo>
                  <a:lnTo>
                    <a:pt x="2276" y="734"/>
                  </a:lnTo>
                  <a:lnTo>
                    <a:pt x="2278" y="730"/>
                  </a:lnTo>
                  <a:lnTo>
                    <a:pt x="2278" y="730"/>
                  </a:lnTo>
                  <a:lnTo>
                    <a:pt x="2280" y="728"/>
                  </a:lnTo>
                  <a:lnTo>
                    <a:pt x="2280" y="728"/>
                  </a:lnTo>
                  <a:lnTo>
                    <a:pt x="2282" y="728"/>
                  </a:lnTo>
                  <a:lnTo>
                    <a:pt x="2284" y="726"/>
                  </a:lnTo>
                  <a:lnTo>
                    <a:pt x="2286" y="726"/>
                  </a:lnTo>
                  <a:lnTo>
                    <a:pt x="2286" y="726"/>
                  </a:lnTo>
                  <a:lnTo>
                    <a:pt x="2286" y="726"/>
                  </a:lnTo>
                  <a:lnTo>
                    <a:pt x="2288" y="724"/>
                  </a:lnTo>
                  <a:lnTo>
                    <a:pt x="2288" y="724"/>
                  </a:lnTo>
                  <a:lnTo>
                    <a:pt x="2292" y="722"/>
                  </a:lnTo>
                  <a:lnTo>
                    <a:pt x="2294" y="720"/>
                  </a:lnTo>
                  <a:lnTo>
                    <a:pt x="2298" y="714"/>
                  </a:lnTo>
                  <a:lnTo>
                    <a:pt x="2304" y="708"/>
                  </a:lnTo>
                  <a:lnTo>
                    <a:pt x="2308" y="704"/>
                  </a:lnTo>
                  <a:lnTo>
                    <a:pt x="2312" y="700"/>
                  </a:lnTo>
                  <a:lnTo>
                    <a:pt x="2316" y="694"/>
                  </a:lnTo>
                  <a:lnTo>
                    <a:pt x="2318" y="692"/>
                  </a:lnTo>
                  <a:lnTo>
                    <a:pt x="2322" y="690"/>
                  </a:lnTo>
                  <a:lnTo>
                    <a:pt x="2324" y="688"/>
                  </a:lnTo>
                  <a:lnTo>
                    <a:pt x="2328" y="684"/>
                  </a:lnTo>
                  <a:lnTo>
                    <a:pt x="2332" y="682"/>
                  </a:lnTo>
                  <a:lnTo>
                    <a:pt x="2334" y="682"/>
                  </a:lnTo>
                  <a:lnTo>
                    <a:pt x="2340" y="678"/>
                  </a:lnTo>
                  <a:lnTo>
                    <a:pt x="2348" y="674"/>
                  </a:lnTo>
                  <a:lnTo>
                    <a:pt x="2356" y="672"/>
                  </a:lnTo>
                  <a:lnTo>
                    <a:pt x="2362" y="668"/>
                  </a:lnTo>
                  <a:lnTo>
                    <a:pt x="2370" y="664"/>
                  </a:lnTo>
                  <a:lnTo>
                    <a:pt x="2376" y="662"/>
                  </a:lnTo>
                  <a:lnTo>
                    <a:pt x="2378" y="660"/>
                  </a:lnTo>
                  <a:lnTo>
                    <a:pt x="2386" y="658"/>
                  </a:lnTo>
                  <a:lnTo>
                    <a:pt x="2386" y="656"/>
                  </a:lnTo>
                  <a:lnTo>
                    <a:pt x="2388" y="656"/>
                  </a:lnTo>
                  <a:lnTo>
                    <a:pt x="2388" y="656"/>
                  </a:lnTo>
                  <a:lnTo>
                    <a:pt x="2388" y="656"/>
                  </a:lnTo>
                  <a:lnTo>
                    <a:pt x="2390" y="656"/>
                  </a:lnTo>
                  <a:lnTo>
                    <a:pt x="2392" y="658"/>
                  </a:lnTo>
                  <a:lnTo>
                    <a:pt x="2394" y="658"/>
                  </a:lnTo>
                  <a:lnTo>
                    <a:pt x="2400" y="660"/>
                  </a:lnTo>
                  <a:lnTo>
                    <a:pt x="2402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8" y="664"/>
                  </a:lnTo>
                  <a:lnTo>
                    <a:pt x="2408" y="664"/>
                  </a:lnTo>
                  <a:lnTo>
                    <a:pt x="2410" y="662"/>
                  </a:lnTo>
                  <a:lnTo>
                    <a:pt x="2410" y="662"/>
                  </a:lnTo>
                  <a:lnTo>
                    <a:pt x="2410" y="662"/>
                  </a:lnTo>
                  <a:lnTo>
                    <a:pt x="2412" y="662"/>
                  </a:lnTo>
                  <a:lnTo>
                    <a:pt x="2412" y="662"/>
                  </a:lnTo>
                  <a:lnTo>
                    <a:pt x="2414" y="660"/>
                  </a:lnTo>
                  <a:lnTo>
                    <a:pt x="2414" y="660"/>
                  </a:lnTo>
                  <a:lnTo>
                    <a:pt x="2414" y="660"/>
                  </a:lnTo>
                  <a:lnTo>
                    <a:pt x="2416" y="658"/>
                  </a:lnTo>
                  <a:lnTo>
                    <a:pt x="2416" y="656"/>
                  </a:lnTo>
                  <a:lnTo>
                    <a:pt x="2418" y="654"/>
                  </a:lnTo>
                  <a:lnTo>
                    <a:pt x="2420" y="648"/>
                  </a:lnTo>
                  <a:lnTo>
                    <a:pt x="2420" y="644"/>
                  </a:lnTo>
                  <a:lnTo>
                    <a:pt x="2422" y="642"/>
                  </a:lnTo>
                  <a:lnTo>
                    <a:pt x="2422" y="642"/>
                  </a:lnTo>
                  <a:lnTo>
                    <a:pt x="2422" y="642"/>
                  </a:lnTo>
                  <a:lnTo>
                    <a:pt x="2420" y="640"/>
                  </a:lnTo>
                  <a:lnTo>
                    <a:pt x="2420" y="640"/>
                  </a:lnTo>
                  <a:lnTo>
                    <a:pt x="2420" y="638"/>
                  </a:lnTo>
                  <a:lnTo>
                    <a:pt x="2420" y="638"/>
                  </a:lnTo>
                  <a:lnTo>
                    <a:pt x="2420" y="638"/>
                  </a:lnTo>
                  <a:lnTo>
                    <a:pt x="2420" y="636"/>
                  </a:lnTo>
                  <a:lnTo>
                    <a:pt x="2418" y="636"/>
                  </a:lnTo>
                  <a:lnTo>
                    <a:pt x="2416" y="634"/>
                  </a:lnTo>
                  <a:lnTo>
                    <a:pt x="2414" y="630"/>
                  </a:lnTo>
                  <a:lnTo>
                    <a:pt x="2412" y="628"/>
                  </a:lnTo>
                  <a:lnTo>
                    <a:pt x="2410" y="626"/>
                  </a:lnTo>
                  <a:lnTo>
                    <a:pt x="2410" y="624"/>
                  </a:lnTo>
                  <a:lnTo>
                    <a:pt x="2408" y="622"/>
                  </a:lnTo>
                  <a:lnTo>
                    <a:pt x="2404" y="614"/>
                  </a:lnTo>
                  <a:lnTo>
                    <a:pt x="2404" y="612"/>
                  </a:lnTo>
                  <a:lnTo>
                    <a:pt x="2402" y="608"/>
                  </a:lnTo>
                  <a:lnTo>
                    <a:pt x="2400" y="604"/>
                  </a:lnTo>
                  <a:lnTo>
                    <a:pt x="2398" y="602"/>
                  </a:lnTo>
                  <a:lnTo>
                    <a:pt x="2398" y="600"/>
                  </a:lnTo>
                  <a:lnTo>
                    <a:pt x="2396" y="600"/>
                  </a:lnTo>
                  <a:lnTo>
                    <a:pt x="2396" y="600"/>
                  </a:lnTo>
                  <a:lnTo>
                    <a:pt x="2396" y="598"/>
                  </a:lnTo>
                  <a:lnTo>
                    <a:pt x="2394" y="596"/>
                  </a:lnTo>
                  <a:lnTo>
                    <a:pt x="2392" y="594"/>
                  </a:lnTo>
                  <a:lnTo>
                    <a:pt x="2390" y="592"/>
                  </a:lnTo>
                  <a:lnTo>
                    <a:pt x="2386" y="592"/>
                  </a:lnTo>
                  <a:lnTo>
                    <a:pt x="2386" y="592"/>
                  </a:lnTo>
                  <a:lnTo>
                    <a:pt x="2386" y="590"/>
                  </a:lnTo>
                  <a:lnTo>
                    <a:pt x="2384" y="590"/>
                  </a:lnTo>
                  <a:lnTo>
                    <a:pt x="2382" y="588"/>
                  </a:lnTo>
                  <a:lnTo>
                    <a:pt x="2382" y="588"/>
                  </a:lnTo>
                  <a:lnTo>
                    <a:pt x="2380" y="584"/>
                  </a:lnTo>
                  <a:lnTo>
                    <a:pt x="2378" y="582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8" y="578"/>
                  </a:lnTo>
                  <a:lnTo>
                    <a:pt x="2382" y="576"/>
                  </a:lnTo>
                  <a:lnTo>
                    <a:pt x="2382" y="576"/>
                  </a:lnTo>
                  <a:lnTo>
                    <a:pt x="2384" y="576"/>
                  </a:lnTo>
                  <a:lnTo>
                    <a:pt x="2384" y="578"/>
                  </a:lnTo>
                  <a:lnTo>
                    <a:pt x="2384" y="578"/>
                  </a:lnTo>
                  <a:lnTo>
                    <a:pt x="2386" y="580"/>
                  </a:lnTo>
                  <a:lnTo>
                    <a:pt x="2388" y="584"/>
                  </a:lnTo>
                  <a:lnTo>
                    <a:pt x="2388" y="584"/>
                  </a:lnTo>
                  <a:lnTo>
                    <a:pt x="2390" y="584"/>
                  </a:lnTo>
                  <a:lnTo>
                    <a:pt x="2390" y="584"/>
                  </a:lnTo>
                  <a:lnTo>
                    <a:pt x="2390" y="584"/>
                  </a:lnTo>
                  <a:lnTo>
                    <a:pt x="2392" y="586"/>
                  </a:lnTo>
                  <a:lnTo>
                    <a:pt x="2394" y="586"/>
                  </a:lnTo>
                  <a:lnTo>
                    <a:pt x="2394" y="586"/>
                  </a:lnTo>
                  <a:lnTo>
                    <a:pt x="2394" y="586"/>
                  </a:lnTo>
                  <a:lnTo>
                    <a:pt x="2396" y="586"/>
                  </a:lnTo>
                  <a:lnTo>
                    <a:pt x="2400" y="586"/>
                  </a:lnTo>
                  <a:lnTo>
                    <a:pt x="2406" y="586"/>
                  </a:lnTo>
                  <a:lnTo>
                    <a:pt x="2412" y="584"/>
                  </a:lnTo>
                  <a:lnTo>
                    <a:pt x="2414" y="584"/>
                  </a:lnTo>
                  <a:lnTo>
                    <a:pt x="2416" y="582"/>
                  </a:lnTo>
                  <a:lnTo>
                    <a:pt x="2416" y="582"/>
                  </a:lnTo>
                  <a:lnTo>
                    <a:pt x="2418" y="582"/>
                  </a:lnTo>
                  <a:lnTo>
                    <a:pt x="2420" y="580"/>
                  </a:lnTo>
                  <a:lnTo>
                    <a:pt x="2420" y="580"/>
                  </a:lnTo>
                  <a:lnTo>
                    <a:pt x="2420" y="580"/>
                  </a:lnTo>
                  <a:lnTo>
                    <a:pt x="2422" y="578"/>
                  </a:lnTo>
                  <a:lnTo>
                    <a:pt x="2424" y="576"/>
                  </a:lnTo>
                  <a:lnTo>
                    <a:pt x="2424" y="572"/>
                  </a:lnTo>
                  <a:lnTo>
                    <a:pt x="2426" y="570"/>
                  </a:lnTo>
                  <a:lnTo>
                    <a:pt x="2426" y="570"/>
                  </a:lnTo>
                  <a:lnTo>
                    <a:pt x="2426" y="570"/>
                  </a:lnTo>
                  <a:lnTo>
                    <a:pt x="2426" y="566"/>
                  </a:lnTo>
                  <a:lnTo>
                    <a:pt x="2428" y="564"/>
                  </a:lnTo>
                  <a:lnTo>
                    <a:pt x="2428" y="562"/>
                  </a:lnTo>
                  <a:lnTo>
                    <a:pt x="2428" y="560"/>
                  </a:lnTo>
                  <a:lnTo>
                    <a:pt x="2430" y="560"/>
                  </a:lnTo>
                  <a:lnTo>
                    <a:pt x="2432" y="558"/>
                  </a:lnTo>
                  <a:lnTo>
                    <a:pt x="2432" y="558"/>
                  </a:lnTo>
                  <a:lnTo>
                    <a:pt x="2432" y="558"/>
                  </a:lnTo>
                  <a:lnTo>
                    <a:pt x="2432" y="556"/>
                  </a:lnTo>
                  <a:lnTo>
                    <a:pt x="2432" y="556"/>
                  </a:lnTo>
                  <a:lnTo>
                    <a:pt x="2432" y="556"/>
                  </a:lnTo>
                  <a:lnTo>
                    <a:pt x="2432" y="558"/>
                  </a:lnTo>
                  <a:lnTo>
                    <a:pt x="2434" y="560"/>
                  </a:lnTo>
                  <a:lnTo>
                    <a:pt x="2434" y="560"/>
                  </a:lnTo>
                  <a:lnTo>
                    <a:pt x="2434" y="560"/>
                  </a:lnTo>
                  <a:lnTo>
                    <a:pt x="2436" y="562"/>
                  </a:lnTo>
                  <a:lnTo>
                    <a:pt x="2436" y="562"/>
                  </a:lnTo>
                  <a:lnTo>
                    <a:pt x="2436" y="562"/>
                  </a:lnTo>
                  <a:lnTo>
                    <a:pt x="2438" y="562"/>
                  </a:lnTo>
                  <a:lnTo>
                    <a:pt x="2438" y="562"/>
                  </a:lnTo>
                  <a:lnTo>
                    <a:pt x="2440" y="564"/>
                  </a:lnTo>
                  <a:lnTo>
                    <a:pt x="2442" y="564"/>
                  </a:lnTo>
                  <a:lnTo>
                    <a:pt x="2444" y="564"/>
                  </a:lnTo>
                  <a:lnTo>
                    <a:pt x="2450" y="562"/>
                  </a:lnTo>
                  <a:lnTo>
                    <a:pt x="2452" y="562"/>
                  </a:lnTo>
                  <a:lnTo>
                    <a:pt x="2456" y="562"/>
                  </a:lnTo>
                  <a:lnTo>
                    <a:pt x="2458" y="562"/>
                  </a:lnTo>
                  <a:lnTo>
                    <a:pt x="2458" y="562"/>
                  </a:lnTo>
                  <a:lnTo>
                    <a:pt x="2458" y="562"/>
                  </a:lnTo>
                  <a:lnTo>
                    <a:pt x="2460" y="560"/>
                  </a:lnTo>
                  <a:lnTo>
                    <a:pt x="2460" y="560"/>
                  </a:lnTo>
                  <a:lnTo>
                    <a:pt x="2460" y="560"/>
                  </a:lnTo>
                  <a:lnTo>
                    <a:pt x="2462" y="558"/>
                  </a:lnTo>
                  <a:lnTo>
                    <a:pt x="2466" y="556"/>
                  </a:lnTo>
                  <a:lnTo>
                    <a:pt x="2466" y="556"/>
                  </a:lnTo>
                  <a:lnTo>
                    <a:pt x="2466" y="556"/>
                  </a:lnTo>
                  <a:lnTo>
                    <a:pt x="2468" y="556"/>
                  </a:lnTo>
                  <a:lnTo>
                    <a:pt x="2472" y="556"/>
                  </a:lnTo>
                  <a:lnTo>
                    <a:pt x="2472" y="556"/>
                  </a:lnTo>
                  <a:lnTo>
                    <a:pt x="2474" y="556"/>
                  </a:lnTo>
                  <a:lnTo>
                    <a:pt x="2474" y="556"/>
                  </a:lnTo>
                  <a:lnTo>
                    <a:pt x="2474" y="558"/>
                  </a:lnTo>
                  <a:lnTo>
                    <a:pt x="2474" y="560"/>
                  </a:lnTo>
                  <a:lnTo>
                    <a:pt x="2472" y="564"/>
                  </a:lnTo>
                  <a:lnTo>
                    <a:pt x="2470" y="566"/>
                  </a:lnTo>
                  <a:lnTo>
                    <a:pt x="2470" y="570"/>
                  </a:lnTo>
                  <a:lnTo>
                    <a:pt x="2470" y="570"/>
                  </a:lnTo>
                  <a:lnTo>
                    <a:pt x="2470" y="572"/>
                  </a:lnTo>
                  <a:lnTo>
                    <a:pt x="2470" y="572"/>
                  </a:lnTo>
                  <a:lnTo>
                    <a:pt x="2470" y="572"/>
                  </a:lnTo>
                  <a:lnTo>
                    <a:pt x="2470" y="574"/>
                  </a:lnTo>
                  <a:lnTo>
                    <a:pt x="2470" y="574"/>
                  </a:lnTo>
                  <a:lnTo>
                    <a:pt x="2470" y="576"/>
                  </a:lnTo>
                  <a:lnTo>
                    <a:pt x="2472" y="578"/>
                  </a:lnTo>
                  <a:lnTo>
                    <a:pt x="2472" y="578"/>
                  </a:lnTo>
                  <a:lnTo>
                    <a:pt x="2472" y="578"/>
                  </a:lnTo>
                  <a:lnTo>
                    <a:pt x="2474" y="578"/>
                  </a:lnTo>
                  <a:lnTo>
                    <a:pt x="2474" y="578"/>
                  </a:lnTo>
                  <a:lnTo>
                    <a:pt x="2476" y="580"/>
                  </a:lnTo>
                  <a:lnTo>
                    <a:pt x="2478" y="580"/>
                  </a:lnTo>
                  <a:lnTo>
                    <a:pt x="2480" y="580"/>
                  </a:lnTo>
                  <a:lnTo>
                    <a:pt x="2486" y="580"/>
                  </a:lnTo>
                  <a:lnTo>
                    <a:pt x="2488" y="580"/>
                  </a:lnTo>
                  <a:lnTo>
                    <a:pt x="2490" y="582"/>
                  </a:lnTo>
                  <a:lnTo>
                    <a:pt x="2492" y="582"/>
                  </a:lnTo>
                  <a:lnTo>
                    <a:pt x="2492" y="584"/>
                  </a:lnTo>
                  <a:lnTo>
                    <a:pt x="2494" y="588"/>
                  </a:lnTo>
                  <a:lnTo>
                    <a:pt x="2496" y="592"/>
                  </a:lnTo>
                  <a:lnTo>
                    <a:pt x="2498" y="594"/>
                  </a:lnTo>
                  <a:lnTo>
                    <a:pt x="2500" y="596"/>
                  </a:lnTo>
                  <a:lnTo>
                    <a:pt x="2500" y="596"/>
                  </a:lnTo>
                  <a:lnTo>
                    <a:pt x="2500" y="596"/>
                  </a:lnTo>
                  <a:lnTo>
                    <a:pt x="2502" y="598"/>
                  </a:lnTo>
                  <a:lnTo>
                    <a:pt x="2504" y="600"/>
                  </a:lnTo>
                  <a:lnTo>
                    <a:pt x="2510" y="602"/>
                  </a:lnTo>
                  <a:lnTo>
                    <a:pt x="2512" y="604"/>
                  </a:lnTo>
                  <a:lnTo>
                    <a:pt x="2514" y="604"/>
                  </a:lnTo>
                  <a:lnTo>
                    <a:pt x="2514" y="604"/>
                  </a:lnTo>
                  <a:lnTo>
                    <a:pt x="2516" y="604"/>
                  </a:lnTo>
                  <a:lnTo>
                    <a:pt x="2516" y="604"/>
                  </a:lnTo>
                  <a:lnTo>
                    <a:pt x="2518" y="604"/>
                  </a:lnTo>
                  <a:lnTo>
                    <a:pt x="2520" y="604"/>
                  </a:lnTo>
                  <a:lnTo>
                    <a:pt x="2520" y="604"/>
                  </a:lnTo>
                  <a:lnTo>
                    <a:pt x="2520" y="602"/>
                  </a:lnTo>
                  <a:lnTo>
                    <a:pt x="2522" y="602"/>
                  </a:lnTo>
                  <a:lnTo>
                    <a:pt x="2522" y="602"/>
                  </a:lnTo>
                  <a:lnTo>
                    <a:pt x="2522" y="600"/>
                  </a:lnTo>
                  <a:lnTo>
                    <a:pt x="2522" y="598"/>
                  </a:lnTo>
                  <a:lnTo>
                    <a:pt x="2522" y="596"/>
                  </a:lnTo>
                  <a:lnTo>
                    <a:pt x="2522" y="594"/>
                  </a:lnTo>
                  <a:lnTo>
                    <a:pt x="2522" y="588"/>
                  </a:lnTo>
                  <a:lnTo>
                    <a:pt x="2522" y="586"/>
                  </a:lnTo>
                  <a:lnTo>
                    <a:pt x="2522" y="586"/>
                  </a:lnTo>
                  <a:lnTo>
                    <a:pt x="2522" y="584"/>
                  </a:lnTo>
                  <a:lnTo>
                    <a:pt x="2522" y="584"/>
                  </a:lnTo>
                  <a:lnTo>
                    <a:pt x="2524" y="580"/>
                  </a:lnTo>
                  <a:lnTo>
                    <a:pt x="2526" y="578"/>
                  </a:lnTo>
                  <a:lnTo>
                    <a:pt x="2528" y="574"/>
                  </a:lnTo>
                  <a:lnTo>
                    <a:pt x="2530" y="570"/>
                  </a:lnTo>
                  <a:lnTo>
                    <a:pt x="2534" y="566"/>
                  </a:lnTo>
                  <a:lnTo>
                    <a:pt x="2536" y="562"/>
                  </a:lnTo>
                  <a:lnTo>
                    <a:pt x="2538" y="560"/>
                  </a:lnTo>
                  <a:lnTo>
                    <a:pt x="2538" y="560"/>
                  </a:lnTo>
                  <a:lnTo>
                    <a:pt x="2538" y="560"/>
                  </a:lnTo>
                  <a:lnTo>
                    <a:pt x="2540" y="558"/>
                  </a:lnTo>
                  <a:lnTo>
                    <a:pt x="2540" y="558"/>
                  </a:lnTo>
                  <a:lnTo>
                    <a:pt x="2540" y="556"/>
                  </a:lnTo>
                  <a:lnTo>
                    <a:pt x="2540" y="556"/>
                  </a:lnTo>
                  <a:lnTo>
                    <a:pt x="2540" y="556"/>
                  </a:lnTo>
                  <a:lnTo>
                    <a:pt x="2540" y="554"/>
                  </a:lnTo>
                  <a:lnTo>
                    <a:pt x="2542" y="554"/>
                  </a:lnTo>
                  <a:lnTo>
                    <a:pt x="2544" y="554"/>
                  </a:lnTo>
                  <a:lnTo>
                    <a:pt x="2548" y="556"/>
                  </a:lnTo>
                  <a:lnTo>
                    <a:pt x="2548" y="556"/>
                  </a:lnTo>
                  <a:lnTo>
                    <a:pt x="2548" y="556"/>
                  </a:lnTo>
                  <a:lnTo>
                    <a:pt x="2552" y="554"/>
                  </a:lnTo>
                  <a:lnTo>
                    <a:pt x="2552" y="554"/>
                  </a:lnTo>
                  <a:lnTo>
                    <a:pt x="2552" y="554"/>
                  </a:lnTo>
                  <a:lnTo>
                    <a:pt x="2554" y="554"/>
                  </a:lnTo>
                  <a:lnTo>
                    <a:pt x="2554" y="554"/>
                  </a:lnTo>
                  <a:lnTo>
                    <a:pt x="2556" y="554"/>
                  </a:lnTo>
                  <a:lnTo>
                    <a:pt x="2558" y="552"/>
                  </a:lnTo>
                  <a:lnTo>
                    <a:pt x="2558" y="552"/>
                  </a:lnTo>
                  <a:lnTo>
                    <a:pt x="2558" y="552"/>
                  </a:lnTo>
                  <a:lnTo>
                    <a:pt x="2560" y="550"/>
                  </a:lnTo>
                  <a:lnTo>
                    <a:pt x="2562" y="548"/>
                  </a:lnTo>
                  <a:lnTo>
                    <a:pt x="2564" y="546"/>
                  </a:lnTo>
                  <a:lnTo>
                    <a:pt x="2566" y="542"/>
                  </a:lnTo>
                  <a:lnTo>
                    <a:pt x="2566" y="542"/>
                  </a:lnTo>
                  <a:lnTo>
                    <a:pt x="2566" y="540"/>
                  </a:lnTo>
                  <a:lnTo>
                    <a:pt x="2566" y="538"/>
                  </a:lnTo>
                  <a:lnTo>
                    <a:pt x="2566" y="538"/>
                  </a:lnTo>
                  <a:lnTo>
                    <a:pt x="2566" y="538"/>
                  </a:lnTo>
                  <a:lnTo>
                    <a:pt x="2568" y="536"/>
                  </a:lnTo>
                  <a:lnTo>
                    <a:pt x="2568" y="536"/>
                  </a:lnTo>
                  <a:lnTo>
                    <a:pt x="2568" y="534"/>
                  </a:lnTo>
                  <a:lnTo>
                    <a:pt x="2568" y="534"/>
                  </a:lnTo>
                  <a:lnTo>
                    <a:pt x="2568" y="532"/>
                  </a:lnTo>
                  <a:lnTo>
                    <a:pt x="2568" y="530"/>
                  </a:lnTo>
                  <a:close/>
                  <a:moveTo>
                    <a:pt x="874" y="436"/>
                  </a:moveTo>
                  <a:lnTo>
                    <a:pt x="872" y="434"/>
                  </a:lnTo>
                  <a:lnTo>
                    <a:pt x="870" y="434"/>
                  </a:lnTo>
                  <a:lnTo>
                    <a:pt x="870" y="432"/>
                  </a:lnTo>
                  <a:lnTo>
                    <a:pt x="868" y="428"/>
                  </a:lnTo>
                  <a:lnTo>
                    <a:pt x="866" y="426"/>
                  </a:lnTo>
                  <a:lnTo>
                    <a:pt x="864" y="422"/>
                  </a:lnTo>
                  <a:lnTo>
                    <a:pt x="862" y="418"/>
                  </a:lnTo>
                  <a:lnTo>
                    <a:pt x="862" y="414"/>
                  </a:lnTo>
                  <a:lnTo>
                    <a:pt x="860" y="414"/>
                  </a:lnTo>
                  <a:lnTo>
                    <a:pt x="862" y="414"/>
                  </a:lnTo>
                  <a:lnTo>
                    <a:pt x="864" y="414"/>
                  </a:lnTo>
                  <a:lnTo>
                    <a:pt x="864" y="414"/>
                  </a:lnTo>
                  <a:lnTo>
                    <a:pt x="866" y="414"/>
                  </a:lnTo>
                  <a:lnTo>
                    <a:pt x="868" y="416"/>
                  </a:lnTo>
                  <a:lnTo>
                    <a:pt x="868" y="414"/>
                  </a:lnTo>
                  <a:lnTo>
                    <a:pt x="870" y="416"/>
                  </a:lnTo>
                  <a:lnTo>
                    <a:pt x="874" y="420"/>
                  </a:lnTo>
                  <a:lnTo>
                    <a:pt x="876" y="422"/>
                  </a:lnTo>
                  <a:lnTo>
                    <a:pt x="880" y="424"/>
                  </a:lnTo>
                  <a:lnTo>
                    <a:pt x="880" y="428"/>
                  </a:lnTo>
                  <a:lnTo>
                    <a:pt x="880" y="428"/>
                  </a:lnTo>
                  <a:lnTo>
                    <a:pt x="882" y="430"/>
                  </a:lnTo>
                  <a:lnTo>
                    <a:pt x="882" y="432"/>
                  </a:lnTo>
                  <a:lnTo>
                    <a:pt x="882" y="438"/>
                  </a:lnTo>
                  <a:lnTo>
                    <a:pt x="882" y="442"/>
                  </a:lnTo>
                  <a:lnTo>
                    <a:pt x="880" y="442"/>
                  </a:lnTo>
                  <a:lnTo>
                    <a:pt x="880" y="442"/>
                  </a:lnTo>
                  <a:lnTo>
                    <a:pt x="880" y="442"/>
                  </a:lnTo>
                  <a:lnTo>
                    <a:pt x="880" y="440"/>
                  </a:lnTo>
                  <a:lnTo>
                    <a:pt x="878" y="440"/>
                  </a:lnTo>
                  <a:lnTo>
                    <a:pt x="876" y="438"/>
                  </a:lnTo>
                  <a:lnTo>
                    <a:pt x="874" y="436"/>
                  </a:lnTo>
                  <a:close/>
                  <a:moveTo>
                    <a:pt x="886" y="474"/>
                  </a:moveTo>
                  <a:lnTo>
                    <a:pt x="882" y="472"/>
                  </a:lnTo>
                  <a:lnTo>
                    <a:pt x="880" y="470"/>
                  </a:lnTo>
                  <a:lnTo>
                    <a:pt x="878" y="466"/>
                  </a:lnTo>
                  <a:lnTo>
                    <a:pt x="880" y="468"/>
                  </a:lnTo>
                  <a:lnTo>
                    <a:pt x="878" y="466"/>
                  </a:lnTo>
                  <a:lnTo>
                    <a:pt x="878" y="464"/>
                  </a:lnTo>
                  <a:lnTo>
                    <a:pt x="878" y="462"/>
                  </a:lnTo>
                  <a:lnTo>
                    <a:pt x="878" y="458"/>
                  </a:lnTo>
                  <a:lnTo>
                    <a:pt x="880" y="456"/>
                  </a:lnTo>
                  <a:lnTo>
                    <a:pt x="880" y="450"/>
                  </a:lnTo>
                  <a:lnTo>
                    <a:pt x="880" y="452"/>
                  </a:lnTo>
                  <a:lnTo>
                    <a:pt x="880" y="454"/>
                  </a:lnTo>
                  <a:lnTo>
                    <a:pt x="882" y="456"/>
                  </a:lnTo>
                  <a:lnTo>
                    <a:pt x="882" y="458"/>
                  </a:lnTo>
                  <a:lnTo>
                    <a:pt x="882" y="460"/>
                  </a:lnTo>
                  <a:lnTo>
                    <a:pt x="882" y="462"/>
                  </a:lnTo>
                  <a:lnTo>
                    <a:pt x="884" y="466"/>
                  </a:lnTo>
                  <a:lnTo>
                    <a:pt x="884" y="468"/>
                  </a:lnTo>
                  <a:lnTo>
                    <a:pt x="886" y="472"/>
                  </a:lnTo>
                  <a:lnTo>
                    <a:pt x="886" y="474"/>
                  </a:lnTo>
                  <a:lnTo>
                    <a:pt x="886" y="474"/>
                  </a:lnTo>
                  <a:close/>
                  <a:moveTo>
                    <a:pt x="888" y="330"/>
                  </a:moveTo>
                  <a:lnTo>
                    <a:pt x="886" y="330"/>
                  </a:lnTo>
                  <a:lnTo>
                    <a:pt x="882" y="330"/>
                  </a:lnTo>
                  <a:lnTo>
                    <a:pt x="878" y="330"/>
                  </a:lnTo>
                  <a:lnTo>
                    <a:pt x="874" y="330"/>
                  </a:lnTo>
                  <a:lnTo>
                    <a:pt x="872" y="328"/>
                  </a:lnTo>
                  <a:lnTo>
                    <a:pt x="868" y="328"/>
                  </a:lnTo>
                  <a:lnTo>
                    <a:pt x="866" y="326"/>
                  </a:lnTo>
                  <a:lnTo>
                    <a:pt x="862" y="324"/>
                  </a:lnTo>
                  <a:lnTo>
                    <a:pt x="858" y="320"/>
                  </a:lnTo>
                  <a:lnTo>
                    <a:pt x="854" y="318"/>
                  </a:lnTo>
                  <a:lnTo>
                    <a:pt x="852" y="316"/>
                  </a:lnTo>
                  <a:lnTo>
                    <a:pt x="848" y="314"/>
                  </a:lnTo>
                  <a:lnTo>
                    <a:pt x="846" y="310"/>
                  </a:lnTo>
                  <a:lnTo>
                    <a:pt x="848" y="312"/>
                  </a:lnTo>
                  <a:lnTo>
                    <a:pt x="846" y="310"/>
                  </a:lnTo>
                  <a:lnTo>
                    <a:pt x="846" y="308"/>
                  </a:lnTo>
                  <a:lnTo>
                    <a:pt x="846" y="308"/>
                  </a:lnTo>
                  <a:lnTo>
                    <a:pt x="846" y="306"/>
                  </a:lnTo>
                  <a:lnTo>
                    <a:pt x="846" y="304"/>
                  </a:lnTo>
                  <a:lnTo>
                    <a:pt x="846" y="300"/>
                  </a:lnTo>
                  <a:lnTo>
                    <a:pt x="848" y="296"/>
                  </a:lnTo>
                  <a:lnTo>
                    <a:pt x="848" y="296"/>
                  </a:lnTo>
                  <a:lnTo>
                    <a:pt x="848" y="296"/>
                  </a:lnTo>
                  <a:lnTo>
                    <a:pt x="850" y="296"/>
                  </a:lnTo>
                  <a:lnTo>
                    <a:pt x="852" y="296"/>
                  </a:lnTo>
                  <a:lnTo>
                    <a:pt x="852" y="296"/>
                  </a:lnTo>
                  <a:lnTo>
                    <a:pt x="852" y="294"/>
                  </a:lnTo>
                  <a:lnTo>
                    <a:pt x="854" y="294"/>
                  </a:lnTo>
                  <a:lnTo>
                    <a:pt x="854" y="294"/>
                  </a:lnTo>
                  <a:lnTo>
                    <a:pt x="854" y="294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4" y="294"/>
                  </a:lnTo>
                  <a:lnTo>
                    <a:pt x="854" y="298"/>
                  </a:lnTo>
                  <a:lnTo>
                    <a:pt x="854" y="298"/>
                  </a:lnTo>
                  <a:lnTo>
                    <a:pt x="856" y="300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4"/>
                  </a:lnTo>
                  <a:lnTo>
                    <a:pt x="856" y="304"/>
                  </a:lnTo>
                  <a:lnTo>
                    <a:pt x="856" y="304"/>
                  </a:lnTo>
                  <a:lnTo>
                    <a:pt x="858" y="306"/>
                  </a:lnTo>
                  <a:lnTo>
                    <a:pt x="858" y="306"/>
                  </a:lnTo>
                  <a:lnTo>
                    <a:pt x="858" y="308"/>
                  </a:lnTo>
                  <a:lnTo>
                    <a:pt x="860" y="310"/>
                  </a:lnTo>
                  <a:lnTo>
                    <a:pt x="862" y="312"/>
                  </a:lnTo>
                  <a:lnTo>
                    <a:pt x="864" y="312"/>
                  </a:lnTo>
                  <a:lnTo>
                    <a:pt x="868" y="316"/>
                  </a:lnTo>
                  <a:lnTo>
                    <a:pt x="874" y="318"/>
                  </a:lnTo>
                  <a:lnTo>
                    <a:pt x="878" y="322"/>
                  </a:lnTo>
                  <a:lnTo>
                    <a:pt x="884" y="324"/>
                  </a:lnTo>
                  <a:lnTo>
                    <a:pt x="888" y="326"/>
                  </a:lnTo>
                  <a:lnTo>
                    <a:pt x="888" y="328"/>
                  </a:lnTo>
                  <a:lnTo>
                    <a:pt x="890" y="328"/>
                  </a:lnTo>
                  <a:lnTo>
                    <a:pt x="888" y="330"/>
                  </a:lnTo>
                  <a:close/>
                  <a:moveTo>
                    <a:pt x="966" y="316"/>
                  </a:moveTo>
                  <a:lnTo>
                    <a:pt x="966" y="320"/>
                  </a:lnTo>
                  <a:lnTo>
                    <a:pt x="966" y="322"/>
                  </a:lnTo>
                  <a:lnTo>
                    <a:pt x="966" y="330"/>
                  </a:lnTo>
                  <a:lnTo>
                    <a:pt x="966" y="332"/>
                  </a:lnTo>
                  <a:lnTo>
                    <a:pt x="964" y="334"/>
                  </a:lnTo>
                  <a:lnTo>
                    <a:pt x="964" y="336"/>
                  </a:lnTo>
                  <a:lnTo>
                    <a:pt x="964" y="336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2" y="338"/>
                  </a:lnTo>
                  <a:lnTo>
                    <a:pt x="960" y="338"/>
                  </a:lnTo>
                  <a:lnTo>
                    <a:pt x="958" y="336"/>
                  </a:lnTo>
                  <a:lnTo>
                    <a:pt x="956" y="336"/>
                  </a:lnTo>
                  <a:lnTo>
                    <a:pt x="954" y="334"/>
                  </a:lnTo>
                  <a:lnTo>
                    <a:pt x="954" y="334"/>
                  </a:lnTo>
                  <a:lnTo>
                    <a:pt x="952" y="332"/>
                  </a:lnTo>
                  <a:lnTo>
                    <a:pt x="952" y="332"/>
                  </a:lnTo>
                  <a:lnTo>
                    <a:pt x="952" y="330"/>
                  </a:lnTo>
                  <a:lnTo>
                    <a:pt x="952" y="328"/>
                  </a:lnTo>
                  <a:lnTo>
                    <a:pt x="952" y="324"/>
                  </a:lnTo>
                  <a:lnTo>
                    <a:pt x="952" y="322"/>
                  </a:lnTo>
                  <a:lnTo>
                    <a:pt x="952" y="322"/>
                  </a:lnTo>
                  <a:lnTo>
                    <a:pt x="954" y="320"/>
                  </a:lnTo>
                  <a:lnTo>
                    <a:pt x="956" y="320"/>
                  </a:lnTo>
                  <a:lnTo>
                    <a:pt x="960" y="318"/>
                  </a:lnTo>
                  <a:lnTo>
                    <a:pt x="962" y="316"/>
                  </a:lnTo>
                  <a:lnTo>
                    <a:pt x="964" y="316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6"/>
                  </a:lnTo>
                  <a:close/>
                  <a:moveTo>
                    <a:pt x="1746" y="118"/>
                  </a:moveTo>
                  <a:lnTo>
                    <a:pt x="1746" y="118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50" y="122"/>
                  </a:lnTo>
                  <a:lnTo>
                    <a:pt x="1750" y="122"/>
                  </a:lnTo>
                  <a:lnTo>
                    <a:pt x="1752" y="118"/>
                  </a:lnTo>
                  <a:lnTo>
                    <a:pt x="1752" y="118"/>
                  </a:lnTo>
                  <a:lnTo>
                    <a:pt x="1752" y="118"/>
                  </a:lnTo>
                  <a:lnTo>
                    <a:pt x="1756" y="118"/>
                  </a:lnTo>
                  <a:lnTo>
                    <a:pt x="1756" y="118"/>
                  </a:lnTo>
                  <a:lnTo>
                    <a:pt x="1756" y="118"/>
                  </a:lnTo>
                  <a:lnTo>
                    <a:pt x="1760" y="116"/>
                  </a:lnTo>
                  <a:lnTo>
                    <a:pt x="1760" y="116"/>
                  </a:lnTo>
                  <a:lnTo>
                    <a:pt x="1760" y="116"/>
                  </a:lnTo>
                  <a:lnTo>
                    <a:pt x="1762" y="114"/>
                  </a:lnTo>
                  <a:lnTo>
                    <a:pt x="1762" y="114"/>
                  </a:lnTo>
                  <a:lnTo>
                    <a:pt x="1764" y="112"/>
                  </a:lnTo>
                  <a:lnTo>
                    <a:pt x="1766" y="110"/>
                  </a:lnTo>
                  <a:lnTo>
                    <a:pt x="1766" y="110"/>
                  </a:lnTo>
                  <a:lnTo>
                    <a:pt x="1766" y="110"/>
                  </a:lnTo>
                  <a:lnTo>
                    <a:pt x="1766" y="106"/>
                  </a:lnTo>
                  <a:lnTo>
                    <a:pt x="1766" y="106"/>
                  </a:lnTo>
                  <a:lnTo>
                    <a:pt x="1766" y="106"/>
                  </a:lnTo>
                  <a:lnTo>
                    <a:pt x="1766" y="102"/>
                  </a:lnTo>
                  <a:lnTo>
                    <a:pt x="1766" y="102"/>
                  </a:lnTo>
                  <a:lnTo>
                    <a:pt x="1764" y="102"/>
                  </a:lnTo>
                  <a:lnTo>
                    <a:pt x="1762" y="98"/>
                  </a:lnTo>
                  <a:lnTo>
                    <a:pt x="1762" y="98"/>
                  </a:lnTo>
                  <a:lnTo>
                    <a:pt x="1762" y="96"/>
                  </a:lnTo>
                  <a:lnTo>
                    <a:pt x="1760" y="92"/>
                  </a:lnTo>
                  <a:lnTo>
                    <a:pt x="1760" y="90"/>
                  </a:lnTo>
                  <a:lnTo>
                    <a:pt x="1760" y="88"/>
                  </a:lnTo>
                  <a:lnTo>
                    <a:pt x="1760" y="88"/>
                  </a:lnTo>
                  <a:lnTo>
                    <a:pt x="1760" y="88"/>
                  </a:lnTo>
                  <a:lnTo>
                    <a:pt x="1758" y="86"/>
                  </a:lnTo>
                  <a:lnTo>
                    <a:pt x="1758" y="86"/>
                  </a:lnTo>
                  <a:lnTo>
                    <a:pt x="1758" y="84"/>
                  </a:lnTo>
                  <a:lnTo>
                    <a:pt x="1756" y="84"/>
                  </a:lnTo>
                  <a:lnTo>
                    <a:pt x="1756" y="84"/>
                  </a:lnTo>
                  <a:lnTo>
                    <a:pt x="1754" y="84"/>
                  </a:lnTo>
                  <a:lnTo>
                    <a:pt x="1752" y="86"/>
                  </a:lnTo>
                  <a:lnTo>
                    <a:pt x="1752" y="86"/>
                  </a:lnTo>
                  <a:lnTo>
                    <a:pt x="1752" y="86"/>
                  </a:lnTo>
                  <a:lnTo>
                    <a:pt x="1752" y="88"/>
                  </a:lnTo>
                  <a:lnTo>
                    <a:pt x="1752" y="90"/>
                  </a:lnTo>
                  <a:lnTo>
                    <a:pt x="1750" y="92"/>
                  </a:lnTo>
                  <a:lnTo>
                    <a:pt x="1750" y="98"/>
                  </a:lnTo>
                  <a:lnTo>
                    <a:pt x="1748" y="102"/>
                  </a:lnTo>
                  <a:lnTo>
                    <a:pt x="1746" y="108"/>
                  </a:lnTo>
                  <a:lnTo>
                    <a:pt x="1746" y="110"/>
                  </a:lnTo>
                  <a:lnTo>
                    <a:pt x="1746" y="112"/>
                  </a:lnTo>
                  <a:lnTo>
                    <a:pt x="1746" y="112"/>
                  </a:lnTo>
                  <a:lnTo>
                    <a:pt x="1746" y="114"/>
                  </a:lnTo>
                  <a:lnTo>
                    <a:pt x="1746" y="116"/>
                  </a:lnTo>
                  <a:lnTo>
                    <a:pt x="1746" y="118"/>
                  </a:lnTo>
                  <a:close/>
                  <a:moveTo>
                    <a:pt x="1942" y="36"/>
                  </a:moveTo>
                  <a:lnTo>
                    <a:pt x="1944" y="38"/>
                  </a:lnTo>
                  <a:lnTo>
                    <a:pt x="1944" y="38"/>
                  </a:lnTo>
                  <a:lnTo>
                    <a:pt x="1944" y="40"/>
                  </a:lnTo>
                  <a:lnTo>
                    <a:pt x="1946" y="40"/>
                  </a:lnTo>
                  <a:lnTo>
                    <a:pt x="1950" y="40"/>
                  </a:lnTo>
                  <a:lnTo>
                    <a:pt x="1954" y="40"/>
                  </a:lnTo>
                  <a:lnTo>
                    <a:pt x="1956" y="38"/>
                  </a:lnTo>
                  <a:lnTo>
                    <a:pt x="1960" y="38"/>
                  </a:lnTo>
                  <a:lnTo>
                    <a:pt x="1960" y="38"/>
                  </a:lnTo>
                  <a:lnTo>
                    <a:pt x="1960" y="38"/>
                  </a:lnTo>
                  <a:lnTo>
                    <a:pt x="1962" y="38"/>
                  </a:lnTo>
                  <a:lnTo>
                    <a:pt x="1962" y="38"/>
                  </a:lnTo>
                  <a:lnTo>
                    <a:pt x="1962" y="36"/>
                  </a:lnTo>
                  <a:lnTo>
                    <a:pt x="1964" y="36"/>
                  </a:lnTo>
                  <a:lnTo>
                    <a:pt x="1964" y="36"/>
                  </a:lnTo>
                  <a:lnTo>
                    <a:pt x="1964" y="36"/>
                  </a:lnTo>
                  <a:lnTo>
                    <a:pt x="1966" y="34"/>
                  </a:lnTo>
                  <a:lnTo>
                    <a:pt x="1966" y="34"/>
                  </a:lnTo>
                  <a:lnTo>
                    <a:pt x="1966" y="32"/>
                  </a:lnTo>
                  <a:lnTo>
                    <a:pt x="1968" y="30"/>
                  </a:lnTo>
                  <a:lnTo>
                    <a:pt x="1968" y="30"/>
                  </a:lnTo>
                  <a:lnTo>
                    <a:pt x="1968" y="28"/>
                  </a:lnTo>
                  <a:lnTo>
                    <a:pt x="1968" y="28"/>
                  </a:lnTo>
                  <a:lnTo>
                    <a:pt x="1968" y="26"/>
                  </a:lnTo>
                  <a:lnTo>
                    <a:pt x="1964" y="24"/>
                  </a:lnTo>
                  <a:lnTo>
                    <a:pt x="1964" y="24"/>
                  </a:lnTo>
                  <a:lnTo>
                    <a:pt x="1962" y="24"/>
                  </a:lnTo>
                  <a:lnTo>
                    <a:pt x="1958" y="24"/>
                  </a:lnTo>
                  <a:lnTo>
                    <a:pt x="1958" y="24"/>
                  </a:lnTo>
                  <a:lnTo>
                    <a:pt x="1958" y="24"/>
                  </a:lnTo>
                  <a:lnTo>
                    <a:pt x="1954" y="24"/>
                  </a:lnTo>
                  <a:lnTo>
                    <a:pt x="1954" y="24"/>
                  </a:lnTo>
                  <a:lnTo>
                    <a:pt x="1954" y="24"/>
                  </a:lnTo>
                  <a:lnTo>
                    <a:pt x="1950" y="24"/>
                  </a:lnTo>
                  <a:lnTo>
                    <a:pt x="1950" y="24"/>
                  </a:lnTo>
                  <a:lnTo>
                    <a:pt x="1950" y="24"/>
                  </a:lnTo>
                  <a:lnTo>
                    <a:pt x="1946" y="26"/>
                  </a:lnTo>
                  <a:lnTo>
                    <a:pt x="1946" y="26"/>
                  </a:lnTo>
                  <a:lnTo>
                    <a:pt x="1946" y="26"/>
                  </a:lnTo>
                  <a:lnTo>
                    <a:pt x="1944" y="30"/>
                  </a:lnTo>
                  <a:lnTo>
                    <a:pt x="1944" y="30"/>
                  </a:lnTo>
                  <a:lnTo>
                    <a:pt x="1944" y="30"/>
                  </a:lnTo>
                  <a:lnTo>
                    <a:pt x="1942" y="32"/>
                  </a:lnTo>
                  <a:lnTo>
                    <a:pt x="1942" y="32"/>
                  </a:lnTo>
                  <a:lnTo>
                    <a:pt x="1942" y="32"/>
                  </a:lnTo>
                  <a:lnTo>
                    <a:pt x="1942" y="34"/>
                  </a:lnTo>
                  <a:lnTo>
                    <a:pt x="1942" y="34"/>
                  </a:lnTo>
                  <a:lnTo>
                    <a:pt x="1942" y="34"/>
                  </a:lnTo>
                  <a:lnTo>
                    <a:pt x="1942" y="36"/>
                  </a:lnTo>
                  <a:lnTo>
                    <a:pt x="1942" y="36"/>
                  </a:lnTo>
                  <a:lnTo>
                    <a:pt x="1942" y="36"/>
                  </a:lnTo>
                  <a:lnTo>
                    <a:pt x="1942" y="36"/>
                  </a:lnTo>
                  <a:close/>
                  <a:moveTo>
                    <a:pt x="1764" y="180"/>
                  </a:moveTo>
                  <a:lnTo>
                    <a:pt x="1762" y="180"/>
                  </a:lnTo>
                  <a:lnTo>
                    <a:pt x="1762" y="180"/>
                  </a:lnTo>
                  <a:lnTo>
                    <a:pt x="1762" y="180"/>
                  </a:lnTo>
                  <a:lnTo>
                    <a:pt x="1760" y="178"/>
                  </a:lnTo>
                  <a:lnTo>
                    <a:pt x="1760" y="178"/>
                  </a:lnTo>
                  <a:lnTo>
                    <a:pt x="1760" y="178"/>
                  </a:lnTo>
                  <a:lnTo>
                    <a:pt x="1758" y="176"/>
                  </a:lnTo>
                  <a:lnTo>
                    <a:pt x="1758" y="176"/>
                  </a:lnTo>
                  <a:lnTo>
                    <a:pt x="1756" y="176"/>
                  </a:lnTo>
                  <a:lnTo>
                    <a:pt x="1754" y="176"/>
                  </a:lnTo>
                  <a:lnTo>
                    <a:pt x="1754" y="176"/>
                  </a:lnTo>
                  <a:lnTo>
                    <a:pt x="1752" y="176"/>
                  </a:lnTo>
                  <a:lnTo>
                    <a:pt x="1748" y="178"/>
                  </a:lnTo>
                  <a:lnTo>
                    <a:pt x="1748" y="178"/>
                  </a:lnTo>
                  <a:lnTo>
                    <a:pt x="1748" y="178"/>
                  </a:lnTo>
                  <a:lnTo>
                    <a:pt x="1748" y="180"/>
                  </a:lnTo>
                  <a:lnTo>
                    <a:pt x="1748" y="180"/>
                  </a:lnTo>
                  <a:lnTo>
                    <a:pt x="1746" y="182"/>
                  </a:lnTo>
                  <a:lnTo>
                    <a:pt x="1746" y="182"/>
                  </a:lnTo>
                  <a:lnTo>
                    <a:pt x="1746" y="182"/>
                  </a:lnTo>
                  <a:lnTo>
                    <a:pt x="1746" y="184"/>
                  </a:lnTo>
                  <a:lnTo>
                    <a:pt x="1746" y="184"/>
                  </a:lnTo>
                  <a:lnTo>
                    <a:pt x="1746" y="184"/>
                  </a:lnTo>
                  <a:lnTo>
                    <a:pt x="1746" y="186"/>
                  </a:lnTo>
                  <a:lnTo>
                    <a:pt x="1748" y="188"/>
                  </a:lnTo>
                  <a:lnTo>
                    <a:pt x="1748" y="188"/>
                  </a:lnTo>
                  <a:lnTo>
                    <a:pt x="1748" y="188"/>
                  </a:lnTo>
                  <a:lnTo>
                    <a:pt x="1748" y="190"/>
                  </a:lnTo>
                  <a:lnTo>
                    <a:pt x="1750" y="192"/>
                  </a:lnTo>
                  <a:lnTo>
                    <a:pt x="1752" y="194"/>
                  </a:lnTo>
                  <a:lnTo>
                    <a:pt x="1752" y="194"/>
                  </a:lnTo>
                  <a:lnTo>
                    <a:pt x="1752" y="194"/>
                  </a:lnTo>
                  <a:lnTo>
                    <a:pt x="1756" y="196"/>
                  </a:lnTo>
                  <a:lnTo>
                    <a:pt x="1760" y="198"/>
                  </a:lnTo>
                  <a:lnTo>
                    <a:pt x="1762" y="198"/>
                  </a:lnTo>
                  <a:lnTo>
                    <a:pt x="1762" y="198"/>
                  </a:lnTo>
                  <a:lnTo>
                    <a:pt x="1762" y="200"/>
                  </a:lnTo>
                  <a:lnTo>
                    <a:pt x="1764" y="200"/>
                  </a:lnTo>
                  <a:lnTo>
                    <a:pt x="1764" y="200"/>
                  </a:lnTo>
                  <a:lnTo>
                    <a:pt x="1766" y="200"/>
                  </a:lnTo>
                  <a:lnTo>
                    <a:pt x="1768" y="198"/>
                  </a:lnTo>
                  <a:lnTo>
                    <a:pt x="1768" y="198"/>
                  </a:lnTo>
                  <a:lnTo>
                    <a:pt x="1768" y="198"/>
                  </a:lnTo>
                  <a:lnTo>
                    <a:pt x="1770" y="196"/>
                  </a:lnTo>
                  <a:lnTo>
                    <a:pt x="1770" y="196"/>
                  </a:lnTo>
                  <a:lnTo>
                    <a:pt x="1770" y="196"/>
                  </a:lnTo>
                  <a:lnTo>
                    <a:pt x="1772" y="194"/>
                  </a:lnTo>
                  <a:lnTo>
                    <a:pt x="1772" y="194"/>
                  </a:lnTo>
                  <a:lnTo>
                    <a:pt x="1772" y="194"/>
                  </a:lnTo>
                  <a:lnTo>
                    <a:pt x="1774" y="190"/>
                  </a:lnTo>
                  <a:lnTo>
                    <a:pt x="1774" y="190"/>
                  </a:lnTo>
                  <a:lnTo>
                    <a:pt x="1774" y="188"/>
                  </a:lnTo>
                  <a:lnTo>
                    <a:pt x="1774" y="188"/>
                  </a:lnTo>
                  <a:lnTo>
                    <a:pt x="1772" y="186"/>
                  </a:lnTo>
                  <a:lnTo>
                    <a:pt x="1768" y="184"/>
                  </a:lnTo>
                  <a:lnTo>
                    <a:pt x="1768" y="184"/>
                  </a:lnTo>
                  <a:lnTo>
                    <a:pt x="1766" y="182"/>
                  </a:lnTo>
                  <a:lnTo>
                    <a:pt x="1764" y="180"/>
                  </a:lnTo>
                  <a:close/>
                  <a:moveTo>
                    <a:pt x="1774" y="106"/>
                  </a:moveTo>
                  <a:lnTo>
                    <a:pt x="1774" y="112"/>
                  </a:lnTo>
                  <a:lnTo>
                    <a:pt x="1774" y="116"/>
                  </a:lnTo>
                  <a:lnTo>
                    <a:pt x="1774" y="118"/>
                  </a:lnTo>
                  <a:lnTo>
                    <a:pt x="1774" y="122"/>
                  </a:lnTo>
                  <a:lnTo>
                    <a:pt x="1774" y="124"/>
                  </a:lnTo>
                  <a:lnTo>
                    <a:pt x="1774" y="128"/>
                  </a:lnTo>
                  <a:lnTo>
                    <a:pt x="1774" y="128"/>
                  </a:lnTo>
                  <a:lnTo>
                    <a:pt x="1774" y="128"/>
                  </a:lnTo>
                  <a:lnTo>
                    <a:pt x="1776" y="132"/>
                  </a:lnTo>
                  <a:lnTo>
                    <a:pt x="1776" y="132"/>
                  </a:lnTo>
                  <a:lnTo>
                    <a:pt x="1776" y="132"/>
                  </a:lnTo>
                  <a:lnTo>
                    <a:pt x="1776" y="134"/>
                  </a:lnTo>
                  <a:lnTo>
                    <a:pt x="1778" y="136"/>
                  </a:lnTo>
                  <a:lnTo>
                    <a:pt x="1778" y="136"/>
                  </a:lnTo>
                  <a:lnTo>
                    <a:pt x="1778" y="136"/>
                  </a:lnTo>
                  <a:lnTo>
                    <a:pt x="1780" y="138"/>
                  </a:lnTo>
                  <a:lnTo>
                    <a:pt x="1780" y="138"/>
                  </a:lnTo>
                  <a:lnTo>
                    <a:pt x="1780" y="138"/>
                  </a:lnTo>
                  <a:lnTo>
                    <a:pt x="1782" y="140"/>
                  </a:lnTo>
                  <a:lnTo>
                    <a:pt x="1784" y="142"/>
                  </a:lnTo>
                  <a:lnTo>
                    <a:pt x="1786" y="144"/>
                  </a:lnTo>
                  <a:lnTo>
                    <a:pt x="1792" y="148"/>
                  </a:lnTo>
                  <a:lnTo>
                    <a:pt x="1796" y="150"/>
                  </a:lnTo>
                  <a:lnTo>
                    <a:pt x="1798" y="152"/>
                  </a:lnTo>
                  <a:lnTo>
                    <a:pt x="1802" y="154"/>
                  </a:lnTo>
                  <a:lnTo>
                    <a:pt x="1804" y="156"/>
                  </a:lnTo>
                  <a:lnTo>
                    <a:pt x="1806" y="156"/>
                  </a:lnTo>
                  <a:lnTo>
                    <a:pt x="1808" y="158"/>
                  </a:lnTo>
                  <a:lnTo>
                    <a:pt x="1808" y="158"/>
                  </a:lnTo>
                  <a:lnTo>
                    <a:pt x="1808" y="158"/>
                  </a:lnTo>
                  <a:lnTo>
                    <a:pt x="1810" y="158"/>
                  </a:lnTo>
                  <a:lnTo>
                    <a:pt x="1810" y="158"/>
                  </a:lnTo>
                  <a:lnTo>
                    <a:pt x="1810" y="158"/>
                  </a:lnTo>
                  <a:lnTo>
                    <a:pt x="1812" y="156"/>
                  </a:lnTo>
                  <a:lnTo>
                    <a:pt x="1812" y="156"/>
                  </a:lnTo>
                  <a:lnTo>
                    <a:pt x="1812" y="156"/>
                  </a:lnTo>
                  <a:lnTo>
                    <a:pt x="1814" y="154"/>
                  </a:lnTo>
                  <a:lnTo>
                    <a:pt x="1814" y="154"/>
                  </a:lnTo>
                  <a:lnTo>
                    <a:pt x="1814" y="154"/>
                  </a:lnTo>
                  <a:lnTo>
                    <a:pt x="1814" y="152"/>
                  </a:lnTo>
                  <a:lnTo>
                    <a:pt x="1814" y="148"/>
                  </a:lnTo>
                  <a:lnTo>
                    <a:pt x="1812" y="146"/>
                  </a:lnTo>
                  <a:lnTo>
                    <a:pt x="1812" y="144"/>
                  </a:lnTo>
                  <a:lnTo>
                    <a:pt x="1812" y="142"/>
                  </a:lnTo>
                  <a:lnTo>
                    <a:pt x="1812" y="142"/>
                  </a:lnTo>
                  <a:lnTo>
                    <a:pt x="1812" y="142"/>
                  </a:lnTo>
                  <a:lnTo>
                    <a:pt x="1814" y="142"/>
                  </a:lnTo>
                  <a:lnTo>
                    <a:pt x="1816" y="142"/>
                  </a:lnTo>
                  <a:lnTo>
                    <a:pt x="1818" y="142"/>
                  </a:lnTo>
                  <a:lnTo>
                    <a:pt x="1824" y="142"/>
                  </a:lnTo>
                  <a:lnTo>
                    <a:pt x="1828" y="144"/>
                  </a:lnTo>
                  <a:lnTo>
                    <a:pt x="1830" y="144"/>
                  </a:lnTo>
                  <a:lnTo>
                    <a:pt x="1830" y="144"/>
                  </a:lnTo>
                  <a:lnTo>
                    <a:pt x="1830" y="144"/>
                  </a:lnTo>
                  <a:lnTo>
                    <a:pt x="1832" y="142"/>
                  </a:lnTo>
                  <a:lnTo>
                    <a:pt x="1832" y="142"/>
                  </a:lnTo>
                  <a:lnTo>
                    <a:pt x="1832" y="142"/>
                  </a:lnTo>
                  <a:lnTo>
                    <a:pt x="1834" y="142"/>
                  </a:lnTo>
                  <a:lnTo>
                    <a:pt x="1838" y="140"/>
                  </a:lnTo>
                  <a:lnTo>
                    <a:pt x="1842" y="140"/>
                  </a:lnTo>
                  <a:lnTo>
                    <a:pt x="1842" y="140"/>
                  </a:lnTo>
                  <a:lnTo>
                    <a:pt x="1844" y="140"/>
                  </a:lnTo>
                  <a:lnTo>
                    <a:pt x="1844" y="140"/>
                  </a:lnTo>
                  <a:lnTo>
                    <a:pt x="1844" y="140"/>
                  </a:lnTo>
                  <a:lnTo>
                    <a:pt x="1846" y="142"/>
                  </a:lnTo>
                  <a:lnTo>
                    <a:pt x="1848" y="144"/>
                  </a:lnTo>
                  <a:lnTo>
                    <a:pt x="1848" y="144"/>
                  </a:lnTo>
                  <a:lnTo>
                    <a:pt x="1848" y="146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52" y="148"/>
                  </a:lnTo>
                  <a:lnTo>
                    <a:pt x="1852" y="148"/>
                  </a:lnTo>
                  <a:lnTo>
                    <a:pt x="1852" y="148"/>
                  </a:lnTo>
                  <a:lnTo>
                    <a:pt x="1856" y="150"/>
                  </a:lnTo>
                  <a:lnTo>
                    <a:pt x="1856" y="150"/>
                  </a:lnTo>
                  <a:lnTo>
                    <a:pt x="1856" y="150"/>
                  </a:lnTo>
                  <a:lnTo>
                    <a:pt x="1860" y="150"/>
                  </a:lnTo>
                  <a:lnTo>
                    <a:pt x="1860" y="150"/>
                  </a:lnTo>
                  <a:lnTo>
                    <a:pt x="1860" y="150"/>
                  </a:lnTo>
                  <a:lnTo>
                    <a:pt x="1864" y="150"/>
                  </a:lnTo>
                  <a:lnTo>
                    <a:pt x="1864" y="150"/>
                  </a:lnTo>
                  <a:lnTo>
                    <a:pt x="1864" y="150"/>
                  </a:lnTo>
                  <a:lnTo>
                    <a:pt x="1868" y="148"/>
                  </a:lnTo>
                  <a:lnTo>
                    <a:pt x="1868" y="148"/>
                  </a:lnTo>
                  <a:lnTo>
                    <a:pt x="1868" y="148"/>
                  </a:lnTo>
                  <a:lnTo>
                    <a:pt x="1870" y="146"/>
                  </a:lnTo>
                  <a:lnTo>
                    <a:pt x="1870" y="146"/>
                  </a:lnTo>
                  <a:lnTo>
                    <a:pt x="1870" y="146"/>
                  </a:lnTo>
                  <a:lnTo>
                    <a:pt x="1870" y="144"/>
                  </a:lnTo>
                  <a:lnTo>
                    <a:pt x="1870" y="144"/>
                  </a:lnTo>
                  <a:lnTo>
                    <a:pt x="1870" y="144"/>
                  </a:lnTo>
                  <a:lnTo>
                    <a:pt x="1872" y="140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6" y="136"/>
                  </a:lnTo>
                  <a:lnTo>
                    <a:pt x="1878" y="136"/>
                  </a:lnTo>
                  <a:lnTo>
                    <a:pt x="1882" y="134"/>
                  </a:lnTo>
                  <a:lnTo>
                    <a:pt x="1882" y="134"/>
                  </a:lnTo>
                  <a:lnTo>
                    <a:pt x="1882" y="134"/>
                  </a:lnTo>
                  <a:lnTo>
                    <a:pt x="1884" y="134"/>
                  </a:lnTo>
                  <a:lnTo>
                    <a:pt x="1884" y="134"/>
                  </a:lnTo>
                  <a:lnTo>
                    <a:pt x="1884" y="134"/>
                  </a:lnTo>
                  <a:lnTo>
                    <a:pt x="1886" y="132"/>
                  </a:lnTo>
                  <a:lnTo>
                    <a:pt x="1886" y="132"/>
                  </a:lnTo>
                  <a:lnTo>
                    <a:pt x="1886" y="132"/>
                  </a:lnTo>
                  <a:lnTo>
                    <a:pt x="1888" y="130"/>
                  </a:lnTo>
                  <a:lnTo>
                    <a:pt x="1890" y="128"/>
                  </a:lnTo>
                  <a:lnTo>
                    <a:pt x="1892" y="124"/>
                  </a:lnTo>
                  <a:lnTo>
                    <a:pt x="1894" y="118"/>
                  </a:lnTo>
                  <a:lnTo>
                    <a:pt x="1894" y="116"/>
                  </a:lnTo>
                  <a:lnTo>
                    <a:pt x="1896" y="114"/>
                  </a:lnTo>
                  <a:lnTo>
                    <a:pt x="1898" y="114"/>
                  </a:lnTo>
                  <a:lnTo>
                    <a:pt x="1898" y="112"/>
                  </a:lnTo>
                  <a:lnTo>
                    <a:pt x="1902" y="110"/>
                  </a:lnTo>
                  <a:lnTo>
                    <a:pt x="1902" y="108"/>
                  </a:lnTo>
                  <a:lnTo>
                    <a:pt x="1904" y="106"/>
                  </a:lnTo>
                  <a:lnTo>
                    <a:pt x="1904" y="106"/>
                  </a:lnTo>
                  <a:lnTo>
                    <a:pt x="1904" y="106"/>
                  </a:lnTo>
                  <a:lnTo>
                    <a:pt x="1906" y="104"/>
                  </a:lnTo>
                  <a:lnTo>
                    <a:pt x="1906" y="104"/>
                  </a:lnTo>
                  <a:lnTo>
                    <a:pt x="1906" y="102"/>
                  </a:lnTo>
                  <a:lnTo>
                    <a:pt x="1906" y="102"/>
                  </a:lnTo>
                  <a:lnTo>
                    <a:pt x="1906" y="102"/>
                  </a:lnTo>
                  <a:lnTo>
                    <a:pt x="1906" y="100"/>
                  </a:lnTo>
                  <a:lnTo>
                    <a:pt x="1904" y="98"/>
                  </a:lnTo>
                  <a:lnTo>
                    <a:pt x="1904" y="98"/>
                  </a:lnTo>
                  <a:lnTo>
                    <a:pt x="1904" y="98"/>
                  </a:lnTo>
                  <a:lnTo>
                    <a:pt x="1902" y="96"/>
                  </a:lnTo>
                  <a:lnTo>
                    <a:pt x="1902" y="96"/>
                  </a:lnTo>
                  <a:lnTo>
                    <a:pt x="1902" y="96"/>
                  </a:lnTo>
                  <a:lnTo>
                    <a:pt x="1900" y="96"/>
                  </a:lnTo>
                  <a:lnTo>
                    <a:pt x="1898" y="94"/>
                  </a:lnTo>
                  <a:lnTo>
                    <a:pt x="1892" y="92"/>
                  </a:lnTo>
                  <a:lnTo>
                    <a:pt x="1890" y="90"/>
                  </a:lnTo>
                  <a:lnTo>
                    <a:pt x="1888" y="90"/>
                  </a:lnTo>
                  <a:lnTo>
                    <a:pt x="1886" y="88"/>
                  </a:lnTo>
                  <a:lnTo>
                    <a:pt x="1884" y="84"/>
                  </a:lnTo>
                  <a:lnTo>
                    <a:pt x="1880" y="82"/>
                  </a:lnTo>
                  <a:lnTo>
                    <a:pt x="1876" y="80"/>
                  </a:lnTo>
                  <a:lnTo>
                    <a:pt x="1876" y="80"/>
                  </a:lnTo>
                  <a:lnTo>
                    <a:pt x="1876" y="80"/>
                  </a:lnTo>
                  <a:lnTo>
                    <a:pt x="1874" y="80"/>
                  </a:lnTo>
                  <a:lnTo>
                    <a:pt x="1874" y="80"/>
                  </a:lnTo>
                  <a:lnTo>
                    <a:pt x="1874" y="78"/>
                  </a:lnTo>
                  <a:lnTo>
                    <a:pt x="1872" y="78"/>
                  </a:lnTo>
                  <a:lnTo>
                    <a:pt x="1868" y="78"/>
                  </a:lnTo>
                  <a:lnTo>
                    <a:pt x="1862" y="78"/>
                  </a:lnTo>
                  <a:lnTo>
                    <a:pt x="1862" y="78"/>
                  </a:lnTo>
                  <a:lnTo>
                    <a:pt x="1860" y="76"/>
                  </a:lnTo>
                  <a:lnTo>
                    <a:pt x="1858" y="76"/>
                  </a:lnTo>
                  <a:lnTo>
                    <a:pt x="1856" y="74"/>
                  </a:lnTo>
                  <a:lnTo>
                    <a:pt x="1854" y="70"/>
                  </a:lnTo>
                  <a:lnTo>
                    <a:pt x="1854" y="70"/>
                  </a:lnTo>
                  <a:lnTo>
                    <a:pt x="1854" y="70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50" y="68"/>
                  </a:lnTo>
                  <a:lnTo>
                    <a:pt x="1848" y="66"/>
                  </a:lnTo>
                  <a:lnTo>
                    <a:pt x="1842" y="64"/>
                  </a:lnTo>
                  <a:lnTo>
                    <a:pt x="1842" y="64"/>
                  </a:lnTo>
                  <a:lnTo>
                    <a:pt x="1842" y="64"/>
                  </a:lnTo>
                  <a:lnTo>
                    <a:pt x="1838" y="64"/>
                  </a:lnTo>
                  <a:lnTo>
                    <a:pt x="1838" y="64"/>
                  </a:lnTo>
                  <a:lnTo>
                    <a:pt x="1838" y="64"/>
                  </a:lnTo>
                  <a:lnTo>
                    <a:pt x="1836" y="64"/>
                  </a:lnTo>
                  <a:lnTo>
                    <a:pt x="1836" y="64"/>
                  </a:lnTo>
                  <a:lnTo>
                    <a:pt x="1834" y="64"/>
                  </a:lnTo>
                  <a:lnTo>
                    <a:pt x="1834" y="64"/>
                  </a:lnTo>
                  <a:lnTo>
                    <a:pt x="1834" y="64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0" y="68"/>
                  </a:lnTo>
                  <a:lnTo>
                    <a:pt x="1830" y="68"/>
                  </a:lnTo>
                  <a:lnTo>
                    <a:pt x="1830" y="68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28" y="76"/>
                  </a:lnTo>
                  <a:lnTo>
                    <a:pt x="1828" y="80"/>
                  </a:lnTo>
                  <a:lnTo>
                    <a:pt x="1828" y="82"/>
                  </a:lnTo>
                  <a:lnTo>
                    <a:pt x="1830" y="84"/>
                  </a:lnTo>
                  <a:lnTo>
                    <a:pt x="1830" y="88"/>
                  </a:lnTo>
                  <a:lnTo>
                    <a:pt x="1830" y="86"/>
                  </a:lnTo>
                  <a:lnTo>
                    <a:pt x="1826" y="82"/>
                  </a:lnTo>
                  <a:lnTo>
                    <a:pt x="1824" y="78"/>
                  </a:lnTo>
                  <a:lnTo>
                    <a:pt x="1820" y="74"/>
                  </a:lnTo>
                  <a:lnTo>
                    <a:pt x="1818" y="72"/>
                  </a:lnTo>
                  <a:lnTo>
                    <a:pt x="1814" y="66"/>
                  </a:lnTo>
                  <a:lnTo>
                    <a:pt x="1810" y="62"/>
                  </a:lnTo>
                  <a:lnTo>
                    <a:pt x="1808" y="60"/>
                  </a:lnTo>
                  <a:lnTo>
                    <a:pt x="1806" y="58"/>
                  </a:lnTo>
                  <a:lnTo>
                    <a:pt x="1804" y="58"/>
                  </a:lnTo>
                  <a:lnTo>
                    <a:pt x="1804" y="58"/>
                  </a:lnTo>
                  <a:lnTo>
                    <a:pt x="1804" y="58"/>
                  </a:lnTo>
                  <a:lnTo>
                    <a:pt x="1802" y="56"/>
                  </a:lnTo>
                  <a:lnTo>
                    <a:pt x="1802" y="56"/>
                  </a:lnTo>
                  <a:lnTo>
                    <a:pt x="1800" y="56"/>
                  </a:lnTo>
                  <a:lnTo>
                    <a:pt x="1800" y="58"/>
                  </a:lnTo>
                  <a:lnTo>
                    <a:pt x="1800" y="58"/>
                  </a:lnTo>
                  <a:lnTo>
                    <a:pt x="1798" y="58"/>
                  </a:lnTo>
                  <a:lnTo>
                    <a:pt x="1796" y="58"/>
                  </a:lnTo>
                  <a:lnTo>
                    <a:pt x="1796" y="58"/>
                  </a:lnTo>
                  <a:lnTo>
                    <a:pt x="1796" y="60"/>
                  </a:lnTo>
                  <a:lnTo>
                    <a:pt x="1796" y="60"/>
                  </a:lnTo>
                  <a:lnTo>
                    <a:pt x="1794" y="62"/>
                  </a:lnTo>
                  <a:lnTo>
                    <a:pt x="1792" y="66"/>
                  </a:lnTo>
                  <a:lnTo>
                    <a:pt x="1792" y="68"/>
                  </a:lnTo>
                  <a:lnTo>
                    <a:pt x="1792" y="68"/>
                  </a:lnTo>
                  <a:lnTo>
                    <a:pt x="1788" y="70"/>
                  </a:lnTo>
                  <a:lnTo>
                    <a:pt x="1786" y="72"/>
                  </a:lnTo>
                  <a:lnTo>
                    <a:pt x="1784" y="74"/>
                  </a:lnTo>
                  <a:lnTo>
                    <a:pt x="1784" y="74"/>
                  </a:lnTo>
                  <a:lnTo>
                    <a:pt x="1784" y="74"/>
                  </a:lnTo>
                  <a:lnTo>
                    <a:pt x="1782" y="76"/>
                  </a:lnTo>
                  <a:lnTo>
                    <a:pt x="1782" y="76"/>
                  </a:lnTo>
                  <a:lnTo>
                    <a:pt x="1780" y="76"/>
                  </a:lnTo>
                  <a:lnTo>
                    <a:pt x="1778" y="78"/>
                  </a:lnTo>
                  <a:lnTo>
                    <a:pt x="1778" y="78"/>
                  </a:lnTo>
                  <a:lnTo>
                    <a:pt x="1778" y="78"/>
                  </a:lnTo>
                  <a:lnTo>
                    <a:pt x="1778" y="80"/>
                  </a:lnTo>
                  <a:lnTo>
                    <a:pt x="1778" y="80"/>
                  </a:lnTo>
                  <a:lnTo>
                    <a:pt x="1778" y="80"/>
                  </a:lnTo>
                  <a:lnTo>
                    <a:pt x="1776" y="80"/>
                  </a:lnTo>
                  <a:lnTo>
                    <a:pt x="1776" y="80"/>
                  </a:lnTo>
                  <a:lnTo>
                    <a:pt x="1776" y="82"/>
                  </a:lnTo>
                  <a:lnTo>
                    <a:pt x="1776" y="84"/>
                  </a:lnTo>
                  <a:lnTo>
                    <a:pt x="1776" y="84"/>
                  </a:lnTo>
                  <a:lnTo>
                    <a:pt x="1776" y="84"/>
                  </a:lnTo>
                  <a:lnTo>
                    <a:pt x="1774" y="86"/>
                  </a:lnTo>
                  <a:lnTo>
                    <a:pt x="1774" y="90"/>
                  </a:lnTo>
                  <a:lnTo>
                    <a:pt x="1774" y="94"/>
                  </a:lnTo>
                  <a:lnTo>
                    <a:pt x="1774" y="98"/>
                  </a:lnTo>
                  <a:lnTo>
                    <a:pt x="1774" y="102"/>
                  </a:lnTo>
                  <a:lnTo>
                    <a:pt x="1774" y="106"/>
                  </a:lnTo>
                  <a:close/>
                  <a:moveTo>
                    <a:pt x="1912" y="124"/>
                  </a:moveTo>
                  <a:lnTo>
                    <a:pt x="1912" y="126"/>
                  </a:lnTo>
                  <a:lnTo>
                    <a:pt x="1912" y="126"/>
                  </a:lnTo>
                  <a:lnTo>
                    <a:pt x="1912" y="126"/>
                  </a:lnTo>
                  <a:lnTo>
                    <a:pt x="1914" y="128"/>
                  </a:lnTo>
                  <a:lnTo>
                    <a:pt x="1916" y="130"/>
                  </a:lnTo>
                  <a:lnTo>
                    <a:pt x="1918" y="132"/>
                  </a:lnTo>
                  <a:lnTo>
                    <a:pt x="1922" y="134"/>
                  </a:lnTo>
                  <a:lnTo>
                    <a:pt x="1924" y="136"/>
                  </a:lnTo>
                  <a:lnTo>
                    <a:pt x="1932" y="140"/>
                  </a:lnTo>
                  <a:lnTo>
                    <a:pt x="1934" y="142"/>
                  </a:lnTo>
                  <a:lnTo>
                    <a:pt x="1936" y="144"/>
                  </a:lnTo>
                  <a:lnTo>
                    <a:pt x="1938" y="144"/>
                  </a:lnTo>
                  <a:lnTo>
                    <a:pt x="1938" y="144"/>
                  </a:lnTo>
                  <a:lnTo>
                    <a:pt x="1938" y="144"/>
                  </a:lnTo>
                  <a:lnTo>
                    <a:pt x="1940" y="146"/>
                  </a:lnTo>
                  <a:lnTo>
                    <a:pt x="1940" y="146"/>
                  </a:lnTo>
                  <a:lnTo>
                    <a:pt x="1940" y="146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4" y="150"/>
                  </a:lnTo>
                  <a:lnTo>
                    <a:pt x="1944" y="150"/>
                  </a:lnTo>
                  <a:lnTo>
                    <a:pt x="1948" y="150"/>
                  </a:lnTo>
                  <a:lnTo>
                    <a:pt x="1950" y="150"/>
                  </a:lnTo>
                  <a:lnTo>
                    <a:pt x="1956" y="150"/>
                  </a:lnTo>
                  <a:lnTo>
                    <a:pt x="1960" y="150"/>
                  </a:lnTo>
                  <a:lnTo>
                    <a:pt x="1964" y="150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8" y="150"/>
                  </a:lnTo>
                  <a:lnTo>
                    <a:pt x="1968" y="150"/>
                  </a:lnTo>
                  <a:lnTo>
                    <a:pt x="1970" y="148"/>
                  </a:lnTo>
                  <a:lnTo>
                    <a:pt x="1972" y="148"/>
                  </a:lnTo>
                  <a:lnTo>
                    <a:pt x="1972" y="148"/>
                  </a:lnTo>
                  <a:lnTo>
                    <a:pt x="1972" y="148"/>
                  </a:lnTo>
                  <a:lnTo>
                    <a:pt x="1972" y="146"/>
                  </a:lnTo>
                  <a:lnTo>
                    <a:pt x="1972" y="146"/>
                  </a:lnTo>
                  <a:lnTo>
                    <a:pt x="1972" y="144"/>
                  </a:lnTo>
                  <a:lnTo>
                    <a:pt x="1974" y="142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6" y="136"/>
                  </a:lnTo>
                  <a:lnTo>
                    <a:pt x="1976" y="136"/>
                  </a:lnTo>
                  <a:lnTo>
                    <a:pt x="1982" y="136"/>
                  </a:lnTo>
                  <a:lnTo>
                    <a:pt x="1984" y="138"/>
                  </a:lnTo>
                  <a:lnTo>
                    <a:pt x="1986" y="138"/>
                  </a:lnTo>
                  <a:lnTo>
                    <a:pt x="1988" y="138"/>
                  </a:lnTo>
                  <a:lnTo>
                    <a:pt x="1988" y="138"/>
                  </a:lnTo>
                  <a:lnTo>
                    <a:pt x="1990" y="136"/>
                  </a:lnTo>
                  <a:lnTo>
                    <a:pt x="1990" y="136"/>
                  </a:lnTo>
                  <a:lnTo>
                    <a:pt x="1990" y="136"/>
                  </a:lnTo>
                  <a:lnTo>
                    <a:pt x="1990" y="132"/>
                  </a:lnTo>
                  <a:lnTo>
                    <a:pt x="1990" y="132"/>
                  </a:lnTo>
                  <a:lnTo>
                    <a:pt x="1990" y="132"/>
                  </a:lnTo>
                  <a:lnTo>
                    <a:pt x="1990" y="130"/>
                  </a:lnTo>
                  <a:lnTo>
                    <a:pt x="1988" y="130"/>
                  </a:lnTo>
                  <a:lnTo>
                    <a:pt x="1986" y="128"/>
                  </a:lnTo>
                  <a:lnTo>
                    <a:pt x="1984" y="126"/>
                  </a:lnTo>
                  <a:lnTo>
                    <a:pt x="1978" y="122"/>
                  </a:lnTo>
                  <a:lnTo>
                    <a:pt x="1974" y="120"/>
                  </a:lnTo>
                  <a:lnTo>
                    <a:pt x="1972" y="118"/>
                  </a:lnTo>
                  <a:lnTo>
                    <a:pt x="1972" y="118"/>
                  </a:lnTo>
                  <a:lnTo>
                    <a:pt x="1972" y="118"/>
                  </a:lnTo>
                  <a:lnTo>
                    <a:pt x="1966" y="118"/>
                  </a:lnTo>
                  <a:lnTo>
                    <a:pt x="1962" y="118"/>
                  </a:lnTo>
                  <a:lnTo>
                    <a:pt x="1956" y="116"/>
                  </a:lnTo>
                  <a:lnTo>
                    <a:pt x="1956" y="116"/>
                  </a:lnTo>
                  <a:lnTo>
                    <a:pt x="1954" y="116"/>
                  </a:lnTo>
                  <a:lnTo>
                    <a:pt x="1954" y="116"/>
                  </a:lnTo>
                  <a:lnTo>
                    <a:pt x="1952" y="114"/>
                  </a:lnTo>
                  <a:lnTo>
                    <a:pt x="1952" y="112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48" y="106"/>
                  </a:lnTo>
                  <a:lnTo>
                    <a:pt x="1948" y="106"/>
                  </a:lnTo>
                  <a:lnTo>
                    <a:pt x="1948" y="106"/>
                  </a:lnTo>
                  <a:lnTo>
                    <a:pt x="1946" y="104"/>
                  </a:lnTo>
                  <a:lnTo>
                    <a:pt x="1944" y="104"/>
                  </a:lnTo>
                  <a:lnTo>
                    <a:pt x="1944" y="104"/>
                  </a:lnTo>
                  <a:lnTo>
                    <a:pt x="1944" y="104"/>
                  </a:lnTo>
                  <a:lnTo>
                    <a:pt x="1940" y="104"/>
                  </a:lnTo>
                  <a:lnTo>
                    <a:pt x="1940" y="104"/>
                  </a:lnTo>
                  <a:lnTo>
                    <a:pt x="1936" y="104"/>
                  </a:lnTo>
                  <a:lnTo>
                    <a:pt x="1932" y="104"/>
                  </a:lnTo>
                  <a:lnTo>
                    <a:pt x="1932" y="104"/>
                  </a:lnTo>
                  <a:lnTo>
                    <a:pt x="1932" y="104"/>
                  </a:lnTo>
                  <a:lnTo>
                    <a:pt x="1932" y="106"/>
                  </a:lnTo>
                  <a:lnTo>
                    <a:pt x="1932" y="106"/>
                  </a:lnTo>
                  <a:lnTo>
                    <a:pt x="1930" y="106"/>
                  </a:lnTo>
                  <a:lnTo>
                    <a:pt x="1930" y="106"/>
                  </a:lnTo>
                  <a:lnTo>
                    <a:pt x="1928" y="108"/>
                  </a:lnTo>
                  <a:lnTo>
                    <a:pt x="1926" y="110"/>
                  </a:lnTo>
                  <a:lnTo>
                    <a:pt x="1926" y="110"/>
                  </a:lnTo>
                  <a:lnTo>
                    <a:pt x="1924" y="108"/>
                  </a:lnTo>
                  <a:lnTo>
                    <a:pt x="1924" y="106"/>
                  </a:lnTo>
                  <a:lnTo>
                    <a:pt x="1922" y="104"/>
                  </a:lnTo>
                  <a:lnTo>
                    <a:pt x="1922" y="104"/>
                  </a:lnTo>
                  <a:lnTo>
                    <a:pt x="1922" y="104"/>
                  </a:lnTo>
                  <a:lnTo>
                    <a:pt x="1922" y="102"/>
                  </a:lnTo>
                  <a:lnTo>
                    <a:pt x="1922" y="102"/>
                  </a:lnTo>
                  <a:lnTo>
                    <a:pt x="1920" y="102"/>
                  </a:lnTo>
                  <a:lnTo>
                    <a:pt x="1920" y="100"/>
                  </a:lnTo>
                  <a:lnTo>
                    <a:pt x="1920" y="100"/>
                  </a:lnTo>
                  <a:lnTo>
                    <a:pt x="1918" y="100"/>
                  </a:lnTo>
                  <a:lnTo>
                    <a:pt x="1916" y="102"/>
                  </a:lnTo>
                  <a:lnTo>
                    <a:pt x="1916" y="102"/>
                  </a:lnTo>
                  <a:lnTo>
                    <a:pt x="1916" y="102"/>
                  </a:lnTo>
                  <a:lnTo>
                    <a:pt x="1914" y="104"/>
                  </a:lnTo>
                  <a:lnTo>
                    <a:pt x="1914" y="104"/>
                  </a:lnTo>
                  <a:lnTo>
                    <a:pt x="1914" y="104"/>
                  </a:lnTo>
                  <a:lnTo>
                    <a:pt x="1914" y="106"/>
                  </a:lnTo>
                  <a:lnTo>
                    <a:pt x="1914" y="108"/>
                  </a:lnTo>
                  <a:lnTo>
                    <a:pt x="1912" y="112"/>
                  </a:lnTo>
                  <a:lnTo>
                    <a:pt x="1912" y="114"/>
                  </a:lnTo>
                  <a:lnTo>
                    <a:pt x="1912" y="116"/>
                  </a:lnTo>
                  <a:lnTo>
                    <a:pt x="1912" y="118"/>
                  </a:lnTo>
                  <a:lnTo>
                    <a:pt x="1912" y="120"/>
                  </a:lnTo>
                  <a:lnTo>
                    <a:pt x="1912" y="120"/>
                  </a:lnTo>
                  <a:lnTo>
                    <a:pt x="1912" y="122"/>
                  </a:lnTo>
                  <a:lnTo>
                    <a:pt x="1912" y="122"/>
                  </a:lnTo>
                  <a:lnTo>
                    <a:pt x="1912" y="124"/>
                  </a:lnTo>
                  <a:lnTo>
                    <a:pt x="1912" y="124"/>
                  </a:lnTo>
                  <a:lnTo>
                    <a:pt x="1912" y="124"/>
                  </a:lnTo>
                  <a:lnTo>
                    <a:pt x="1912" y="124"/>
                  </a:lnTo>
                  <a:close/>
                  <a:moveTo>
                    <a:pt x="1880" y="222"/>
                  </a:moveTo>
                  <a:lnTo>
                    <a:pt x="1878" y="218"/>
                  </a:lnTo>
                  <a:lnTo>
                    <a:pt x="1878" y="216"/>
                  </a:lnTo>
                  <a:lnTo>
                    <a:pt x="1874" y="210"/>
                  </a:lnTo>
                  <a:lnTo>
                    <a:pt x="1872" y="206"/>
                  </a:lnTo>
                  <a:lnTo>
                    <a:pt x="1872" y="204"/>
                  </a:lnTo>
                  <a:lnTo>
                    <a:pt x="1870" y="202"/>
                  </a:lnTo>
                  <a:lnTo>
                    <a:pt x="1870" y="202"/>
                  </a:lnTo>
                  <a:lnTo>
                    <a:pt x="1870" y="202"/>
                  </a:lnTo>
                  <a:lnTo>
                    <a:pt x="1868" y="198"/>
                  </a:lnTo>
                  <a:lnTo>
                    <a:pt x="1866" y="196"/>
                  </a:lnTo>
                  <a:lnTo>
                    <a:pt x="1864" y="194"/>
                  </a:lnTo>
                  <a:lnTo>
                    <a:pt x="1862" y="192"/>
                  </a:lnTo>
                  <a:lnTo>
                    <a:pt x="1860" y="190"/>
                  </a:lnTo>
                  <a:lnTo>
                    <a:pt x="1858" y="190"/>
                  </a:lnTo>
                  <a:lnTo>
                    <a:pt x="1858" y="190"/>
                  </a:lnTo>
                  <a:lnTo>
                    <a:pt x="1856" y="188"/>
                  </a:lnTo>
                  <a:lnTo>
                    <a:pt x="1856" y="188"/>
                  </a:lnTo>
                  <a:lnTo>
                    <a:pt x="1856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2" y="188"/>
                  </a:lnTo>
                  <a:lnTo>
                    <a:pt x="1850" y="188"/>
                  </a:lnTo>
                  <a:lnTo>
                    <a:pt x="1846" y="190"/>
                  </a:lnTo>
                  <a:lnTo>
                    <a:pt x="1846" y="190"/>
                  </a:lnTo>
                  <a:lnTo>
                    <a:pt x="1844" y="190"/>
                  </a:lnTo>
                  <a:lnTo>
                    <a:pt x="1840" y="192"/>
                  </a:lnTo>
                  <a:lnTo>
                    <a:pt x="1840" y="192"/>
                  </a:lnTo>
                  <a:lnTo>
                    <a:pt x="1840" y="192"/>
                  </a:lnTo>
                  <a:lnTo>
                    <a:pt x="1838" y="192"/>
                  </a:lnTo>
                  <a:lnTo>
                    <a:pt x="1838" y="192"/>
                  </a:lnTo>
                  <a:lnTo>
                    <a:pt x="1838" y="194"/>
                  </a:lnTo>
                  <a:lnTo>
                    <a:pt x="1836" y="194"/>
                  </a:lnTo>
                  <a:lnTo>
                    <a:pt x="1836" y="194"/>
                  </a:lnTo>
                  <a:lnTo>
                    <a:pt x="1836" y="196"/>
                  </a:lnTo>
                  <a:lnTo>
                    <a:pt x="1834" y="198"/>
                  </a:lnTo>
                  <a:lnTo>
                    <a:pt x="1834" y="198"/>
                  </a:lnTo>
                  <a:lnTo>
                    <a:pt x="1834" y="198"/>
                  </a:lnTo>
                  <a:lnTo>
                    <a:pt x="1834" y="200"/>
                  </a:lnTo>
                  <a:lnTo>
                    <a:pt x="1834" y="200"/>
                  </a:lnTo>
                  <a:lnTo>
                    <a:pt x="1834" y="200"/>
                  </a:lnTo>
                  <a:lnTo>
                    <a:pt x="1834" y="206"/>
                  </a:lnTo>
                  <a:lnTo>
                    <a:pt x="1834" y="210"/>
                  </a:lnTo>
                  <a:lnTo>
                    <a:pt x="1834" y="212"/>
                  </a:lnTo>
                  <a:lnTo>
                    <a:pt x="1834" y="212"/>
                  </a:lnTo>
                  <a:lnTo>
                    <a:pt x="1832" y="212"/>
                  </a:lnTo>
                  <a:lnTo>
                    <a:pt x="1830" y="212"/>
                  </a:lnTo>
                  <a:lnTo>
                    <a:pt x="1826" y="214"/>
                  </a:lnTo>
                  <a:lnTo>
                    <a:pt x="1824" y="214"/>
                  </a:lnTo>
                  <a:lnTo>
                    <a:pt x="1822" y="214"/>
                  </a:lnTo>
                  <a:lnTo>
                    <a:pt x="1820" y="214"/>
                  </a:lnTo>
                  <a:lnTo>
                    <a:pt x="1820" y="214"/>
                  </a:lnTo>
                  <a:lnTo>
                    <a:pt x="1818" y="216"/>
                  </a:lnTo>
                  <a:lnTo>
                    <a:pt x="1818" y="216"/>
                  </a:lnTo>
                  <a:lnTo>
                    <a:pt x="1818" y="216"/>
                  </a:lnTo>
                  <a:lnTo>
                    <a:pt x="1818" y="218"/>
                  </a:lnTo>
                  <a:lnTo>
                    <a:pt x="1818" y="218"/>
                  </a:lnTo>
                  <a:lnTo>
                    <a:pt x="1820" y="220"/>
                  </a:lnTo>
                  <a:lnTo>
                    <a:pt x="1820" y="220"/>
                  </a:lnTo>
                  <a:lnTo>
                    <a:pt x="1820" y="220"/>
                  </a:lnTo>
                  <a:lnTo>
                    <a:pt x="1822" y="220"/>
                  </a:lnTo>
                  <a:lnTo>
                    <a:pt x="1824" y="220"/>
                  </a:lnTo>
                  <a:lnTo>
                    <a:pt x="1826" y="220"/>
                  </a:lnTo>
                  <a:lnTo>
                    <a:pt x="1828" y="220"/>
                  </a:lnTo>
                  <a:lnTo>
                    <a:pt x="1834" y="222"/>
                  </a:lnTo>
                  <a:lnTo>
                    <a:pt x="1836" y="222"/>
                  </a:lnTo>
                  <a:lnTo>
                    <a:pt x="1838" y="222"/>
                  </a:lnTo>
                  <a:lnTo>
                    <a:pt x="1840" y="224"/>
                  </a:lnTo>
                  <a:lnTo>
                    <a:pt x="1842" y="224"/>
                  </a:lnTo>
                  <a:lnTo>
                    <a:pt x="1844" y="228"/>
                  </a:lnTo>
                  <a:lnTo>
                    <a:pt x="1848" y="230"/>
                  </a:lnTo>
                  <a:lnTo>
                    <a:pt x="1848" y="230"/>
                  </a:lnTo>
                  <a:lnTo>
                    <a:pt x="1848" y="230"/>
                  </a:lnTo>
                  <a:lnTo>
                    <a:pt x="1850" y="232"/>
                  </a:lnTo>
                  <a:lnTo>
                    <a:pt x="1850" y="232"/>
                  </a:lnTo>
                  <a:lnTo>
                    <a:pt x="1852" y="232"/>
                  </a:lnTo>
                  <a:lnTo>
                    <a:pt x="1854" y="232"/>
                  </a:lnTo>
                  <a:lnTo>
                    <a:pt x="1854" y="232"/>
                  </a:lnTo>
                  <a:lnTo>
                    <a:pt x="1854" y="232"/>
                  </a:lnTo>
                  <a:lnTo>
                    <a:pt x="1856" y="234"/>
                  </a:lnTo>
                  <a:lnTo>
                    <a:pt x="1860" y="234"/>
                  </a:lnTo>
                  <a:lnTo>
                    <a:pt x="1868" y="234"/>
                  </a:lnTo>
                  <a:lnTo>
                    <a:pt x="1872" y="232"/>
                  </a:lnTo>
                  <a:lnTo>
                    <a:pt x="1874" y="232"/>
                  </a:lnTo>
                  <a:lnTo>
                    <a:pt x="1874" y="232"/>
                  </a:lnTo>
                  <a:lnTo>
                    <a:pt x="1876" y="232"/>
                  </a:lnTo>
                  <a:lnTo>
                    <a:pt x="1878" y="232"/>
                  </a:lnTo>
                  <a:lnTo>
                    <a:pt x="1878" y="232"/>
                  </a:lnTo>
                  <a:lnTo>
                    <a:pt x="1878" y="230"/>
                  </a:lnTo>
                  <a:lnTo>
                    <a:pt x="1880" y="230"/>
                  </a:lnTo>
                  <a:lnTo>
                    <a:pt x="1880" y="230"/>
                  </a:lnTo>
                  <a:lnTo>
                    <a:pt x="1880" y="228"/>
                  </a:lnTo>
                  <a:lnTo>
                    <a:pt x="1880" y="226"/>
                  </a:lnTo>
                  <a:lnTo>
                    <a:pt x="1880" y="226"/>
                  </a:lnTo>
                  <a:lnTo>
                    <a:pt x="1880" y="224"/>
                  </a:lnTo>
                  <a:lnTo>
                    <a:pt x="1880" y="222"/>
                  </a:lnTo>
                  <a:lnTo>
                    <a:pt x="1880" y="222"/>
                  </a:lnTo>
                  <a:lnTo>
                    <a:pt x="1880" y="222"/>
                  </a:lnTo>
                  <a:lnTo>
                    <a:pt x="1880" y="222"/>
                  </a:lnTo>
                  <a:close/>
                  <a:moveTo>
                    <a:pt x="2236" y="868"/>
                  </a:moveTo>
                  <a:lnTo>
                    <a:pt x="2236" y="868"/>
                  </a:lnTo>
                  <a:lnTo>
                    <a:pt x="2236" y="868"/>
                  </a:lnTo>
                  <a:lnTo>
                    <a:pt x="2234" y="866"/>
                  </a:lnTo>
                  <a:lnTo>
                    <a:pt x="2234" y="866"/>
                  </a:lnTo>
                  <a:lnTo>
                    <a:pt x="2232" y="864"/>
                  </a:lnTo>
                  <a:lnTo>
                    <a:pt x="2228" y="862"/>
                  </a:lnTo>
                  <a:lnTo>
                    <a:pt x="2226" y="860"/>
                  </a:lnTo>
                  <a:lnTo>
                    <a:pt x="2222" y="860"/>
                  </a:lnTo>
                  <a:lnTo>
                    <a:pt x="2218" y="858"/>
                  </a:lnTo>
                  <a:lnTo>
                    <a:pt x="2214" y="856"/>
                  </a:lnTo>
                  <a:lnTo>
                    <a:pt x="2208" y="856"/>
                  </a:lnTo>
                  <a:lnTo>
                    <a:pt x="2208" y="856"/>
                  </a:lnTo>
                  <a:lnTo>
                    <a:pt x="2206" y="856"/>
                  </a:lnTo>
                  <a:lnTo>
                    <a:pt x="2206" y="856"/>
                  </a:lnTo>
                  <a:lnTo>
                    <a:pt x="2204" y="858"/>
                  </a:lnTo>
                  <a:lnTo>
                    <a:pt x="2204" y="862"/>
                  </a:lnTo>
                  <a:lnTo>
                    <a:pt x="2204" y="864"/>
                  </a:lnTo>
                  <a:lnTo>
                    <a:pt x="2204" y="868"/>
                  </a:lnTo>
                  <a:lnTo>
                    <a:pt x="2204" y="870"/>
                  </a:lnTo>
                  <a:lnTo>
                    <a:pt x="2204" y="872"/>
                  </a:lnTo>
                  <a:lnTo>
                    <a:pt x="2204" y="874"/>
                  </a:lnTo>
                  <a:lnTo>
                    <a:pt x="2204" y="874"/>
                  </a:lnTo>
                  <a:lnTo>
                    <a:pt x="2204" y="876"/>
                  </a:lnTo>
                  <a:lnTo>
                    <a:pt x="2206" y="878"/>
                  </a:lnTo>
                  <a:lnTo>
                    <a:pt x="2206" y="878"/>
                  </a:lnTo>
                  <a:lnTo>
                    <a:pt x="2206" y="878"/>
                  </a:lnTo>
                  <a:lnTo>
                    <a:pt x="2206" y="880"/>
                  </a:lnTo>
                  <a:lnTo>
                    <a:pt x="2208" y="880"/>
                  </a:lnTo>
                  <a:lnTo>
                    <a:pt x="2210" y="882"/>
                  </a:lnTo>
                  <a:lnTo>
                    <a:pt x="2212" y="884"/>
                  </a:lnTo>
                  <a:lnTo>
                    <a:pt x="2212" y="888"/>
                  </a:lnTo>
                  <a:lnTo>
                    <a:pt x="2216" y="892"/>
                  </a:lnTo>
                  <a:lnTo>
                    <a:pt x="2216" y="892"/>
                  </a:lnTo>
                  <a:lnTo>
                    <a:pt x="2218" y="892"/>
                  </a:lnTo>
                  <a:lnTo>
                    <a:pt x="2218" y="892"/>
                  </a:lnTo>
                  <a:lnTo>
                    <a:pt x="2220" y="892"/>
                  </a:lnTo>
                  <a:lnTo>
                    <a:pt x="2224" y="888"/>
                  </a:lnTo>
                  <a:lnTo>
                    <a:pt x="2228" y="886"/>
                  </a:lnTo>
                  <a:lnTo>
                    <a:pt x="2232" y="882"/>
                  </a:lnTo>
                  <a:lnTo>
                    <a:pt x="2234" y="880"/>
                  </a:lnTo>
                  <a:lnTo>
                    <a:pt x="2234" y="880"/>
                  </a:lnTo>
                  <a:lnTo>
                    <a:pt x="2236" y="878"/>
                  </a:lnTo>
                  <a:lnTo>
                    <a:pt x="2236" y="878"/>
                  </a:lnTo>
                  <a:lnTo>
                    <a:pt x="2236" y="876"/>
                  </a:lnTo>
                  <a:lnTo>
                    <a:pt x="2236" y="874"/>
                  </a:lnTo>
                  <a:lnTo>
                    <a:pt x="2236" y="874"/>
                  </a:lnTo>
                  <a:lnTo>
                    <a:pt x="2236" y="874"/>
                  </a:lnTo>
                  <a:lnTo>
                    <a:pt x="2236" y="872"/>
                  </a:lnTo>
                  <a:lnTo>
                    <a:pt x="2236" y="872"/>
                  </a:lnTo>
                  <a:lnTo>
                    <a:pt x="2236" y="870"/>
                  </a:lnTo>
                  <a:lnTo>
                    <a:pt x="2236" y="868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5" name="Freeform 171"/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4311207" y="2851562"/>
              <a:ext cx="336774" cy="330211"/>
            </a:xfrm>
            <a:custGeom>
              <a:avLst/>
              <a:gdLst/>
              <a:ahLst/>
              <a:cxnLst/>
              <a:rect l="l" t="t" r="r" b="b"/>
              <a:pathLst>
                <a:path w="330050" h="323637">
                  <a:moveTo>
                    <a:pt x="318742" y="280797"/>
                  </a:moveTo>
                  <a:cubicBezTo>
                    <a:pt x="322512" y="280018"/>
                    <a:pt x="327275" y="280404"/>
                    <a:pt x="328069" y="281954"/>
                  </a:cubicBezTo>
                  <a:cubicBezTo>
                    <a:pt x="331241" y="292853"/>
                    <a:pt x="329653" y="303747"/>
                    <a:pt x="329653" y="314646"/>
                  </a:cubicBezTo>
                  <a:cubicBezTo>
                    <a:pt x="325154" y="323205"/>
                    <a:pt x="310605" y="326083"/>
                    <a:pt x="308223" y="321408"/>
                  </a:cubicBezTo>
                  <a:cubicBezTo>
                    <a:pt x="330450" y="318299"/>
                    <a:pt x="312195" y="305301"/>
                    <a:pt x="315368" y="286629"/>
                  </a:cubicBezTo>
                  <a:cubicBezTo>
                    <a:pt x="312194" y="283520"/>
                    <a:pt x="314972" y="281576"/>
                    <a:pt x="318742" y="280797"/>
                  </a:cubicBezTo>
                  <a:close/>
                  <a:moveTo>
                    <a:pt x="177056" y="323"/>
                  </a:moveTo>
                  <a:cubicBezTo>
                    <a:pt x="181620" y="-260"/>
                    <a:pt x="185986" y="-260"/>
                    <a:pt x="189954" y="2071"/>
                  </a:cubicBezTo>
                  <a:cubicBezTo>
                    <a:pt x="205829" y="12950"/>
                    <a:pt x="232817" y="44031"/>
                    <a:pt x="243929" y="61126"/>
                  </a:cubicBezTo>
                  <a:cubicBezTo>
                    <a:pt x="264567" y="73559"/>
                    <a:pt x="293142" y="61126"/>
                    <a:pt x="296317" y="81329"/>
                  </a:cubicBezTo>
                  <a:cubicBezTo>
                    <a:pt x="302667" y="89100"/>
                    <a:pt x="283617" y="98424"/>
                    <a:pt x="282029" y="104640"/>
                  </a:cubicBezTo>
                  <a:cubicBezTo>
                    <a:pt x="280442" y="110857"/>
                    <a:pt x="291554" y="112411"/>
                    <a:pt x="285204" y="123289"/>
                  </a:cubicBezTo>
                  <a:cubicBezTo>
                    <a:pt x="270917" y="127952"/>
                    <a:pt x="239167" y="143492"/>
                    <a:pt x="253454" y="160587"/>
                  </a:cubicBezTo>
                  <a:cubicBezTo>
                    <a:pt x="283617" y="177682"/>
                    <a:pt x="275679" y="168358"/>
                    <a:pt x="277267" y="219642"/>
                  </a:cubicBezTo>
                  <a:cubicBezTo>
                    <a:pt x="302667" y="267819"/>
                    <a:pt x="261392" y="256940"/>
                    <a:pt x="215354" y="258494"/>
                  </a:cubicBezTo>
                  <a:cubicBezTo>
                    <a:pt x="199479" y="256940"/>
                    <a:pt x="193129" y="252278"/>
                    <a:pt x="189954" y="267819"/>
                  </a:cubicBezTo>
                  <a:cubicBezTo>
                    <a:pt x="186779" y="275589"/>
                    <a:pt x="182017" y="281806"/>
                    <a:pt x="177254" y="289576"/>
                  </a:cubicBezTo>
                  <a:cubicBezTo>
                    <a:pt x="172492" y="292684"/>
                    <a:pt x="162967" y="289576"/>
                    <a:pt x="158204" y="286468"/>
                  </a:cubicBezTo>
                  <a:cubicBezTo>
                    <a:pt x="153442" y="283360"/>
                    <a:pt x="156617" y="275589"/>
                    <a:pt x="143917" y="272481"/>
                  </a:cubicBezTo>
                  <a:cubicBezTo>
                    <a:pt x="112167" y="270927"/>
                    <a:pt x="105817" y="274035"/>
                    <a:pt x="85179" y="258494"/>
                  </a:cubicBezTo>
                  <a:cubicBezTo>
                    <a:pt x="66129" y="255386"/>
                    <a:pt x="77242" y="230521"/>
                    <a:pt x="77242" y="214980"/>
                  </a:cubicBezTo>
                  <a:cubicBezTo>
                    <a:pt x="86767" y="210318"/>
                    <a:pt x="89942" y="208764"/>
                    <a:pt x="91529" y="197885"/>
                  </a:cubicBezTo>
                  <a:cubicBezTo>
                    <a:pt x="85179" y="188561"/>
                    <a:pt x="77242" y="183898"/>
                    <a:pt x="72479" y="173020"/>
                  </a:cubicBezTo>
                  <a:cubicBezTo>
                    <a:pt x="64542" y="155925"/>
                    <a:pt x="72479" y="138830"/>
                    <a:pt x="56604" y="127952"/>
                  </a:cubicBezTo>
                  <a:cubicBezTo>
                    <a:pt x="45492" y="126397"/>
                    <a:pt x="32792" y="123289"/>
                    <a:pt x="23267" y="117073"/>
                  </a:cubicBezTo>
                  <a:cubicBezTo>
                    <a:pt x="1042" y="112411"/>
                    <a:pt x="-2133" y="107748"/>
                    <a:pt x="1042" y="84437"/>
                  </a:cubicBezTo>
                  <a:cubicBezTo>
                    <a:pt x="31204" y="79775"/>
                    <a:pt x="28029" y="76667"/>
                    <a:pt x="48667" y="90654"/>
                  </a:cubicBezTo>
                  <a:cubicBezTo>
                    <a:pt x="61367" y="87545"/>
                    <a:pt x="70892" y="87545"/>
                    <a:pt x="75654" y="75113"/>
                  </a:cubicBezTo>
                  <a:cubicBezTo>
                    <a:pt x="70892" y="67342"/>
                    <a:pt x="66129" y="62680"/>
                    <a:pt x="56604" y="58018"/>
                  </a:cubicBezTo>
                  <a:cubicBezTo>
                    <a:pt x="45492" y="56464"/>
                    <a:pt x="43507" y="54133"/>
                    <a:pt x="45492" y="51413"/>
                  </a:cubicBezTo>
                  <a:lnTo>
                    <a:pt x="58192" y="42477"/>
                  </a:lnTo>
                  <a:cubicBezTo>
                    <a:pt x="69304" y="48693"/>
                    <a:pt x="75654" y="56464"/>
                    <a:pt x="85179" y="62680"/>
                  </a:cubicBezTo>
                  <a:cubicBezTo>
                    <a:pt x="148679" y="67342"/>
                    <a:pt x="110579" y="72005"/>
                    <a:pt x="129629" y="47139"/>
                  </a:cubicBezTo>
                  <a:cubicBezTo>
                    <a:pt x="155029" y="33153"/>
                    <a:pt x="132804" y="8287"/>
                    <a:pt x="162967" y="2071"/>
                  </a:cubicBezTo>
                  <a:cubicBezTo>
                    <a:pt x="167729" y="2071"/>
                    <a:pt x="172492" y="906"/>
                    <a:pt x="177056" y="3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6" name="Freeform 172"/>
            <p:cNvSpPr>
              <a:spLocks/>
            </p:cNvSpPr>
            <p:nvPr>
              <p:custDataLst>
                <p:tags r:id="rId168"/>
              </p:custDataLst>
            </p:nvPr>
          </p:nvSpPr>
          <p:spPr bwMode="gray">
            <a:xfrm>
              <a:off x="4593495" y="3007910"/>
              <a:ext cx="283742" cy="317336"/>
            </a:xfrm>
            <a:custGeom>
              <a:avLst/>
              <a:gdLst/>
              <a:ahLst/>
              <a:cxnLst/>
              <a:rect l="l" t="t" r="r" b="b"/>
              <a:pathLst>
                <a:path w="278077" h="311019">
                  <a:moveTo>
                    <a:pt x="42763" y="185722"/>
                  </a:moveTo>
                  <a:cubicBezTo>
                    <a:pt x="50272" y="185101"/>
                    <a:pt x="58295" y="185679"/>
                    <a:pt x="61734" y="188662"/>
                  </a:cubicBezTo>
                  <a:cubicBezTo>
                    <a:pt x="68612" y="194629"/>
                    <a:pt x="66025" y="217687"/>
                    <a:pt x="68150" y="225777"/>
                  </a:cubicBezTo>
                  <a:cubicBezTo>
                    <a:pt x="61802" y="233553"/>
                    <a:pt x="58626" y="239786"/>
                    <a:pt x="55450" y="249118"/>
                  </a:cubicBezTo>
                  <a:cubicBezTo>
                    <a:pt x="48441" y="248550"/>
                    <a:pt x="30843" y="232229"/>
                    <a:pt x="26081" y="222364"/>
                  </a:cubicBezTo>
                  <a:cubicBezTo>
                    <a:pt x="21323" y="212524"/>
                    <a:pt x="21980" y="198485"/>
                    <a:pt x="26874" y="189981"/>
                  </a:cubicBezTo>
                  <a:cubicBezTo>
                    <a:pt x="28258" y="188165"/>
                    <a:pt x="35254" y="186344"/>
                    <a:pt x="42763" y="185722"/>
                  </a:cubicBezTo>
                  <a:close/>
                  <a:moveTo>
                    <a:pt x="34737" y="93844"/>
                  </a:moveTo>
                  <a:lnTo>
                    <a:pt x="12511" y="103195"/>
                  </a:lnTo>
                  <a:lnTo>
                    <a:pt x="22869" y="96731"/>
                  </a:lnTo>
                  <a:cubicBezTo>
                    <a:pt x="27546" y="96686"/>
                    <a:pt x="32592" y="93844"/>
                    <a:pt x="34737" y="93844"/>
                  </a:cubicBezTo>
                  <a:close/>
                  <a:moveTo>
                    <a:pt x="104795" y="94"/>
                  </a:moveTo>
                  <a:cubicBezTo>
                    <a:pt x="113330" y="-297"/>
                    <a:pt x="121268" y="477"/>
                    <a:pt x="126817" y="3589"/>
                  </a:cubicBezTo>
                  <a:cubicBezTo>
                    <a:pt x="145868" y="6716"/>
                    <a:pt x="149043" y="26934"/>
                    <a:pt x="141120" y="42509"/>
                  </a:cubicBezTo>
                  <a:cubicBezTo>
                    <a:pt x="118893" y="50280"/>
                    <a:pt x="125244" y="51828"/>
                    <a:pt x="122069" y="79850"/>
                  </a:cubicBezTo>
                  <a:lnTo>
                    <a:pt x="141120" y="107871"/>
                  </a:lnTo>
                  <a:cubicBezTo>
                    <a:pt x="153820" y="115642"/>
                    <a:pt x="161744" y="128089"/>
                    <a:pt x="168094" y="140536"/>
                  </a:cubicBezTo>
                  <a:cubicBezTo>
                    <a:pt x="176046" y="145212"/>
                    <a:pt x="179222" y="151435"/>
                    <a:pt x="183970" y="159207"/>
                  </a:cubicBezTo>
                  <a:cubicBezTo>
                    <a:pt x="183970" y="159207"/>
                    <a:pt x="203021" y="160755"/>
                    <a:pt x="212547" y="163882"/>
                  </a:cubicBezTo>
                  <a:cubicBezTo>
                    <a:pt x="217324" y="165430"/>
                    <a:pt x="217324" y="173233"/>
                    <a:pt x="222072" y="176329"/>
                  </a:cubicBezTo>
                  <a:cubicBezTo>
                    <a:pt x="234773" y="179457"/>
                    <a:pt x="249075" y="188776"/>
                    <a:pt x="255426" y="199675"/>
                  </a:cubicBezTo>
                  <a:cubicBezTo>
                    <a:pt x="255426" y="199675"/>
                    <a:pt x="274477" y="207446"/>
                    <a:pt x="277652" y="215249"/>
                  </a:cubicBezTo>
                  <a:cubicBezTo>
                    <a:pt x="279225" y="218345"/>
                    <a:pt x="276050" y="219893"/>
                    <a:pt x="274477" y="223021"/>
                  </a:cubicBezTo>
                  <a:cubicBezTo>
                    <a:pt x="256999" y="226117"/>
                    <a:pt x="255426" y="227696"/>
                    <a:pt x="250649" y="209026"/>
                  </a:cubicBezTo>
                  <a:cubicBezTo>
                    <a:pt x="241123" y="204350"/>
                    <a:pt x="236375" y="207446"/>
                    <a:pt x="234773" y="218345"/>
                  </a:cubicBezTo>
                  <a:cubicBezTo>
                    <a:pt x="230024" y="229244"/>
                    <a:pt x="237948" y="230792"/>
                    <a:pt x="244298" y="238564"/>
                  </a:cubicBezTo>
                  <a:cubicBezTo>
                    <a:pt x="239550" y="246367"/>
                    <a:pt x="234773" y="252590"/>
                    <a:pt x="230024" y="260362"/>
                  </a:cubicBezTo>
                  <a:cubicBezTo>
                    <a:pt x="206196" y="274356"/>
                    <a:pt x="214148" y="286835"/>
                    <a:pt x="203021" y="308601"/>
                  </a:cubicBezTo>
                  <a:cubicBezTo>
                    <a:pt x="183970" y="311729"/>
                    <a:pt x="182397" y="313277"/>
                    <a:pt x="168094" y="303926"/>
                  </a:cubicBezTo>
                  <a:cubicBezTo>
                    <a:pt x="158569" y="302378"/>
                    <a:pt x="152219" y="299282"/>
                    <a:pt x="144295" y="294606"/>
                  </a:cubicBezTo>
                  <a:cubicBezTo>
                    <a:pt x="129992" y="291479"/>
                    <a:pt x="129992" y="291479"/>
                    <a:pt x="126817" y="275936"/>
                  </a:cubicBezTo>
                  <a:cubicBezTo>
                    <a:pt x="180795" y="271260"/>
                    <a:pt x="209372" y="289931"/>
                    <a:pt x="212547" y="237016"/>
                  </a:cubicBezTo>
                  <a:cubicBezTo>
                    <a:pt x="210973" y="227696"/>
                    <a:pt x="206196" y="223021"/>
                    <a:pt x="201448" y="215249"/>
                  </a:cubicBezTo>
                  <a:cubicBezTo>
                    <a:pt x="190321" y="213670"/>
                    <a:pt x="193496" y="209026"/>
                    <a:pt x="187145" y="199675"/>
                  </a:cubicBezTo>
                  <a:cubicBezTo>
                    <a:pt x="176046" y="193451"/>
                    <a:pt x="174445" y="182552"/>
                    <a:pt x="163346" y="177877"/>
                  </a:cubicBezTo>
                  <a:cubicBezTo>
                    <a:pt x="147470" y="174781"/>
                    <a:pt x="123642" y="159207"/>
                    <a:pt x="117292" y="145212"/>
                  </a:cubicBezTo>
                  <a:cubicBezTo>
                    <a:pt x="107766" y="137409"/>
                    <a:pt x="106193" y="128089"/>
                    <a:pt x="96667" y="121866"/>
                  </a:cubicBezTo>
                  <a:cubicBezTo>
                    <a:pt x="82365" y="118738"/>
                    <a:pt x="83967" y="112515"/>
                    <a:pt x="82365" y="98520"/>
                  </a:cubicBezTo>
                  <a:cubicBezTo>
                    <a:pt x="76015" y="84525"/>
                    <a:pt x="56964" y="89169"/>
                    <a:pt x="44263" y="87621"/>
                  </a:cubicBezTo>
                  <a:cubicBezTo>
                    <a:pt x="35798" y="88653"/>
                    <a:pt x="29454" y="92463"/>
                    <a:pt x="22869" y="96731"/>
                  </a:cubicBezTo>
                  <a:lnTo>
                    <a:pt x="17288" y="96972"/>
                  </a:lnTo>
                  <a:cubicBezTo>
                    <a:pt x="12511" y="93844"/>
                    <a:pt x="4587" y="82946"/>
                    <a:pt x="1412" y="75174"/>
                  </a:cubicBezTo>
                  <a:cubicBezTo>
                    <a:pt x="-1763" y="67403"/>
                    <a:pt x="1412" y="58052"/>
                    <a:pt x="1412" y="50280"/>
                  </a:cubicBezTo>
                  <a:cubicBezTo>
                    <a:pt x="2986" y="42509"/>
                    <a:pt x="6161" y="36285"/>
                    <a:pt x="7763" y="28482"/>
                  </a:cubicBezTo>
                  <a:cubicBezTo>
                    <a:pt x="17288" y="26934"/>
                    <a:pt x="26814" y="28482"/>
                    <a:pt x="34737" y="22259"/>
                  </a:cubicBezTo>
                  <a:cubicBezTo>
                    <a:pt x="45865" y="17583"/>
                    <a:pt x="63314" y="6716"/>
                    <a:pt x="79190" y="3589"/>
                  </a:cubicBezTo>
                  <a:cubicBezTo>
                    <a:pt x="87128" y="2041"/>
                    <a:pt x="96260" y="485"/>
                    <a:pt x="104795" y="9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7" name="Freeform 56"/>
            <p:cNvSpPr>
              <a:spLocks noEditPoints="1"/>
            </p:cNvSpPr>
            <p:nvPr/>
          </p:nvSpPr>
          <p:spPr bwMode="auto">
            <a:xfrm>
              <a:off x="6767694" y="4143308"/>
              <a:ext cx="1137128" cy="408176"/>
            </a:xfrm>
            <a:custGeom>
              <a:avLst/>
              <a:gdLst>
                <a:gd name="T0" fmla="*/ 628 w 702"/>
                <a:gd name="T1" fmla="*/ 114 h 252"/>
                <a:gd name="T2" fmla="*/ 576 w 702"/>
                <a:gd name="T3" fmla="*/ 84 h 252"/>
                <a:gd name="T4" fmla="*/ 542 w 702"/>
                <a:gd name="T5" fmla="*/ 106 h 252"/>
                <a:gd name="T6" fmla="*/ 564 w 702"/>
                <a:gd name="T7" fmla="*/ 122 h 252"/>
                <a:gd name="T8" fmla="*/ 574 w 702"/>
                <a:gd name="T9" fmla="*/ 146 h 252"/>
                <a:gd name="T10" fmla="*/ 646 w 702"/>
                <a:gd name="T11" fmla="*/ 212 h 252"/>
                <a:gd name="T12" fmla="*/ 702 w 702"/>
                <a:gd name="T13" fmla="*/ 218 h 252"/>
                <a:gd name="T14" fmla="*/ 32 w 702"/>
                <a:gd name="T15" fmla="*/ 56 h 252"/>
                <a:gd name="T16" fmla="*/ 50 w 702"/>
                <a:gd name="T17" fmla="*/ 80 h 252"/>
                <a:gd name="T18" fmla="*/ 50 w 702"/>
                <a:gd name="T19" fmla="*/ 100 h 252"/>
                <a:gd name="T20" fmla="*/ 74 w 702"/>
                <a:gd name="T21" fmla="*/ 96 h 252"/>
                <a:gd name="T22" fmla="*/ 530 w 702"/>
                <a:gd name="T23" fmla="*/ 222 h 252"/>
                <a:gd name="T24" fmla="*/ 556 w 702"/>
                <a:gd name="T25" fmla="*/ 200 h 252"/>
                <a:gd name="T26" fmla="*/ 274 w 702"/>
                <a:gd name="T27" fmla="*/ 198 h 252"/>
                <a:gd name="T28" fmla="*/ 232 w 702"/>
                <a:gd name="T29" fmla="*/ 182 h 252"/>
                <a:gd name="T30" fmla="*/ 170 w 702"/>
                <a:gd name="T31" fmla="*/ 168 h 252"/>
                <a:gd name="T32" fmla="*/ 196 w 702"/>
                <a:gd name="T33" fmla="*/ 204 h 252"/>
                <a:gd name="T34" fmla="*/ 296 w 702"/>
                <a:gd name="T35" fmla="*/ 208 h 252"/>
                <a:gd name="T36" fmla="*/ 612 w 702"/>
                <a:gd name="T37" fmla="*/ 172 h 252"/>
                <a:gd name="T38" fmla="*/ 206 w 702"/>
                <a:gd name="T39" fmla="*/ 144 h 252"/>
                <a:gd name="T40" fmla="*/ 188 w 702"/>
                <a:gd name="T41" fmla="*/ 122 h 252"/>
                <a:gd name="T42" fmla="*/ 382 w 702"/>
                <a:gd name="T43" fmla="*/ 228 h 252"/>
                <a:gd name="T44" fmla="*/ 388 w 702"/>
                <a:gd name="T45" fmla="*/ 252 h 252"/>
                <a:gd name="T46" fmla="*/ 458 w 702"/>
                <a:gd name="T47" fmla="*/ 208 h 252"/>
                <a:gd name="T48" fmla="*/ 450 w 702"/>
                <a:gd name="T49" fmla="*/ 244 h 252"/>
                <a:gd name="T50" fmla="*/ 224 w 702"/>
                <a:gd name="T51" fmla="*/ 106 h 252"/>
                <a:gd name="T52" fmla="*/ 254 w 702"/>
                <a:gd name="T53" fmla="*/ 138 h 252"/>
                <a:gd name="T54" fmla="*/ 326 w 702"/>
                <a:gd name="T55" fmla="*/ 136 h 252"/>
                <a:gd name="T56" fmla="*/ 352 w 702"/>
                <a:gd name="T57" fmla="*/ 80 h 252"/>
                <a:gd name="T58" fmla="*/ 352 w 702"/>
                <a:gd name="T59" fmla="*/ 54 h 252"/>
                <a:gd name="T60" fmla="*/ 350 w 702"/>
                <a:gd name="T61" fmla="*/ 20 h 252"/>
                <a:gd name="T62" fmla="*/ 262 w 702"/>
                <a:gd name="T63" fmla="*/ 56 h 252"/>
                <a:gd name="T64" fmla="*/ 204 w 702"/>
                <a:gd name="T65" fmla="*/ 66 h 252"/>
                <a:gd name="T66" fmla="*/ 172 w 702"/>
                <a:gd name="T67" fmla="*/ 134 h 252"/>
                <a:gd name="T68" fmla="*/ 182 w 702"/>
                <a:gd name="T69" fmla="*/ 124 h 252"/>
                <a:gd name="T70" fmla="*/ 152 w 702"/>
                <a:gd name="T71" fmla="*/ 114 h 252"/>
                <a:gd name="T72" fmla="*/ 124 w 702"/>
                <a:gd name="T73" fmla="*/ 76 h 252"/>
                <a:gd name="T74" fmla="*/ 34 w 702"/>
                <a:gd name="T75" fmla="*/ 8 h 252"/>
                <a:gd name="T76" fmla="*/ 2 w 702"/>
                <a:gd name="T77" fmla="*/ 14 h 252"/>
                <a:gd name="T78" fmla="*/ 60 w 702"/>
                <a:gd name="T79" fmla="*/ 80 h 252"/>
                <a:gd name="T80" fmla="*/ 158 w 702"/>
                <a:gd name="T81" fmla="*/ 174 h 252"/>
                <a:gd name="T82" fmla="*/ 324 w 702"/>
                <a:gd name="T83" fmla="*/ 208 h 252"/>
                <a:gd name="T84" fmla="*/ 334 w 702"/>
                <a:gd name="T85" fmla="*/ 232 h 252"/>
                <a:gd name="T86" fmla="*/ 442 w 702"/>
                <a:gd name="T87" fmla="*/ 210 h 252"/>
                <a:gd name="T88" fmla="*/ 368 w 702"/>
                <a:gd name="T89" fmla="*/ 138 h 252"/>
                <a:gd name="T90" fmla="*/ 382 w 702"/>
                <a:gd name="T91" fmla="*/ 164 h 252"/>
                <a:gd name="T92" fmla="*/ 388 w 702"/>
                <a:gd name="T93" fmla="*/ 138 h 252"/>
                <a:gd name="T94" fmla="*/ 416 w 702"/>
                <a:gd name="T95" fmla="*/ 172 h 252"/>
                <a:gd name="T96" fmla="*/ 430 w 702"/>
                <a:gd name="T97" fmla="*/ 154 h 252"/>
                <a:gd name="T98" fmla="*/ 404 w 702"/>
                <a:gd name="T99" fmla="*/ 116 h 252"/>
                <a:gd name="T100" fmla="*/ 426 w 702"/>
                <a:gd name="T101" fmla="*/ 96 h 252"/>
                <a:gd name="T102" fmla="*/ 390 w 702"/>
                <a:gd name="T103" fmla="*/ 82 h 252"/>
                <a:gd name="T104" fmla="*/ 454 w 702"/>
                <a:gd name="T105" fmla="*/ 56 h 252"/>
                <a:gd name="T106" fmla="*/ 386 w 702"/>
                <a:gd name="T107" fmla="*/ 76 h 252"/>
                <a:gd name="T108" fmla="*/ 494 w 702"/>
                <a:gd name="T109" fmla="*/ 90 h 252"/>
                <a:gd name="T110" fmla="*/ 508 w 702"/>
                <a:gd name="T111" fmla="*/ 98 h 252"/>
                <a:gd name="T112" fmla="*/ 508 w 702"/>
                <a:gd name="T113" fmla="*/ 58 h 252"/>
                <a:gd name="T114" fmla="*/ 496 w 702"/>
                <a:gd name="T115" fmla="*/ 48 h 252"/>
                <a:gd name="T116" fmla="*/ 494 w 702"/>
                <a:gd name="T117" fmla="*/ 90 h 252"/>
                <a:gd name="T118" fmla="*/ 488 w 702"/>
                <a:gd name="T119" fmla="*/ 156 h 252"/>
                <a:gd name="T120" fmla="*/ 544 w 702"/>
                <a:gd name="T121" fmla="*/ 146 h 252"/>
                <a:gd name="T122" fmla="*/ 528 w 702"/>
                <a:gd name="T123" fmla="*/ 122 h 252"/>
                <a:gd name="T124" fmla="*/ 544 w 702"/>
                <a:gd name="T125" fmla="*/ 146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2" h="252">
                  <a:moveTo>
                    <a:pt x="700" y="124"/>
                  </a:moveTo>
                  <a:lnTo>
                    <a:pt x="698" y="124"/>
                  </a:lnTo>
                  <a:lnTo>
                    <a:pt x="700" y="122"/>
                  </a:lnTo>
                  <a:lnTo>
                    <a:pt x="650" y="104"/>
                  </a:lnTo>
                  <a:lnTo>
                    <a:pt x="650" y="104"/>
                  </a:lnTo>
                  <a:lnTo>
                    <a:pt x="648" y="10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12" y="130"/>
                  </a:lnTo>
                  <a:lnTo>
                    <a:pt x="594" y="114"/>
                  </a:lnTo>
                  <a:lnTo>
                    <a:pt x="594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76" y="84"/>
                  </a:lnTo>
                  <a:lnTo>
                    <a:pt x="576" y="84"/>
                  </a:lnTo>
                  <a:lnTo>
                    <a:pt x="574" y="84"/>
                  </a:lnTo>
                  <a:lnTo>
                    <a:pt x="564" y="84"/>
                  </a:lnTo>
                  <a:lnTo>
                    <a:pt x="564" y="84"/>
                  </a:lnTo>
                  <a:lnTo>
                    <a:pt x="562" y="86"/>
                  </a:lnTo>
                  <a:lnTo>
                    <a:pt x="542" y="104"/>
                  </a:lnTo>
                  <a:lnTo>
                    <a:pt x="542" y="104"/>
                  </a:lnTo>
                  <a:lnTo>
                    <a:pt x="542" y="106"/>
                  </a:lnTo>
                  <a:lnTo>
                    <a:pt x="542" y="106"/>
                  </a:lnTo>
                  <a:lnTo>
                    <a:pt x="544" y="108"/>
                  </a:lnTo>
                  <a:lnTo>
                    <a:pt x="550" y="108"/>
                  </a:lnTo>
                  <a:lnTo>
                    <a:pt x="562" y="118"/>
                  </a:lnTo>
                  <a:lnTo>
                    <a:pt x="562" y="118"/>
                  </a:lnTo>
                  <a:lnTo>
                    <a:pt x="564" y="120"/>
                  </a:lnTo>
                  <a:lnTo>
                    <a:pt x="584" y="120"/>
                  </a:lnTo>
                  <a:lnTo>
                    <a:pt x="580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0" y="124"/>
                  </a:lnTo>
                  <a:lnTo>
                    <a:pt x="560" y="124"/>
                  </a:lnTo>
                  <a:lnTo>
                    <a:pt x="562" y="126"/>
                  </a:lnTo>
                  <a:lnTo>
                    <a:pt x="572" y="136"/>
                  </a:lnTo>
                  <a:lnTo>
                    <a:pt x="572" y="144"/>
                  </a:lnTo>
                  <a:lnTo>
                    <a:pt x="572" y="144"/>
                  </a:lnTo>
                  <a:lnTo>
                    <a:pt x="574" y="146"/>
                  </a:lnTo>
                  <a:lnTo>
                    <a:pt x="574" y="146"/>
                  </a:lnTo>
                  <a:lnTo>
                    <a:pt x="576" y="146"/>
                  </a:lnTo>
                  <a:lnTo>
                    <a:pt x="582" y="138"/>
                  </a:lnTo>
                  <a:lnTo>
                    <a:pt x="646" y="172"/>
                  </a:lnTo>
                  <a:lnTo>
                    <a:pt x="656" y="19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6" y="212"/>
                  </a:lnTo>
                  <a:lnTo>
                    <a:pt x="646" y="212"/>
                  </a:lnTo>
                  <a:lnTo>
                    <a:pt x="650" y="214"/>
                  </a:lnTo>
                  <a:lnTo>
                    <a:pt x="678" y="204"/>
                  </a:lnTo>
                  <a:lnTo>
                    <a:pt x="698" y="220"/>
                  </a:lnTo>
                  <a:lnTo>
                    <a:pt x="698" y="220"/>
                  </a:lnTo>
                  <a:lnTo>
                    <a:pt x="700" y="220"/>
                  </a:lnTo>
                  <a:lnTo>
                    <a:pt x="700" y="220"/>
                  </a:lnTo>
                  <a:lnTo>
                    <a:pt x="702" y="218"/>
                  </a:lnTo>
                  <a:lnTo>
                    <a:pt x="702" y="124"/>
                  </a:lnTo>
                  <a:lnTo>
                    <a:pt x="700" y="124"/>
                  </a:lnTo>
                  <a:close/>
                  <a:moveTo>
                    <a:pt x="54" y="80"/>
                  </a:moveTo>
                  <a:lnTo>
                    <a:pt x="54" y="80"/>
                  </a:lnTo>
                  <a:lnTo>
                    <a:pt x="54" y="78"/>
                  </a:lnTo>
                  <a:lnTo>
                    <a:pt x="52" y="7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8" y="58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4" y="80"/>
                  </a:lnTo>
                  <a:close/>
                  <a:moveTo>
                    <a:pt x="72" y="96"/>
                  </a:moveTo>
                  <a:lnTo>
                    <a:pt x="52" y="96"/>
                  </a:lnTo>
                  <a:lnTo>
                    <a:pt x="52" y="98"/>
                  </a:lnTo>
                  <a:lnTo>
                    <a:pt x="50" y="100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4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72" y="96"/>
                  </a:lnTo>
                  <a:close/>
                  <a:moveTo>
                    <a:pt x="552" y="200"/>
                  </a:moveTo>
                  <a:lnTo>
                    <a:pt x="534" y="200"/>
                  </a:lnTo>
                  <a:lnTo>
                    <a:pt x="534" y="200"/>
                  </a:lnTo>
                  <a:lnTo>
                    <a:pt x="532" y="200"/>
                  </a:lnTo>
                  <a:lnTo>
                    <a:pt x="530" y="202"/>
                  </a:lnTo>
                  <a:lnTo>
                    <a:pt x="530" y="222"/>
                  </a:lnTo>
                  <a:lnTo>
                    <a:pt x="534" y="222"/>
                  </a:lnTo>
                  <a:lnTo>
                    <a:pt x="534" y="224"/>
                  </a:lnTo>
                  <a:lnTo>
                    <a:pt x="544" y="224"/>
                  </a:lnTo>
                  <a:lnTo>
                    <a:pt x="544" y="224"/>
                  </a:lnTo>
                  <a:lnTo>
                    <a:pt x="546" y="222"/>
                  </a:lnTo>
                  <a:lnTo>
                    <a:pt x="556" y="204"/>
                  </a:lnTo>
                  <a:lnTo>
                    <a:pt x="556" y="204"/>
                  </a:lnTo>
                  <a:lnTo>
                    <a:pt x="556" y="200"/>
                  </a:lnTo>
                  <a:lnTo>
                    <a:pt x="556" y="200"/>
                  </a:lnTo>
                  <a:lnTo>
                    <a:pt x="552" y="200"/>
                  </a:lnTo>
                  <a:lnTo>
                    <a:pt x="552" y="200"/>
                  </a:lnTo>
                  <a:close/>
                  <a:moveTo>
                    <a:pt x="296" y="200"/>
                  </a:moveTo>
                  <a:lnTo>
                    <a:pt x="296" y="200"/>
                  </a:lnTo>
                  <a:lnTo>
                    <a:pt x="296" y="198"/>
                  </a:lnTo>
                  <a:lnTo>
                    <a:pt x="294" y="198"/>
                  </a:lnTo>
                  <a:lnTo>
                    <a:pt x="274" y="198"/>
                  </a:lnTo>
                  <a:lnTo>
                    <a:pt x="266" y="190"/>
                  </a:lnTo>
                  <a:lnTo>
                    <a:pt x="266" y="190"/>
                  </a:lnTo>
                  <a:lnTo>
                    <a:pt x="266" y="188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4" y="180"/>
                  </a:lnTo>
                  <a:lnTo>
                    <a:pt x="234" y="180"/>
                  </a:lnTo>
                  <a:lnTo>
                    <a:pt x="232" y="182"/>
                  </a:lnTo>
                  <a:lnTo>
                    <a:pt x="232" y="186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70" y="168"/>
                  </a:lnTo>
                  <a:lnTo>
                    <a:pt x="170" y="168"/>
                  </a:lnTo>
                  <a:lnTo>
                    <a:pt x="168" y="170"/>
                  </a:lnTo>
                  <a:lnTo>
                    <a:pt x="156" y="180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294" y="214"/>
                  </a:lnTo>
                  <a:lnTo>
                    <a:pt x="294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318" y="214"/>
                  </a:lnTo>
                  <a:lnTo>
                    <a:pt x="318" y="208"/>
                  </a:lnTo>
                  <a:lnTo>
                    <a:pt x="296" y="208"/>
                  </a:lnTo>
                  <a:lnTo>
                    <a:pt x="296" y="200"/>
                  </a:lnTo>
                  <a:close/>
                  <a:moveTo>
                    <a:pt x="612" y="160"/>
                  </a:moveTo>
                  <a:lnTo>
                    <a:pt x="612" y="160"/>
                  </a:lnTo>
                  <a:lnTo>
                    <a:pt x="608" y="162"/>
                  </a:lnTo>
                  <a:lnTo>
                    <a:pt x="590" y="188"/>
                  </a:lnTo>
                  <a:lnTo>
                    <a:pt x="592" y="190"/>
                  </a:lnTo>
                  <a:lnTo>
                    <a:pt x="594" y="192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14" y="170"/>
                  </a:lnTo>
                  <a:lnTo>
                    <a:pt x="614" y="162"/>
                  </a:lnTo>
                  <a:lnTo>
                    <a:pt x="614" y="162"/>
                  </a:lnTo>
                  <a:lnTo>
                    <a:pt x="612" y="160"/>
                  </a:lnTo>
                  <a:lnTo>
                    <a:pt x="612" y="160"/>
                  </a:lnTo>
                  <a:close/>
                  <a:moveTo>
                    <a:pt x="188" y="144"/>
                  </a:moveTo>
                  <a:lnTo>
                    <a:pt x="206" y="144"/>
                  </a:lnTo>
                  <a:lnTo>
                    <a:pt x="206" y="144"/>
                  </a:lnTo>
                  <a:lnTo>
                    <a:pt x="208" y="144"/>
                  </a:lnTo>
                  <a:lnTo>
                    <a:pt x="210" y="142"/>
                  </a:lnTo>
                  <a:lnTo>
                    <a:pt x="210" y="124"/>
                  </a:lnTo>
                  <a:lnTo>
                    <a:pt x="210" y="124"/>
                  </a:lnTo>
                  <a:lnTo>
                    <a:pt x="208" y="122"/>
                  </a:lnTo>
                  <a:lnTo>
                    <a:pt x="206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4" y="124"/>
                  </a:lnTo>
                  <a:lnTo>
                    <a:pt x="184" y="142"/>
                  </a:lnTo>
                  <a:lnTo>
                    <a:pt x="188" y="142"/>
                  </a:lnTo>
                  <a:lnTo>
                    <a:pt x="188" y="144"/>
                  </a:lnTo>
                  <a:close/>
                  <a:moveTo>
                    <a:pt x="382" y="228"/>
                  </a:moveTo>
                  <a:lnTo>
                    <a:pt x="382" y="228"/>
                  </a:lnTo>
                  <a:lnTo>
                    <a:pt x="380" y="228"/>
                  </a:lnTo>
                  <a:lnTo>
                    <a:pt x="360" y="228"/>
                  </a:lnTo>
                  <a:lnTo>
                    <a:pt x="360" y="230"/>
                  </a:lnTo>
                  <a:lnTo>
                    <a:pt x="358" y="232"/>
                  </a:lnTo>
                  <a:lnTo>
                    <a:pt x="378" y="252"/>
                  </a:lnTo>
                  <a:lnTo>
                    <a:pt x="378" y="252"/>
                  </a:lnTo>
                  <a:lnTo>
                    <a:pt x="380" y="252"/>
                  </a:lnTo>
                  <a:lnTo>
                    <a:pt x="388" y="252"/>
                  </a:lnTo>
                  <a:lnTo>
                    <a:pt x="388" y="252"/>
                  </a:lnTo>
                  <a:lnTo>
                    <a:pt x="392" y="250"/>
                  </a:lnTo>
                  <a:lnTo>
                    <a:pt x="392" y="250"/>
                  </a:lnTo>
                  <a:lnTo>
                    <a:pt x="392" y="248"/>
                  </a:lnTo>
                  <a:lnTo>
                    <a:pt x="382" y="228"/>
                  </a:lnTo>
                  <a:close/>
                  <a:moveTo>
                    <a:pt x="486" y="208"/>
                  </a:moveTo>
                  <a:lnTo>
                    <a:pt x="458" y="208"/>
                  </a:lnTo>
                  <a:lnTo>
                    <a:pt x="458" y="208"/>
                  </a:lnTo>
                  <a:lnTo>
                    <a:pt x="454" y="208"/>
                  </a:lnTo>
                  <a:lnTo>
                    <a:pt x="436" y="228"/>
                  </a:lnTo>
                  <a:lnTo>
                    <a:pt x="426" y="240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48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88" y="214"/>
                  </a:lnTo>
                  <a:lnTo>
                    <a:pt x="488" y="214"/>
                  </a:lnTo>
                  <a:lnTo>
                    <a:pt x="490" y="210"/>
                  </a:lnTo>
                  <a:lnTo>
                    <a:pt x="490" y="210"/>
                  </a:lnTo>
                  <a:lnTo>
                    <a:pt x="486" y="208"/>
                  </a:lnTo>
                  <a:lnTo>
                    <a:pt x="486" y="208"/>
                  </a:lnTo>
                  <a:close/>
                  <a:moveTo>
                    <a:pt x="214" y="88"/>
                  </a:moveTo>
                  <a:lnTo>
                    <a:pt x="224" y="106"/>
                  </a:lnTo>
                  <a:lnTo>
                    <a:pt x="232" y="126"/>
                  </a:lnTo>
                  <a:lnTo>
                    <a:pt x="232" y="126"/>
                  </a:lnTo>
                  <a:lnTo>
                    <a:pt x="236" y="126"/>
                  </a:lnTo>
                  <a:lnTo>
                    <a:pt x="252" y="126"/>
                  </a:lnTo>
                  <a:lnTo>
                    <a:pt x="252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4" y="138"/>
                  </a:lnTo>
                  <a:lnTo>
                    <a:pt x="294" y="138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2" y="146"/>
                  </a:lnTo>
                  <a:lnTo>
                    <a:pt x="324" y="136"/>
                  </a:lnTo>
                  <a:lnTo>
                    <a:pt x="324" y="136"/>
                  </a:lnTo>
                  <a:lnTo>
                    <a:pt x="326" y="136"/>
                  </a:lnTo>
                  <a:lnTo>
                    <a:pt x="334" y="116"/>
                  </a:lnTo>
                  <a:lnTo>
                    <a:pt x="334" y="116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2" y="112"/>
                  </a:lnTo>
                  <a:lnTo>
                    <a:pt x="328" y="112"/>
                  </a:lnTo>
                  <a:lnTo>
                    <a:pt x="334" y="98"/>
                  </a:lnTo>
                  <a:lnTo>
                    <a:pt x="352" y="80"/>
                  </a:lnTo>
                  <a:lnTo>
                    <a:pt x="362" y="70"/>
                  </a:lnTo>
                  <a:lnTo>
                    <a:pt x="362" y="70"/>
                  </a:lnTo>
                  <a:lnTo>
                    <a:pt x="362" y="68"/>
                  </a:lnTo>
                  <a:lnTo>
                    <a:pt x="362" y="68"/>
                  </a:lnTo>
                  <a:lnTo>
                    <a:pt x="362" y="66"/>
                  </a:lnTo>
                  <a:lnTo>
                    <a:pt x="348" y="58"/>
                  </a:lnTo>
                  <a:lnTo>
                    <a:pt x="352" y="54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2" y="50"/>
                  </a:lnTo>
                  <a:lnTo>
                    <a:pt x="346" y="40"/>
                  </a:lnTo>
                  <a:lnTo>
                    <a:pt x="354" y="24"/>
                  </a:lnTo>
                  <a:lnTo>
                    <a:pt x="354" y="24"/>
                  </a:lnTo>
                  <a:lnTo>
                    <a:pt x="352" y="20"/>
                  </a:lnTo>
                  <a:lnTo>
                    <a:pt x="352" y="20"/>
                  </a:lnTo>
                  <a:lnTo>
                    <a:pt x="350" y="20"/>
                  </a:lnTo>
                  <a:lnTo>
                    <a:pt x="324" y="20"/>
                  </a:lnTo>
                  <a:lnTo>
                    <a:pt x="324" y="20"/>
                  </a:lnTo>
                  <a:lnTo>
                    <a:pt x="320" y="20"/>
                  </a:lnTo>
                  <a:lnTo>
                    <a:pt x="292" y="56"/>
                  </a:lnTo>
                  <a:lnTo>
                    <a:pt x="284" y="64"/>
                  </a:lnTo>
                  <a:lnTo>
                    <a:pt x="266" y="56"/>
                  </a:lnTo>
                  <a:lnTo>
                    <a:pt x="266" y="56"/>
                  </a:lnTo>
                  <a:lnTo>
                    <a:pt x="262" y="56"/>
                  </a:lnTo>
                  <a:lnTo>
                    <a:pt x="252" y="66"/>
                  </a:lnTo>
                  <a:lnTo>
                    <a:pt x="236" y="66"/>
                  </a:lnTo>
                  <a:lnTo>
                    <a:pt x="218" y="56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6" y="5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8"/>
                  </a:lnTo>
                  <a:lnTo>
                    <a:pt x="204" y="70"/>
                  </a:lnTo>
                  <a:lnTo>
                    <a:pt x="214" y="88"/>
                  </a:lnTo>
                  <a:close/>
                  <a:moveTo>
                    <a:pt x="160" y="172"/>
                  </a:moveTo>
                  <a:lnTo>
                    <a:pt x="172" y="136"/>
                  </a:lnTo>
                  <a:lnTo>
                    <a:pt x="172" y="136"/>
                  </a:lnTo>
                  <a:lnTo>
                    <a:pt x="172" y="134"/>
                  </a:lnTo>
                  <a:lnTo>
                    <a:pt x="168" y="128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80" y="138"/>
                  </a:lnTo>
                  <a:lnTo>
                    <a:pt x="180" y="138"/>
                  </a:lnTo>
                  <a:lnTo>
                    <a:pt x="182" y="13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2"/>
                  </a:lnTo>
                  <a:lnTo>
                    <a:pt x="172" y="104"/>
                  </a:lnTo>
                  <a:lnTo>
                    <a:pt x="172" y="104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6" y="104"/>
                  </a:lnTo>
                  <a:lnTo>
                    <a:pt x="156" y="114"/>
                  </a:lnTo>
                  <a:lnTo>
                    <a:pt x="152" y="114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0" y="94"/>
                  </a:lnTo>
                  <a:lnTo>
                    <a:pt x="134" y="9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4"/>
                  </a:lnTo>
                  <a:lnTo>
                    <a:pt x="124" y="76"/>
                  </a:lnTo>
                  <a:lnTo>
                    <a:pt x="124" y="68"/>
                  </a:lnTo>
                  <a:lnTo>
                    <a:pt x="124" y="68"/>
                  </a:lnTo>
                  <a:lnTo>
                    <a:pt x="122" y="66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2" y="48"/>
                  </a:lnTo>
                  <a:lnTo>
                    <a:pt x="82" y="4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4" y="3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52" y="60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80"/>
                  </a:lnTo>
                  <a:lnTo>
                    <a:pt x="78" y="100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40" y="174"/>
                  </a:lnTo>
                  <a:lnTo>
                    <a:pt x="158" y="174"/>
                  </a:lnTo>
                  <a:lnTo>
                    <a:pt x="158" y="174"/>
                  </a:lnTo>
                  <a:lnTo>
                    <a:pt x="160" y="172"/>
                  </a:lnTo>
                  <a:lnTo>
                    <a:pt x="160" y="172"/>
                  </a:lnTo>
                  <a:close/>
                  <a:moveTo>
                    <a:pt x="442" y="210"/>
                  </a:moveTo>
                  <a:lnTo>
                    <a:pt x="442" y="210"/>
                  </a:lnTo>
                  <a:lnTo>
                    <a:pt x="440" y="208"/>
                  </a:lnTo>
                  <a:lnTo>
                    <a:pt x="324" y="208"/>
                  </a:lnTo>
                  <a:lnTo>
                    <a:pt x="324" y="208"/>
                  </a:lnTo>
                  <a:lnTo>
                    <a:pt x="322" y="208"/>
                  </a:lnTo>
                  <a:lnTo>
                    <a:pt x="320" y="210"/>
                  </a:lnTo>
                  <a:lnTo>
                    <a:pt x="320" y="230"/>
                  </a:lnTo>
                  <a:lnTo>
                    <a:pt x="324" y="230"/>
                  </a:lnTo>
                  <a:lnTo>
                    <a:pt x="324" y="232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32"/>
                  </a:lnTo>
                  <a:lnTo>
                    <a:pt x="372" y="214"/>
                  </a:lnTo>
                  <a:lnTo>
                    <a:pt x="410" y="232"/>
                  </a:lnTo>
                  <a:lnTo>
                    <a:pt x="410" y="232"/>
                  </a:lnTo>
                  <a:lnTo>
                    <a:pt x="412" y="232"/>
                  </a:lnTo>
                  <a:lnTo>
                    <a:pt x="442" y="214"/>
                  </a:lnTo>
                  <a:lnTo>
                    <a:pt x="442" y="214"/>
                  </a:lnTo>
                  <a:lnTo>
                    <a:pt x="442" y="210"/>
                  </a:lnTo>
                  <a:lnTo>
                    <a:pt x="442" y="210"/>
                  </a:lnTo>
                  <a:close/>
                  <a:moveTo>
                    <a:pt x="360" y="124"/>
                  </a:moveTo>
                  <a:lnTo>
                    <a:pt x="360" y="124"/>
                  </a:lnTo>
                  <a:lnTo>
                    <a:pt x="358" y="124"/>
                  </a:lnTo>
                  <a:lnTo>
                    <a:pt x="358" y="136"/>
                  </a:lnTo>
                  <a:lnTo>
                    <a:pt x="358" y="136"/>
                  </a:lnTo>
                  <a:lnTo>
                    <a:pt x="358" y="138"/>
                  </a:lnTo>
                  <a:lnTo>
                    <a:pt x="360" y="138"/>
                  </a:lnTo>
                  <a:lnTo>
                    <a:pt x="368" y="138"/>
                  </a:lnTo>
                  <a:lnTo>
                    <a:pt x="368" y="172"/>
                  </a:lnTo>
                  <a:lnTo>
                    <a:pt x="368" y="172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4" y="174"/>
                  </a:lnTo>
                  <a:lnTo>
                    <a:pt x="382" y="166"/>
                  </a:lnTo>
                  <a:lnTo>
                    <a:pt x="382" y="166"/>
                  </a:lnTo>
                  <a:lnTo>
                    <a:pt x="382" y="164"/>
                  </a:lnTo>
                  <a:lnTo>
                    <a:pt x="382" y="136"/>
                  </a:lnTo>
                  <a:lnTo>
                    <a:pt x="390" y="128"/>
                  </a:lnTo>
                  <a:lnTo>
                    <a:pt x="392" y="128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6" y="136"/>
                  </a:lnTo>
                  <a:lnTo>
                    <a:pt x="386" y="136"/>
                  </a:lnTo>
                  <a:lnTo>
                    <a:pt x="388" y="138"/>
                  </a:lnTo>
                  <a:lnTo>
                    <a:pt x="398" y="146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6"/>
                  </a:lnTo>
                  <a:lnTo>
                    <a:pt x="400" y="156"/>
                  </a:lnTo>
                  <a:lnTo>
                    <a:pt x="416" y="156"/>
                  </a:lnTo>
                  <a:lnTo>
                    <a:pt x="416" y="172"/>
                  </a:lnTo>
                  <a:lnTo>
                    <a:pt x="416" y="172"/>
                  </a:lnTo>
                  <a:lnTo>
                    <a:pt x="418" y="174"/>
                  </a:lnTo>
                  <a:lnTo>
                    <a:pt x="418" y="174"/>
                  </a:lnTo>
                  <a:lnTo>
                    <a:pt x="420" y="174"/>
                  </a:lnTo>
                  <a:lnTo>
                    <a:pt x="428" y="166"/>
                  </a:lnTo>
                  <a:lnTo>
                    <a:pt x="428" y="166"/>
                  </a:lnTo>
                  <a:lnTo>
                    <a:pt x="430" y="164"/>
                  </a:lnTo>
                  <a:lnTo>
                    <a:pt x="430" y="154"/>
                  </a:lnTo>
                  <a:lnTo>
                    <a:pt x="430" y="154"/>
                  </a:lnTo>
                  <a:lnTo>
                    <a:pt x="428" y="152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22" y="136"/>
                  </a:lnTo>
                  <a:lnTo>
                    <a:pt x="422" y="136"/>
                  </a:lnTo>
                  <a:lnTo>
                    <a:pt x="420" y="134"/>
                  </a:lnTo>
                  <a:lnTo>
                    <a:pt x="404" y="116"/>
                  </a:lnTo>
                  <a:lnTo>
                    <a:pt x="418" y="102"/>
                  </a:lnTo>
                  <a:lnTo>
                    <a:pt x="428" y="100"/>
                  </a:lnTo>
                  <a:lnTo>
                    <a:pt x="428" y="100"/>
                  </a:lnTo>
                  <a:lnTo>
                    <a:pt x="430" y="100"/>
                  </a:lnTo>
                  <a:lnTo>
                    <a:pt x="430" y="98"/>
                  </a:lnTo>
                  <a:lnTo>
                    <a:pt x="430" y="98"/>
                  </a:lnTo>
                  <a:lnTo>
                    <a:pt x="428" y="96"/>
                  </a:lnTo>
                  <a:lnTo>
                    <a:pt x="426" y="96"/>
                  </a:lnTo>
                  <a:lnTo>
                    <a:pt x="418" y="96"/>
                  </a:lnTo>
                  <a:lnTo>
                    <a:pt x="418" y="96"/>
                  </a:lnTo>
                  <a:lnTo>
                    <a:pt x="416" y="96"/>
                  </a:lnTo>
                  <a:lnTo>
                    <a:pt x="414" y="98"/>
                  </a:lnTo>
                  <a:lnTo>
                    <a:pt x="390" y="104"/>
                  </a:lnTo>
                  <a:lnTo>
                    <a:pt x="382" y="96"/>
                  </a:lnTo>
                  <a:lnTo>
                    <a:pt x="382" y="88"/>
                  </a:lnTo>
                  <a:lnTo>
                    <a:pt x="390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50" y="8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58" y="56"/>
                  </a:lnTo>
                  <a:lnTo>
                    <a:pt x="458" y="56"/>
                  </a:lnTo>
                  <a:lnTo>
                    <a:pt x="454" y="56"/>
                  </a:lnTo>
                  <a:lnTo>
                    <a:pt x="436" y="66"/>
                  </a:lnTo>
                  <a:lnTo>
                    <a:pt x="418" y="76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86" y="68"/>
                  </a:lnTo>
                  <a:lnTo>
                    <a:pt x="386" y="76"/>
                  </a:lnTo>
                  <a:lnTo>
                    <a:pt x="380" y="76"/>
                  </a:lnTo>
                  <a:lnTo>
                    <a:pt x="380" y="76"/>
                  </a:lnTo>
                  <a:lnTo>
                    <a:pt x="378" y="76"/>
                  </a:lnTo>
                  <a:lnTo>
                    <a:pt x="378" y="78"/>
                  </a:lnTo>
                  <a:lnTo>
                    <a:pt x="378" y="98"/>
                  </a:lnTo>
                  <a:lnTo>
                    <a:pt x="358" y="124"/>
                  </a:lnTo>
                  <a:lnTo>
                    <a:pt x="360" y="124"/>
                  </a:lnTo>
                  <a:close/>
                  <a:moveTo>
                    <a:pt x="494" y="90"/>
                  </a:moveTo>
                  <a:lnTo>
                    <a:pt x="494" y="90"/>
                  </a:lnTo>
                  <a:lnTo>
                    <a:pt x="494" y="90"/>
                  </a:lnTo>
                  <a:lnTo>
                    <a:pt x="504" y="100"/>
                  </a:lnTo>
                  <a:lnTo>
                    <a:pt x="504" y="100"/>
                  </a:lnTo>
                  <a:lnTo>
                    <a:pt x="506" y="102"/>
                  </a:lnTo>
                  <a:lnTo>
                    <a:pt x="508" y="100"/>
                  </a:lnTo>
                  <a:lnTo>
                    <a:pt x="508" y="100"/>
                  </a:lnTo>
                  <a:lnTo>
                    <a:pt x="508" y="98"/>
                  </a:lnTo>
                  <a:lnTo>
                    <a:pt x="508" y="96"/>
                  </a:lnTo>
                  <a:lnTo>
                    <a:pt x="500" y="86"/>
                  </a:lnTo>
                  <a:lnTo>
                    <a:pt x="500" y="82"/>
                  </a:lnTo>
                  <a:lnTo>
                    <a:pt x="506" y="82"/>
                  </a:lnTo>
                  <a:lnTo>
                    <a:pt x="506" y="82"/>
                  </a:lnTo>
                  <a:lnTo>
                    <a:pt x="508" y="80"/>
                  </a:lnTo>
                  <a:lnTo>
                    <a:pt x="508" y="78"/>
                  </a:lnTo>
                  <a:lnTo>
                    <a:pt x="508" y="58"/>
                  </a:lnTo>
                  <a:lnTo>
                    <a:pt x="508" y="58"/>
                  </a:lnTo>
                  <a:lnTo>
                    <a:pt x="508" y="56"/>
                  </a:lnTo>
                  <a:lnTo>
                    <a:pt x="506" y="56"/>
                  </a:lnTo>
                  <a:lnTo>
                    <a:pt x="504" y="56"/>
                  </a:lnTo>
                  <a:lnTo>
                    <a:pt x="504" y="58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494" y="50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4" y="70"/>
                  </a:lnTo>
                  <a:lnTo>
                    <a:pt x="494" y="90"/>
                  </a:lnTo>
                  <a:close/>
                  <a:moveTo>
                    <a:pt x="486" y="132"/>
                  </a:moveTo>
                  <a:lnTo>
                    <a:pt x="468" y="132"/>
                  </a:lnTo>
                  <a:lnTo>
                    <a:pt x="468" y="136"/>
                  </a:lnTo>
                  <a:lnTo>
                    <a:pt x="466" y="138"/>
                  </a:lnTo>
                  <a:lnTo>
                    <a:pt x="484" y="156"/>
                  </a:lnTo>
                  <a:lnTo>
                    <a:pt x="484" y="156"/>
                  </a:lnTo>
                  <a:lnTo>
                    <a:pt x="488" y="156"/>
                  </a:lnTo>
                  <a:lnTo>
                    <a:pt x="488" y="156"/>
                  </a:lnTo>
                  <a:lnTo>
                    <a:pt x="490" y="154"/>
                  </a:lnTo>
                  <a:lnTo>
                    <a:pt x="490" y="136"/>
                  </a:lnTo>
                  <a:lnTo>
                    <a:pt x="490" y="136"/>
                  </a:lnTo>
                  <a:lnTo>
                    <a:pt x="488" y="134"/>
                  </a:lnTo>
                  <a:lnTo>
                    <a:pt x="486" y="132"/>
                  </a:lnTo>
                  <a:lnTo>
                    <a:pt x="486" y="132"/>
                  </a:lnTo>
                  <a:close/>
                  <a:moveTo>
                    <a:pt x="544" y="146"/>
                  </a:moveTo>
                  <a:lnTo>
                    <a:pt x="544" y="146"/>
                  </a:lnTo>
                  <a:lnTo>
                    <a:pt x="546" y="146"/>
                  </a:lnTo>
                  <a:lnTo>
                    <a:pt x="546" y="144"/>
                  </a:lnTo>
                  <a:lnTo>
                    <a:pt x="546" y="144"/>
                  </a:lnTo>
                  <a:lnTo>
                    <a:pt x="548" y="142"/>
                  </a:lnTo>
                  <a:lnTo>
                    <a:pt x="546" y="142"/>
                  </a:lnTo>
                  <a:lnTo>
                    <a:pt x="536" y="132"/>
                  </a:lnTo>
                  <a:lnTo>
                    <a:pt x="528" y="122"/>
                  </a:lnTo>
                  <a:lnTo>
                    <a:pt x="528" y="122"/>
                  </a:lnTo>
                  <a:lnTo>
                    <a:pt x="524" y="122"/>
                  </a:lnTo>
                  <a:lnTo>
                    <a:pt x="504" y="122"/>
                  </a:lnTo>
                  <a:lnTo>
                    <a:pt x="504" y="122"/>
                  </a:lnTo>
                  <a:lnTo>
                    <a:pt x="500" y="122"/>
                  </a:lnTo>
                  <a:lnTo>
                    <a:pt x="492" y="132"/>
                  </a:lnTo>
                  <a:lnTo>
                    <a:pt x="494" y="134"/>
                  </a:lnTo>
                  <a:lnTo>
                    <a:pt x="494" y="138"/>
                  </a:lnTo>
                  <a:lnTo>
                    <a:pt x="544" y="146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8" name="Freeform 367"/>
            <p:cNvSpPr/>
            <p:nvPr/>
          </p:nvSpPr>
          <p:spPr>
            <a:xfrm>
              <a:off x="4246396" y="2348630"/>
              <a:ext cx="31604" cy="50478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ea typeface="ＭＳ Ｐゴシック"/>
                <a:cs typeface="+mn-cs"/>
              </a:endParaRPr>
            </a:p>
          </p:txBody>
        </p:sp>
        <p:sp>
          <p:nvSpPr>
            <p:cNvPr id="369" name="Freeform 244"/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4205107" y="2425290"/>
              <a:ext cx="252695" cy="465523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sp>
        <p:nvSpPr>
          <p:cNvPr id="379" name="Rectangle 378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8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02259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88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772816"/>
            <a:ext cx="8153400" cy="358140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0F1D0B-4313-E14E-B80B-BBE4C8D41D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30736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 userDrawn="1">
            <p:extLst/>
          </p:nvPr>
        </p:nvGraphicFramePr>
        <p:xfrm>
          <a:off x="462430" y="914401"/>
          <a:ext cx="2081907" cy="4349262"/>
        </p:xfrm>
        <a:graphic>
          <a:graphicData uri="http://schemas.openxmlformats.org/drawingml/2006/table">
            <a:tbl>
              <a:tblPr firstRow="1" bandRow="1"/>
              <a:tblGrid>
                <a:gridCol w="2081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ext</a:t>
                      </a: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ables</a:t>
                      </a: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Charts</a:t>
                      </a:r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Rounded Rectangle 4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2928665" y="1137138"/>
            <a:ext cx="802949" cy="741184"/>
          </a:xfrm>
          <a:prstGeom prst="roundRect">
            <a:avLst/>
          </a:prstGeom>
          <a:solidFill>
            <a:srgbClr val="577586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68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84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6</a:t>
            </a:r>
          </a:p>
        </p:txBody>
      </p:sp>
      <p:sp>
        <p:nvSpPr>
          <p:cNvPr id="6" name="TextBox 5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2928666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Header</a:t>
            </a:r>
          </a:p>
        </p:txBody>
      </p:sp>
      <p:sp>
        <p:nvSpPr>
          <p:cNvPr id="7" name="Rounded Rectangle 6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3844592" y="1121898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8" name="TextBox 7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3845449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9" name="TextBox 8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772146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Line</a:t>
            </a:r>
          </a:p>
        </p:txBody>
      </p:sp>
      <p:sp>
        <p:nvSpPr>
          <p:cNvPr id="10" name="Rounded Rectangle 9"/>
          <p:cNvSpPr>
            <a:spLocks/>
          </p:cNvSpPr>
          <p:nvPr userDrawn="1">
            <p:custDataLst>
              <p:tags r:id="rId6"/>
            </p:custDataLst>
          </p:nvPr>
        </p:nvSpPr>
        <p:spPr>
          <a:xfrm>
            <a:off x="2928665" y="2611491"/>
            <a:ext cx="802949" cy="741184"/>
          </a:xfrm>
          <a:prstGeom prst="roundRect">
            <a:avLst/>
          </a:prstGeom>
          <a:solidFill>
            <a:srgbClr val="FFFFFF">
              <a:lumMod val="8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</p:txBody>
      </p:sp>
      <p:sp>
        <p:nvSpPr>
          <p:cNvPr id="11" name="TextBox 10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2928666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Fill</a:t>
            </a:r>
          </a:p>
        </p:txBody>
      </p:sp>
      <p:sp>
        <p:nvSpPr>
          <p:cNvPr id="12" name="Rounded Rectangle 11"/>
          <p:cNvSpPr>
            <a:spLocks/>
          </p:cNvSpPr>
          <p:nvPr userDrawn="1">
            <p:custDataLst>
              <p:tags r:id="rId8"/>
            </p:custDataLst>
          </p:nvPr>
        </p:nvSpPr>
        <p:spPr>
          <a:xfrm>
            <a:off x="3844592" y="2596251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13" name="TextBox 1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845449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4" name="TextBox 13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772146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Line</a:t>
            </a:r>
          </a:p>
        </p:txBody>
      </p:sp>
      <p:sp>
        <p:nvSpPr>
          <p:cNvPr id="15" name="Rounded Rectangle 14"/>
          <p:cNvSpPr>
            <a:spLocks/>
          </p:cNvSpPr>
          <p:nvPr userDrawn="1">
            <p:custDataLst>
              <p:tags r:id="rId11"/>
            </p:custDataLst>
          </p:nvPr>
        </p:nvSpPr>
        <p:spPr>
          <a:xfrm>
            <a:off x="5693478" y="1137138"/>
            <a:ext cx="802949" cy="741184"/>
          </a:xfrm>
          <a:prstGeom prst="roundRect">
            <a:avLst/>
          </a:prstGeom>
          <a:solidFill>
            <a:srgbClr val="00000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</p:txBody>
      </p:sp>
      <p:sp>
        <p:nvSpPr>
          <p:cNvPr id="16" name="TextBox 15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5693478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7" name="Rounded Rectangle 16"/>
          <p:cNvSpPr>
            <a:spLocks/>
          </p:cNvSpPr>
          <p:nvPr userDrawn="1">
            <p:custDataLst>
              <p:tags r:id="rId13"/>
            </p:custDataLst>
          </p:nvPr>
        </p:nvSpPr>
        <p:spPr>
          <a:xfrm>
            <a:off x="5693478" y="2611491"/>
            <a:ext cx="802949" cy="741184"/>
          </a:xfrm>
          <a:prstGeom prst="roundRect">
            <a:avLst/>
          </a:prstGeom>
          <a:solidFill>
            <a:srgbClr val="00000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</p:txBody>
      </p:sp>
      <p:sp>
        <p:nvSpPr>
          <p:cNvPr id="18" name="TextBox 17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5693478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9" name="Rounded Rectangle 18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776266" y="1121898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20" name="Rounded Rectangle 19"/>
          <p:cNvSpPr>
            <a:spLocks/>
          </p:cNvSpPr>
          <p:nvPr userDrawn="1">
            <p:custDataLst>
              <p:tags r:id="rId16"/>
            </p:custDataLst>
          </p:nvPr>
        </p:nvSpPr>
        <p:spPr>
          <a:xfrm>
            <a:off x="4776266" y="2596251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62431" y="5486400"/>
            <a:ext cx="8915400" cy="679946"/>
            <a:chOff x="609600" y="609600"/>
            <a:chExt cx="8970784" cy="741184"/>
          </a:xfrm>
        </p:grpSpPr>
        <p:sp>
          <p:nvSpPr>
            <p:cNvPr id="22" name="Rounded Rectangle 21"/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5547360" y="609600"/>
              <a:ext cx="741184" cy="741184"/>
            </a:xfrm>
            <a:prstGeom prst="roundRect">
              <a:avLst/>
            </a:prstGeom>
            <a:solidFill>
              <a:srgbClr val="7D9AAA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8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34</a:t>
              </a:r>
            </a:p>
          </p:txBody>
        </p:sp>
        <p:sp>
          <p:nvSpPr>
            <p:cNvPr id="23" name="Rounded Rectangle 22"/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3078480" y="609600"/>
              <a:ext cx="741184" cy="741184"/>
            </a:xfrm>
            <a:prstGeom prst="roundRect">
              <a:avLst/>
            </a:prstGeom>
            <a:solidFill>
              <a:srgbClr val="FF8600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55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34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</p:txBody>
        </p:sp>
        <p:sp>
          <p:nvSpPr>
            <p:cNvPr id="24" name="Rounded Rectangle 23"/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25552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  <p:sp>
          <p:nvSpPr>
            <p:cNvPr id="25" name="Rounded Rectangle 24"/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193280" y="609600"/>
              <a:ext cx="741184" cy="741184"/>
            </a:xfrm>
            <a:prstGeom prst="roundRect">
              <a:avLst/>
            </a:prstGeom>
            <a:solidFill>
              <a:srgbClr val="99DEF9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7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84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93</a:t>
              </a:r>
            </a:p>
          </p:txBody>
        </p:sp>
        <p:sp>
          <p:nvSpPr>
            <p:cNvPr id="26" name="Rounded Rectangle 25"/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6370320" y="609600"/>
              <a:ext cx="741184" cy="741184"/>
            </a:xfrm>
            <a:prstGeom prst="roundRect">
              <a:avLst/>
            </a:prstGeom>
            <a:solidFill>
              <a:srgbClr val="4CB8C1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53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22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49</a:t>
              </a:r>
            </a:p>
          </p:txBody>
        </p:sp>
        <p:sp>
          <p:nvSpPr>
            <p:cNvPr id="27" name="Rounded Rectangle 26"/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3901440" y="609600"/>
              <a:ext cx="741184" cy="741184"/>
            </a:xfrm>
            <a:prstGeom prst="roundRect">
              <a:avLst/>
            </a:prstGeom>
            <a:solidFill>
              <a:srgbClr val="D9D9D9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</p:txBody>
        </p:sp>
        <p:sp>
          <p:nvSpPr>
            <p:cNvPr id="28" name="Rounded Rectangle 27"/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609600" y="609600"/>
              <a:ext cx="741184" cy="741184"/>
            </a:xfrm>
            <a:prstGeom prst="round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</p:txBody>
        </p:sp>
        <p:sp>
          <p:nvSpPr>
            <p:cNvPr id="29" name="Rounded Rectangle 28"/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8839200" y="609600"/>
              <a:ext cx="741184" cy="741184"/>
            </a:xfrm>
            <a:prstGeom prst="roundRect">
              <a:avLst/>
            </a:prstGeom>
            <a:solidFill>
              <a:srgbClr val="646464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</p:txBody>
        </p:sp>
        <p:sp>
          <p:nvSpPr>
            <p:cNvPr id="30" name="Rounded Rectangle 29"/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1432560" y="609600"/>
              <a:ext cx="741184" cy="741184"/>
            </a:xfrm>
            <a:prstGeom prst="round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white</a:t>
              </a:r>
            </a:p>
          </p:txBody>
        </p:sp>
        <p:sp>
          <p:nvSpPr>
            <p:cNvPr id="31" name="Rounded Rectangle 30"/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472440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  <p:sp>
          <p:nvSpPr>
            <p:cNvPr id="32" name="Rounded Rectangle 31"/>
            <p:cNvSpPr>
              <a:spLocks/>
            </p:cNvSpPr>
            <p:nvPr>
              <p:custDataLst>
                <p:tags r:id="rId36"/>
              </p:custDataLst>
            </p:nvPr>
          </p:nvSpPr>
          <p:spPr>
            <a:xfrm>
              <a:off x="801624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</p:grpSp>
      <p:sp>
        <p:nvSpPr>
          <p:cNvPr id="33" name="Rectangle 32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Rectangle 35"/>
          <p:cNvSpPr/>
          <p:nvPr userDrawn="1">
            <p:custDataLst>
              <p:tags r:id="rId17"/>
            </p:custDataLst>
          </p:nvPr>
        </p:nvSpPr>
        <p:spPr bwMode="auto">
          <a:xfrm>
            <a:off x="3619090" y="4301975"/>
            <a:ext cx="178858" cy="165100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7" name="Rectangle 36"/>
          <p:cNvSpPr/>
          <p:nvPr userDrawn="1">
            <p:custDataLst>
              <p:tags r:id="rId18"/>
            </p:custDataLst>
          </p:nvPr>
        </p:nvSpPr>
        <p:spPr bwMode="auto">
          <a:xfrm>
            <a:off x="2931174" y="4557562"/>
            <a:ext cx="178858" cy="165100"/>
          </a:xfrm>
          <a:prstGeom prst="rect">
            <a:avLst/>
          </a:prstGeom>
          <a:solidFill>
            <a:srgbClr val="A6A6A6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7"/>
          <p:cNvSpPr/>
          <p:nvPr userDrawn="1">
            <p:custDataLst>
              <p:tags r:id="rId19"/>
            </p:custDataLst>
          </p:nvPr>
        </p:nvSpPr>
        <p:spPr bwMode="auto">
          <a:xfrm>
            <a:off x="4336243" y="4296685"/>
            <a:ext cx="178858" cy="165100"/>
          </a:xfrm>
          <a:prstGeom prst="rect">
            <a:avLst/>
          </a:prstGeom>
          <a:solidFill>
            <a:srgbClr val="4CB8C1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9" name="Rectangle 38"/>
          <p:cNvSpPr/>
          <p:nvPr userDrawn="1">
            <p:custDataLst>
              <p:tags r:id="rId20"/>
            </p:custDataLst>
          </p:nvPr>
        </p:nvSpPr>
        <p:spPr bwMode="auto">
          <a:xfrm>
            <a:off x="4336243" y="4573437"/>
            <a:ext cx="178858" cy="165100"/>
          </a:xfrm>
          <a:prstGeom prst="rect">
            <a:avLst/>
          </a:prstGeom>
          <a:solidFill>
            <a:srgbClr val="009AA6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0" name="Rectangle 39"/>
          <p:cNvSpPr/>
          <p:nvPr userDrawn="1">
            <p:custDataLst>
              <p:tags r:id="rId21"/>
            </p:custDataLst>
          </p:nvPr>
        </p:nvSpPr>
        <p:spPr bwMode="auto">
          <a:xfrm>
            <a:off x="3619090" y="4573437"/>
            <a:ext cx="178858" cy="165100"/>
          </a:xfrm>
          <a:prstGeom prst="rect">
            <a:avLst/>
          </a:prstGeom>
          <a:solidFill>
            <a:srgbClr val="99DEF9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1" name="Rectangle 40"/>
          <p:cNvSpPr/>
          <p:nvPr userDrawn="1">
            <p:custDataLst>
              <p:tags r:id="rId22"/>
            </p:custDataLst>
          </p:nvPr>
        </p:nvSpPr>
        <p:spPr bwMode="auto">
          <a:xfrm>
            <a:off x="2931174" y="4286100"/>
            <a:ext cx="178858" cy="16510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2" name="Text Placeholder 15"/>
          <p:cNvSpPr>
            <a:spLocks noGrp="1"/>
          </p:cNvSpPr>
          <p:nvPr userDrawn="1">
            <p:custDataLst>
              <p:tags r:id="rId23"/>
            </p:custDataLst>
          </p:nvPr>
        </p:nvSpPr>
        <p:spPr bwMode="auto">
          <a:xfrm>
            <a:off x="4515101" y="4555976"/>
            <a:ext cx="47638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3" name="Text Placeholder 8"/>
          <p:cNvSpPr>
            <a:spLocks noGrp="1"/>
          </p:cNvSpPr>
          <p:nvPr userDrawn="1">
            <p:custDataLst>
              <p:tags r:id="rId24"/>
            </p:custDataLst>
          </p:nvPr>
        </p:nvSpPr>
        <p:spPr bwMode="auto">
          <a:xfrm>
            <a:off x="4515102" y="4284513"/>
            <a:ext cx="54001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4" name="Text Placeholder 7"/>
          <p:cNvSpPr>
            <a:spLocks noGrp="1"/>
          </p:cNvSpPr>
          <p:nvPr userDrawn="1">
            <p:custDataLst>
              <p:tags r:id="rId25"/>
            </p:custDataLst>
          </p:nvPr>
        </p:nvSpPr>
        <p:spPr bwMode="auto">
          <a:xfrm>
            <a:off x="3220099" y="4555976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410790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58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39"/>
            <a:ext cx="5455758" cy="1015663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700"/>
            <a:ext cx="5455758" cy="290079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668578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FA3C8E-EDEA-41A4-BC04-5D135487B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049F249F-A121-4517-AB7C-A66EF1EE63F1}"/>
              </a:ext>
            </a:extLst>
          </p:cNvPr>
          <p:cNvSpPr txBox="1">
            <a:spLocks/>
          </p:cNvSpPr>
          <p:nvPr userDrawn="1"/>
        </p:nvSpPr>
        <p:spPr>
          <a:xfrm>
            <a:off x="9539282" y="6558948"/>
            <a:ext cx="155492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04199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918280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918279" y="508601"/>
            <a:ext cx="2978379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/6/2016 10:20 PM SE Asia Standard Time</a:t>
            </a:r>
            <a:endParaRPr lang="en-US" sz="918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918325" y="668969"/>
            <a:ext cx="37189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58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3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699"/>
            <a:ext cx="5455758" cy="219820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046507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7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4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39283" y="6558948"/>
            <a:ext cx="158698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977147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8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5673" y="1990688"/>
            <a:ext cx="4755582" cy="12557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539282" y="65604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0484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7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27342" y="204165"/>
            <a:ext cx="9400381" cy="2923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kumimoji="0" lang="en-US" sz="1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Add slide lead here</a:t>
            </a:r>
          </a:p>
        </p:txBody>
      </p:sp>
    </p:spTree>
    <p:extLst>
      <p:ext uri="{BB962C8B-B14F-4D97-AF65-F5344CB8AC3E}">
        <p14:creationId xmlns:p14="http://schemas.microsoft.com/office/powerpoint/2010/main" val="162119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37"/>
          <p:cNvSpPr>
            <a:spLocks noChangeArrowheads="1"/>
          </p:cNvSpPr>
          <p:nvPr userDrawn="1"/>
        </p:nvSpPr>
        <p:spPr bwMode="auto">
          <a:xfrm>
            <a:off x="1" y="1"/>
            <a:ext cx="990249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000000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" name="Rectangle 2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381877" y="1443362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381877" y="2002627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381877" y="2566329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381877" y="3153282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381877" y="3733626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2381877" y="4307960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2381877" y="4882294"/>
            <a:ext cx="5138738" cy="369332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anchor="ctr"/>
          <a:lstStyle>
            <a:lvl1pPr marL="228600" indent="-228600" algn="l">
              <a:buFont typeface="Wingdings" panose="05000000000000000000" pitchFamily="2" charset="2"/>
              <a:buChar char="§"/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/>
            </a:lvl2pPr>
            <a:lvl3pPr marL="1143000" indent="-228600">
              <a:buFont typeface="Wingdings" panose="05000000000000000000" pitchFamily="2" charset="2"/>
              <a:buChar char="§"/>
              <a:defRPr/>
            </a:lvl3pPr>
            <a:lvl4pPr marL="1600200" indent="-228600">
              <a:buFont typeface="Wingdings" panose="05000000000000000000" pitchFamily="2" charset="2"/>
              <a:buChar char="§"/>
              <a:defRPr/>
            </a:lvl4pPr>
            <a:lvl5pPr marL="2057400" indent="-228600"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72872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ext slide.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301048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461083" y="1233271"/>
            <a:ext cx="449191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495301" y="1523427"/>
            <a:ext cx="445769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5145825" y="1233271"/>
            <a:ext cx="445770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8" name="Straight Connector 27"/>
          <p:cNvCxnSpPr/>
          <p:nvPr userDrawn="1"/>
        </p:nvCxnSpPr>
        <p:spPr>
          <a:xfrm>
            <a:off x="5145825" y="1523427"/>
            <a:ext cx="448618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461083" y="1644001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9" name="Text Placeholder 14"/>
          <p:cNvSpPr>
            <a:spLocks noGrp="1"/>
          </p:cNvSpPr>
          <p:nvPr>
            <p:ph type="body" sz="quarter" idx="22"/>
          </p:nvPr>
        </p:nvSpPr>
        <p:spPr>
          <a:xfrm>
            <a:off x="5183149" y="1643999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50277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text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841028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Rectangle 25"/>
          <p:cNvSpPr>
            <a:spLocks/>
          </p:cNvSpPr>
          <p:nvPr userDrawn="1"/>
        </p:nvSpPr>
        <p:spPr>
          <a:xfrm>
            <a:off x="384574" y="1226409"/>
            <a:ext cx="4457700" cy="4742235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99DEF9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7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373518" y="1573103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8" name="Rectangle 27"/>
          <p:cNvSpPr>
            <a:spLocks/>
          </p:cNvSpPr>
          <p:nvPr userDrawn="1"/>
        </p:nvSpPr>
        <p:spPr>
          <a:xfrm>
            <a:off x="364674" y="1223958"/>
            <a:ext cx="4457700" cy="335605"/>
          </a:xfrm>
          <a:prstGeom prst="rect">
            <a:avLst/>
          </a:prstGeom>
          <a:solidFill>
            <a:srgbClr val="D9D9D9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370202" y="1235047"/>
            <a:ext cx="4462122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Rectangle 29"/>
          <p:cNvSpPr>
            <a:spLocks/>
          </p:cNvSpPr>
          <p:nvPr userDrawn="1"/>
        </p:nvSpPr>
        <p:spPr>
          <a:xfrm>
            <a:off x="5070023" y="1243836"/>
            <a:ext cx="4457700" cy="4742235"/>
          </a:xfrm>
          <a:prstGeom prst="rect">
            <a:avLst/>
          </a:prstGeom>
          <a:solidFill>
            <a:srgbClr val="FFFFFF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99DEF9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1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5070023" y="1580045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Rectangle 31"/>
          <p:cNvSpPr>
            <a:spLocks/>
          </p:cNvSpPr>
          <p:nvPr userDrawn="1"/>
        </p:nvSpPr>
        <p:spPr>
          <a:xfrm>
            <a:off x="5052334" y="1223957"/>
            <a:ext cx="4457700" cy="335605"/>
          </a:xfrm>
          <a:prstGeom prst="rect">
            <a:avLst/>
          </a:prstGeom>
          <a:solidFill>
            <a:srgbClr val="D9D9D9"/>
          </a:solidFill>
          <a:ln w="6350" cap="flat" cmpd="sng" algn="ctr">
            <a:solidFill>
              <a:srgbClr val="D9D9D9"/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AU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3" name="Text Placeholder 7"/>
          <p:cNvSpPr>
            <a:spLocks noGrp="1"/>
          </p:cNvSpPr>
          <p:nvPr>
            <p:ph type="body" sz="quarter" idx="27"/>
          </p:nvPr>
        </p:nvSpPr>
        <p:spPr>
          <a:xfrm>
            <a:off x="5052334" y="1224999"/>
            <a:ext cx="4462122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221399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12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9436" y="1473622"/>
            <a:ext cx="4031556" cy="446405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473622"/>
            <a:ext cx="4031556" cy="446405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0899A7D4-528C-2C4F-854F-B19FC2CF74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55906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tangle 61"/>
          <p:cNvSpPr/>
          <p:nvPr userDrawn="1"/>
        </p:nvSpPr>
        <p:spPr>
          <a:xfrm>
            <a:off x="457025" y="915685"/>
            <a:ext cx="8957554" cy="4814900"/>
          </a:xfrm>
          <a:prstGeom prst="rect">
            <a:avLst/>
          </a:prstGeom>
          <a:solidFill>
            <a:srgbClr val="FFFFFF">
              <a:lumMod val="95000"/>
            </a:srgbClr>
          </a:solidFill>
          <a:ln w="6350" cap="flat" cmpd="sng" algn="ctr">
            <a:solidFill>
              <a:srgbClr val="FFFFFF">
                <a:lumMod val="95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85" name="Rectangle 84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531412" y="1111382"/>
            <a:ext cx="3528275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31411" y="1412875"/>
            <a:ext cx="3528275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kern="1200" baseline="0" dirty="0" smtClean="0">
                <a:solidFill>
                  <a:srgbClr val="000000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26"/>
          </p:nvPr>
        </p:nvSpPr>
        <p:spPr>
          <a:xfrm>
            <a:off x="531411" y="1787947"/>
            <a:ext cx="8543925" cy="1387559"/>
          </a:xfrm>
          <a:prstGeom prst="rect">
            <a:avLst/>
          </a:prstGeom>
        </p:spPr>
        <p:txBody>
          <a:bodyPr/>
          <a:lstStyle>
            <a:lvl1pPr>
              <a:defRPr sz="1500"/>
            </a:lvl1pPr>
            <a:lvl2pPr>
              <a:defRPr sz="15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236865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hart slide.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 userDrawn="1">
            <p:extLst/>
          </p:nvPr>
        </p:nvGraphicFramePr>
        <p:xfrm>
          <a:off x="195150" y="1357314"/>
          <a:ext cx="4445420" cy="4544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5" name="AutoShape 249"/>
          <p:cNvCxnSpPr>
            <a:cxnSpLocks noChangeShapeType="1"/>
          </p:cNvCxnSpPr>
          <p:nvPr/>
        </p:nvCxnSpPr>
        <p:spPr bwMode="auto">
          <a:xfrm>
            <a:off x="304404" y="-355812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Text Placeholder 35"/>
          <p:cNvSpPr>
            <a:spLocks noGrp="1"/>
          </p:cNvSpPr>
          <p:nvPr userDrawn="1">
            <p:custDataLst>
              <p:tags r:id="rId1"/>
            </p:custDataLst>
          </p:nvPr>
        </p:nvSpPr>
        <p:spPr bwMode="auto">
          <a:xfrm>
            <a:off x="8607558" y="1628776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3" name="Text Placeholder 34"/>
          <p:cNvSpPr>
            <a:spLocks noGrp="1"/>
          </p:cNvSpPr>
          <p:nvPr userDrawn="1">
            <p:custDataLst>
              <p:tags r:id="rId2"/>
            </p:custDataLst>
          </p:nvPr>
        </p:nvSpPr>
        <p:spPr bwMode="auto">
          <a:xfrm>
            <a:off x="8607559" y="1357314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4" name="Rectangle 33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4"/>
          </p:nvPr>
        </p:nvSpPr>
        <p:spPr>
          <a:xfrm>
            <a:off x="195151" y="1022722"/>
            <a:ext cx="444542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5" name="AutoShape 249"/>
          <p:cNvCxnSpPr>
            <a:cxnSpLocks noChangeShapeType="1"/>
          </p:cNvCxnSpPr>
          <p:nvPr userDrawn="1"/>
        </p:nvCxnSpPr>
        <p:spPr bwMode="auto">
          <a:xfrm>
            <a:off x="249777" y="1309200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Text Placeholder 7"/>
          <p:cNvSpPr>
            <a:spLocks noGrp="1"/>
          </p:cNvSpPr>
          <p:nvPr>
            <p:ph type="body" sz="quarter" idx="25"/>
          </p:nvPr>
        </p:nvSpPr>
        <p:spPr>
          <a:xfrm>
            <a:off x="5041690" y="1021189"/>
            <a:ext cx="4445420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lang="en-US" sz="1600" b="1" kern="1200" dirty="0" smtClean="0">
                <a:solidFill>
                  <a:srgbClr val="577586"/>
                </a:solidFill>
                <a:latin typeface="Arial"/>
                <a:ea typeface="ＭＳ Ｐゴシック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7" name="AutoShape 249"/>
          <p:cNvCxnSpPr>
            <a:cxnSpLocks noChangeShapeType="1"/>
          </p:cNvCxnSpPr>
          <p:nvPr userDrawn="1"/>
        </p:nvCxnSpPr>
        <p:spPr bwMode="auto">
          <a:xfrm>
            <a:off x="5057908" y="1307667"/>
            <a:ext cx="4336167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aphicFrame>
        <p:nvGraphicFramePr>
          <p:cNvPr id="39" name="Chart 38"/>
          <p:cNvGraphicFramePr>
            <a:graphicFrameLocks/>
          </p:cNvGraphicFramePr>
          <p:nvPr userDrawn="1">
            <p:extLst/>
          </p:nvPr>
        </p:nvGraphicFramePr>
        <p:xfrm>
          <a:off x="5001226" y="1377281"/>
          <a:ext cx="4336167" cy="45233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1" name="Text Placeholder 14"/>
          <p:cNvSpPr>
            <a:spLocks noGrp="1"/>
          </p:cNvSpPr>
          <p:nvPr>
            <p:ph type="body" sz="quarter" idx="21"/>
          </p:nvPr>
        </p:nvSpPr>
        <p:spPr>
          <a:xfrm>
            <a:off x="5078867" y="1955856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4" name="Text Placeholder 14"/>
          <p:cNvSpPr>
            <a:spLocks noGrp="1"/>
          </p:cNvSpPr>
          <p:nvPr>
            <p:ph type="body" sz="quarter" idx="26"/>
          </p:nvPr>
        </p:nvSpPr>
        <p:spPr>
          <a:xfrm>
            <a:off x="256411" y="1961725"/>
            <a:ext cx="4448856" cy="1442959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5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950336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hart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 userDrawn="1"/>
        </p:nvGrpSpPr>
        <p:grpSpPr>
          <a:xfrm>
            <a:off x="299711" y="987269"/>
            <a:ext cx="9318137" cy="4946516"/>
            <a:chOff x="282095" y="1172182"/>
            <a:chExt cx="8350731" cy="4946516"/>
          </a:xfrm>
        </p:grpSpPr>
        <p:sp>
          <p:nvSpPr>
            <p:cNvPr id="25" name="Rectangle 24"/>
            <p:cNvSpPr>
              <a:spLocks/>
            </p:cNvSpPr>
            <p:nvPr/>
          </p:nvSpPr>
          <p:spPr>
            <a:xfrm>
              <a:off x="282096" y="1172182"/>
              <a:ext cx="4114800" cy="494651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99DEF9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" name="Rectangle 25"/>
            <p:cNvSpPr>
              <a:spLocks/>
            </p:cNvSpPr>
            <p:nvPr/>
          </p:nvSpPr>
          <p:spPr>
            <a:xfrm>
              <a:off x="4518026" y="1172182"/>
              <a:ext cx="4114800" cy="4946516"/>
            </a:xfrm>
            <a:prstGeom prst="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99DEF9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" name="Rectangle 26"/>
            <p:cNvSpPr>
              <a:spLocks/>
            </p:cNvSpPr>
            <p:nvPr/>
          </p:nvSpPr>
          <p:spPr>
            <a:xfrm>
              <a:off x="282095" y="1180203"/>
              <a:ext cx="4114800" cy="433387"/>
            </a:xfrm>
            <a:prstGeom prst="rect">
              <a:avLst/>
            </a:prstGeom>
            <a:solidFill>
              <a:srgbClr val="D9D9D9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" name="Rectangle 27"/>
            <p:cNvSpPr>
              <a:spLocks/>
            </p:cNvSpPr>
            <p:nvPr/>
          </p:nvSpPr>
          <p:spPr>
            <a:xfrm>
              <a:off x="4518026" y="1172182"/>
              <a:ext cx="4114800" cy="433387"/>
            </a:xfrm>
            <a:prstGeom prst="rect">
              <a:avLst/>
            </a:prstGeom>
            <a:solidFill>
              <a:srgbClr val="D9D9D9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tlCol="0" anchor="ctr">
              <a:no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AU" sz="16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sp>
        <p:nvSpPr>
          <p:cNvPr id="30" name="Text Placeholder 10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3338117" y="2635251"/>
            <a:ext cx="177139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A6A6A6"/>
              </a:buClr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1" name="Text Placeholder 9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41438" y="2635251"/>
            <a:ext cx="177139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rtlCol="0" anchor="b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A6A6A6"/>
              </a:buClr>
            </a:pPr>
            <a:endParaRPr lang="en-US" sz="16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2" name="Text Placeholder 7"/>
          <p:cNvSpPr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3962400" y="1765301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3" name="Text Placeholder 6"/>
          <p:cNvSpPr>
            <a:spLocks noGrp="1"/>
          </p:cNvSpPr>
          <p:nvPr userDrawn="1">
            <p:custDataLst>
              <p:tags r:id="rId4"/>
            </p:custDataLst>
          </p:nvPr>
        </p:nvSpPr>
        <p:spPr bwMode="auto">
          <a:xfrm>
            <a:off x="3962401" y="1493839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5" name="Text Placeholder 35"/>
          <p:cNvSpPr>
            <a:spLocks noGrp="1"/>
          </p:cNvSpPr>
          <p:nvPr userDrawn="1">
            <p:custDataLst>
              <p:tags r:id="rId5"/>
            </p:custDataLst>
          </p:nvPr>
        </p:nvSpPr>
        <p:spPr bwMode="auto">
          <a:xfrm>
            <a:off x="8757179" y="1765301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36" name="Text Placeholder 34"/>
          <p:cNvSpPr>
            <a:spLocks noGrp="1"/>
          </p:cNvSpPr>
          <p:nvPr userDrawn="1">
            <p:custDataLst>
              <p:tags r:id="rId6"/>
            </p:custDataLst>
          </p:nvPr>
        </p:nvSpPr>
        <p:spPr bwMode="auto">
          <a:xfrm>
            <a:off x="8757180" y="1493839"/>
            <a:ext cx="567531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  <p:sp>
        <p:nvSpPr>
          <p:cNvPr id="39" name="Rectangle 38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4"/>
          </p:nvPr>
        </p:nvSpPr>
        <p:spPr>
          <a:xfrm>
            <a:off x="314723" y="1046997"/>
            <a:ext cx="4591844" cy="31393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2"/>
          <p:cNvSpPr>
            <a:spLocks noGrp="1"/>
          </p:cNvSpPr>
          <p:nvPr>
            <p:ph type="body" sz="quarter" idx="25"/>
          </p:nvPr>
        </p:nvSpPr>
        <p:spPr>
          <a:xfrm>
            <a:off x="5051850" y="1058192"/>
            <a:ext cx="4591844" cy="31393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26"/>
          </p:nvPr>
        </p:nvSpPr>
        <p:spPr>
          <a:xfrm>
            <a:off x="314366" y="1886225"/>
            <a:ext cx="4419865" cy="1429109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27"/>
          </p:nvPr>
        </p:nvSpPr>
        <p:spPr>
          <a:xfrm>
            <a:off x="5049702" y="1886225"/>
            <a:ext cx="4459420" cy="1262910"/>
          </a:xfrm>
          <a:prstGeom prst="rect">
            <a:avLst/>
          </a:prstGeom>
        </p:spPr>
        <p:txBody>
          <a:bodyPr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8"/>
          </p:nvPr>
        </p:nvSpPr>
        <p:spPr>
          <a:xfrm>
            <a:off x="314366" y="1431234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9"/>
          </p:nvPr>
        </p:nvSpPr>
        <p:spPr>
          <a:xfrm>
            <a:off x="5049702" y="1445421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0"/>
          </p:nvPr>
        </p:nvSpPr>
        <p:spPr>
          <a:xfrm>
            <a:off x="322695" y="1642370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1"/>
          </p:nvPr>
        </p:nvSpPr>
        <p:spPr>
          <a:xfrm>
            <a:off x="5055229" y="1641751"/>
            <a:ext cx="4058953" cy="5996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5498590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/>
          <p:cNvGraphicFramePr>
            <a:graphicFrameLocks noGrp="1"/>
          </p:cNvGraphicFramePr>
          <p:nvPr userDrawn="1">
            <p:extLst/>
          </p:nvPr>
        </p:nvGraphicFramePr>
        <p:xfrm>
          <a:off x="286642" y="845179"/>
          <a:ext cx="9226118" cy="5205125"/>
        </p:xfrm>
        <a:graphic>
          <a:graphicData uri="http://schemas.openxmlformats.org/drawingml/2006/table">
            <a:tbl>
              <a:tblPr firstRow="1" bandRow="1"/>
              <a:tblGrid>
                <a:gridCol w="2081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37932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96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53521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988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l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</a:endParaRPr>
                    </a:p>
                  </a:txBody>
                  <a:tcPr marL="101078" marR="101078" marT="46649" marB="46649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604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571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600" dirty="0">
                        <a:solidFill>
                          <a:schemeClr val="tx1">
                            <a:lumMod val="50000"/>
                            <a:lumOff val="50000"/>
                          </a:schemeClr>
                        </a:solidFill>
                      </a:endParaRPr>
                    </a:p>
                  </a:txBody>
                  <a:tcPr marL="0" marR="0" marT="0" marB="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646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2846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50539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1855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baseline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baseline="300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232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1450" indent="-171450">
                        <a:spcAft>
                          <a:spcPts val="600"/>
                        </a:spcAft>
                        <a:buFont typeface="Arial" pitchFamily="34" charset="0"/>
                        <a:buChar char="•"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>
                        <a:spcAft>
                          <a:spcPts val="600"/>
                        </a:spcAft>
                        <a:buFont typeface="Arial" pitchFamily="34" charset="0"/>
                        <a:buNone/>
                      </a:pPr>
                      <a:endParaRPr 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marL="101078" marR="101078" marT="46649" marB="46649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6" name="Rectangle 15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24"/>
          </p:nvPr>
        </p:nvSpPr>
        <p:spPr>
          <a:xfrm>
            <a:off x="2307411" y="946716"/>
            <a:ext cx="3441607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2pPr>
            <a:lvl3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3pPr>
            <a:lvl4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4pPr>
            <a:lvl5pPr>
              <a:defRPr lang="en-AU" sz="1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9"/>
          <p:cNvSpPr>
            <a:spLocks noGrp="1"/>
          </p:cNvSpPr>
          <p:nvPr>
            <p:ph sz="quarter" idx="25"/>
          </p:nvPr>
        </p:nvSpPr>
        <p:spPr>
          <a:xfrm>
            <a:off x="5976184" y="937640"/>
            <a:ext cx="343196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2pPr>
            <a:lvl3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3pPr>
            <a:lvl4pPr>
              <a:defRPr lang="en-US" sz="1400" b="1" kern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4pPr>
            <a:lvl5pPr>
              <a:defRPr lang="en-AU" sz="1400" b="1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26"/>
          </p:nvPr>
        </p:nvSpPr>
        <p:spPr>
          <a:xfrm>
            <a:off x="2431785" y="1519239"/>
            <a:ext cx="3317479" cy="117981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085850" indent="-1714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Content Placeholder 11"/>
          <p:cNvSpPr>
            <a:spLocks noGrp="1"/>
          </p:cNvSpPr>
          <p:nvPr>
            <p:ph sz="quarter" idx="27"/>
          </p:nvPr>
        </p:nvSpPr>
        <p:spPr>
          <a:xfrm>
            <a:off x="6090671" y="1519238"/>
            <a:ext cx="3317479" cy="117981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00250" indent="-171450">
              <a:buFont typeface="Wingdings" panose="05000000000000000000" pitchFamily="2" charset="2"/>
              <a:buChar char="§"/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4" name="Content Placeholder 23"/>
          <p:cNvSpPr>
            <a:spLocks noGrp="1"/>
          </p:cNvSpPr>
          <p:nvPr>
            <p:ph sz="quarter" idx="28"/>
          </p:nvPr>
        </p:nvSpPr>
        <p:spPr>
          <a:xfrm>
            <a:off x="365768" y="1952271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Content Placeholder 23"/>
          <p:cNvSpPr>
            <a:spLocks noGrp="1"/>
          </p:cNvSpPr>
          <p:nvPr>
            <p:ph sz="quarter" idx="29"/>
          </p:nvPr>
        </p:nvSpPr>
        <p:spPr>
          <a:xfrm>
            <a:off x="365768" y="3397475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3"/>
          <p:cNvSpPr>
            <a:spLocks noGrp="1"/>
          </p:cNvSpPr>
          <p:nvPr>
            <p:ph sz="quarter" idx="30"/>
          </p:nvPr>
        </p:nvSpPr>
        <p:spPr>
          <a:xfrm>
            <a:off x="365768" y="4950356"/>
            <a:ext cx="1941644" cy="480131"/>
          </a:xfrm>
          <a:prstGeom prst="rect">
            <a:avLst/>
          </a:prstGeom>
        </p:spPr>
        <p:txBody>
          <a:bodyPr anchor="ctr"/>
          <a:lstStyle>
            <a:lvl1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52310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slide.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McK 5. Source"/>
          <p:cNvSpPr>
            <a:spLocks noChangeArrowheads="1"/>
          </p:cNvSpPr>
          <p:nvPr userDrawn="1"/>
        </p:nvSpPr>
        <p:spPr bwMode="auto">
          <a:xfrm>
            <a:off x="131613" y="6566447"/>
            <a:ext cx="7586118" cy="155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SOURCE: Source</a:t>
            </a:r>
          </a:p>
        </p:txBody>
      </p:sp>
      <p:graphicFrame>
        <p:nvGraphicFramePr>
          <p:cNvPr id="28" name="Table 27"/>
          <p:cNvGraphicFramePr>
            <a:graphicFrameLocks noGrp="1"/>
          </p:cNvGraphicFramePr>
          <p:nvPr userDrawn="1">
            <p:extLst/>
          </p:nvPr>
        </p:nvGraphicFramePr>
        <p:xfrm>
          <a:off x="495301" y="857655"/>
          <a:ext cx="9076073" cy="5257797"/>
        </p:xfrm>
        <a:graphic>
          <a:graphicData uri="http://schemas.openxmlformats.org/drawingml/2006/table">
            <a:tbl>
              <a:tblPr firstRow="1" bandRow="1"/>
              <a:tblGrid>
                <a:gridCol w="18535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94655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75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889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l" defTabSz="932962" rtl="0" eaLnBrk="1" latinLnBrk="0" hangingPunct="1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endParaRPr lang="en-AU" sz="14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9530" marR="49530" anchor="ctr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l" defTabSz="932962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AU" sz="14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cription</a:t>
                      </a:r>
                      <a:endParaRPr lang="en-AU" sz="1400" b="1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bility to</a:t>
                      </a:r>
                      <a:r>
                        <a:rPr lang="en-AU" sz="14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remove</a:t>
                      </a:r>
                      <a:endParaRPr lang="en-AU" sz="1400" b="1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9060" marR="99060" marT="0" marB="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4941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indent="0" algn="ctr" defTabSz="932962" rtl="0" eaLnBrk="1" latinLnBrk="0" hangingPunct="1">
                        <a:spcAft>
                          <a:spcPts val="600"/>
                        </a:spcAft>
                        <a:buFont typeface="Arial" panose="020B0604020202020204" pitchFamily="34" charset="0"/>
                        <a:buNone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 To edit this page, please edit through Slide Master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>
                          <a:lumMod val="6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69367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24941">
                <a:tc row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AU" sz="1400" b="1" i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17000" marR="234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 dpi="0" rotWithShape="1"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a:blip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60000"/>
                        <a:lumOff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ow/Medium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524941">
                <a:tc vMerge="1">
                  <a:txBody>
                    <a:bodyPr/>
                    <a:lstStyle/>
                    <a:p>
                      <a:endParaRPr lang="en-AU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174625" marR="0" indent="-174625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marL="99060" marR="99060" marT="36000" marB="36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AU" sz="140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ium</a:t>
                      </a:r>
                    </a:p>
                  </a:txBody>
                  <a:tcPr marL="99060" marR="99060" marT="72000" marB="108000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B8C1">
                        <a:lumMod val="40000"/>
                        <a:lumOff val="6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9" name="Oval 28"/>
          <p:cNvSpPr/>
          <p:nvPr userDrawn="1"/>
        </p:nvSpPr>
        <p:spPr>
          <a:xfrm>
            <a:off x="313561" y="1977985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1</a:t>
            </a:r>
          </a:p>
        </p:txBody>
      </p:sp>
      <p:sp>
        <p:nvSpPr>
          <p:cNvPr id="30" name="Oval 29"/>
          <p:cNvSpPr/>
          <p:nvPr userDrawn="1"/>
        </p:nvSpPr>
        <p:spPr>
          <a:xfrm>
            <a:off x="313561" y="3547376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2</a:t>
            </a:r>
          </a:p>
        </p:txBody>
      </p:sp>
      <p:sp>
        <p:nvSpPr>
          <p:cNvPr id="31" name="Oval 30"/>
          <p:cNvSpPr/>
          <p:nvPr userDrawn="1"/>
        </p:nvSpPr>
        <p:spPr>
          <a:xfrm>
            <a:off x="313561" y="5157305"/>
            <a:ext cx="338978" cy="312903"/>
          </a:xfrm>
          <a:prstGeom prst="ellipse">
            <a:avLst/>
          </a:prstGeom>
          <a:solidFill>
            <a:srgbClr val="D9D9D9"/>
          </a:solidFill>
          <a:ln w="19050" cap="flat" cmpd="sng" algn="ctr">
            <a:solidFill>
              <a:srgbClr val="FFFFFF"/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577586"/>
                </a:solidFill>
                <a:latin typeface="Arial"/>
                <a:ea typeface="ＭＳ Ｐゴシック"/>
                <a:cs typeface="+mn-cs"/>
              </a:rPr>
              <a:t>3</a:t>
            </a:r>
          </a:p>
        </p:txBody>
      </p:sp>
      <p:sp>
        <p:nvSpPr>
          <p:cNvPr id="32" name="Rectangle 31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</p:nvPr>
        </p:nvSpPr>
        <p:spPr>
          <a:xfrm>
            <a:off x="866776" y="1795463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sz="quarter" idx="25"/>
          </p:nvPr>
        </p:nvSpPr>
        <p:spPr>
          <a:xfrm>
            <a:off x="866775" y="3409384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26"/>
          </p:nvPr>
        </p:nvSpPr>
        <p:spPr>
          <a:xfrm>
            <a:off x="866773" y="4984014"/>
            <a:ext cx="1097227" cy="5909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679455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>
            <a:spLocks/>
          </p:cNvSpPr>
          <p:nvPr userDrawn="1"/>
        </p:nvSpPr>
        <p:spPr bwMode="auto">
          <a:xfrm>
            <a:off x="321012" y="980526"/>
            <a:ext cx="9306129" cy="5091524"/>
          </a:xfrm>
          <a:prstGeom prst="rect">
            <a:avLst/>
          </a:prstGeom>
          <a:solidFill>
            <a:srgbClr val="A6A6A6">
              <a:lumMod val="20000"/>
              <a:lumOff val="8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30" tIns="45716" rIns="91430" bIns="45716" numCol="1" rtlCol="0" anchor="t" anchorCtr="0" compatLnSpc="1">
            <a:prstTxWarp prst="textNoShape">
              <a:avLst/>
            </a:prstTxWarp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600" b="1" kern="0" dirty="0">
              <a:solidFill>
                <a:srgbClr val="577586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65102" y="6484721"/>
            <a:ext cx="8071157" cy="248075"/>
          </a:xfrm>
          <a:prstGeom prst="rect">
            <a:avLst/>
          </a:prstGeom>
          <a:noFill/>
        </p:spPr>
        <p:txBody>
          <a:bodyPr wrap="square" lIns="93276" tIns="46638" rIns="93276" bIns="46638" rtlCol="0">
            <a:spAutoFit/>
          </a:bodyPr>
          <a:lstStyle/>
          <a:p>
            <a:pPr defTabSz="914400"/>
            <a:r>
              <a:rPr lang="en-AU" sz="1000" dirty="0">
                <a:solidFill>
                  <a:srgbClr val="000000"/>
                </a:solidFill>
                <a:latin typeface="Arial"/>
                <a:ea typeface="ＭＳ Ｐゴシック"/>
                <a:cs typeface="Arial" panose="020B0604020202020204" pitchFamily="34" charset="0"/>
              </a:rPr>
              <a:t>SOURCE: </a:t>
            </a: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Arial" panose="020B0604020202020204" pitchFamily="34" charset="0"/>
              </a:rPr>
              <a:t>XXX</a:t>
            </a:r>
          </a:p>
        </p:txBody>
      </p:sp>
      <p:pic>
        <p:nvPicPr>
          <p:cNvPr id="20" name="Picture 4" descr="Papier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5301" y="1957581"/>
            <a:ext cx="4478776" cy="3120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Papier3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974077" y="1957581"/>
            <a:ext cx="4478776" cy="3120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36345" y="6505204"/>
            <a:ext cx="9301048" cy="2308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24"/>
          </p:nvPr>
        </p:nvSpPr>
        <p:spPr>
          <a:xfrm>
            <a:off x="381081" y="1073042"/>
            <a:ext cx="3404696" cy="3139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1pPr>
            <a:lvl2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2pPr>
            <a:lvl3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3pPr>
            <a:lvl4pPr>
              <a:def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4pPr>
            <a:lvl5pPr>
              <a:defRPr kumimoji="0" lang="en-AU" sz="1600" b="1" i="0" u="none" strike="noStrike" kern="0" cap="none" spc="0" normalizeH="0" baseline="0" dirty="0">
                <a:ln>
                  <a:noFill/>
                </a:ln>
                <a:solidFill>
                  <a:srgbClr val="577586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quarter" idx="25"/>
          </p:nvPr>
        </p:nvSpPr>
        <p:spPr>
          <a:xfrm>
            <a:off x="5264106" y="2392997"/>
            <a:ext cx="3789208" cy="2585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cap="none" spc="0">
                <a:ln w="0"/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sz="quarter" idx="26"/>
          </p:nvPr>
        </p:nvSpPr>
        <p:spPr>
          <a:xfrm>
            <a:off x="830045" y="2392997"/>
            <a:ext cx="3744493" cy="2585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cap="none" spc="0">
                <a:ln w="0"/>
                <a:solidFill>
                  <a:schemeClr val="tx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918031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lide Number Placeholder 15"/>
          <p:cNvSpPr txBox="1">
            <a:spLocks/>
          </p:cNvSpPr>
          <p:nvPr userDrawn="1"/>
        </p:nvSpPr>
        <p:spPr>
          <a:xfrm>
            <a:off x="9414650" y="6560196"/>
            <a:ext cx="230760" cy="157014"/>
          </a:xfrm>
          <a:prstGeom prst="rect">
            <a:avLst/>
          </a:prstGeom>
        </p:spPr>
        <p:txBody>
          <a:bodyPr lIns="93296" tIns="46648" rIns="93296" bIns="46648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4400"/>
            <a:endParaRPr lang="en-GB" sz="1600" dirty="0">
              <a:solidFill>
                <a:srgbClr val="000000"/>
              </a:solidFill>
              <a:ea typeface="ＭＳ Ｐゴシック"/>
            </a:endParaRPr>
          </a:p>
        </p:txBody>
      </p:sp>
      <p:grpSp>
        <p:nvGrpSpPr>
          <p:cNvPr id="194" name="Group 193"/>
          <p:cNvGrpSpPr/>
          <p:nvPr userDrawn="1"/>
        </p:nvGrpSpPr>
        <p:grpSpPr>
          <a:xfrm>
            <a:off x="42186" y="1300657"/>
            <a:ext cx="9781337" cy="4611413"/>
            <a:chOff x="38941" y="1300656"/>
            <a:chExt cx="9028926" cy="4611413"/>
          </a:xfrm>
          <a:solidFill>
            <a:srgbClr val="A6A6A6"/>
          </a:solidFill>
        </p:grpSpPr>
        <p:sp>
          <p:nvSpPr>
            <p:cNvPr id="195" name="Freeform 5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205108" y="3313998"/>
              <a:ext cx="515109" cy="500502"/>
            </a:xfrm>
            <a:custGeom>
              <a:avLst/>
              <a:gdLst>
                <a:gd name="T0" fmla="*/ 192 w 313"/>
                <a:gd name="T1" fmla="*/ 306 h 309"/>
                <a:gd name="T2" fmla="*/ 171 w 313"/>
                <a:gd name="T3" fmla="*/ 294 h 309"/>
                <a:gd name="T4" fmla="*/ 131 w 313"/>
                <a:gd name="T5" fmla="*/ 264 h 309"/>
                <a:gd name="T6" fmla="*/ 102 w 313"/>
                <a:gd name="T7" fmla="*/ 246 h 309"/>
                <a:gd name="T8" fmla="*/ 86 w 313"/>
                <a:gd name="T9" fmla="*/ 231 h 309"/>
                <a:gd name="T10" fmla="*/ 45 w 313"/>
                <a:gd name="T11" fmla="*/ 205 h 309"/>
                <a:gd name="T12" fmla="*/ 17 w 313"/>
                <a:gd name="T13" fmla="*/ 187 h 309"/>
                <a:gd name="T14" fmla="*/ 15 w 313"/>
                <a:gd name="T15" fmla="*/ 180 h 309"/>
                <a:gd name="T16" fmla="*/ 0 w 313"/>
                <a:gd name="T17" fmla="*/ 165 h 309"/>
                <a:gd name="T18" fmla="*/ 14 w 313"/>
                <a:gd name="T19" fmla="*/ 147 h 309"/>
                <a:gd name="T20" fmla="*/ 24 w 313"/>
                <a:gd name="T21" fmla="*/ 139 h 309"/>
                <a:gd name="T22" fmla="*/ 38 w 313"/>
                <a:gd name="T23" fmla="*/ 138 h 309"/>
                <a:gd name="T24" fmla="*/ 53 w 313"/>
                <a:gd name="T25" fmla="*/ 129 h 309"/>
                <a:gd name="T26" fmla="*/ 62 w 313"/>
                <a:gd name="T27" fmla="*/ 120 h 309"/>
                <a:gd name="T28" fmla="*/ 77 w 313"/>
                <a:gd name="T29" fmla="*/ 114 h 309"/>
                <a:gd name="T30" fmla="*/ 89 w 313"/>
                <a:gd name="T31" fmla="*/ 102 h 309"/>
                <a:gd name="T32" fmla="*/ 92 w 313"/>
                <a:gd name="T33" fmla="*/ 91 h 309"/>
                <a:gd name="T34" fmla="*/ 108 w 313"/>
                <a:gd name="T35" fmla="*/ 90 h 309"/>
                <a:gd name="T36" fmla="*/ 110 w 313"/>
                <a:gd name="T37" fmla="*/ 73 h 309"/>
                <a:gd name="T38" fmla="*/ 110 w 313"/>
                <a:gd name="T39" fmla="*/ 44 h 309"/>
                <a:gd name="T40" fmla="*/ 116 w 313"/>
                <a:gd name="T41" fmla="*/ 33 h 309"/>
                <a:gd name="T42" fmla="*/ 131 w 313"/>
                <a:gd name="T43" fmla="*/ 28 h 309"/>
                <a:gd name="T44" fmla="*/ 149 w 313"/>
                <a:gd name="T45" fmla="*/ 18 h 309"/>
                <a:gd name="T46" fmla="*/ 188 w 313"/>
                <a:gd name="T47" fmla="*/ 12 h 309"/>
                <a:gd name="T48" fmla="*/ 228 w 313"/>
                <a:gd name="T49" fmla="*/ 19 h 309"/>
                <a:gd name="T50" fmla="*/ 222 w 313"/>
                <a:gd name="T51" fmla="*/ 9 h 309"/>
                <a:gd name="T52" fmla="*/ 258 w 313"/>
                <a:gd name="T53" fmla="*/ 18 h 309"/>
                <a:gd name="T54" fmla="*/ 251 w 313"/>
                <a:gd name="T55" fmla="*/ 52 h 309"/>
                <a:gd name="T56" fmla="*/ 254 w 313"/>
                <a:gd name="T57" fmla="*/ 84 h 309"/>
                <a:gd name="T58" fmla="*/ 255 w 313"/>
                <a:gd name="T59" fmla="*/ 90 h 309"/>
                <a:gd name="T60" fmla="*/ 260 w 313"/>
                <a:gd name="T61" fmla="*/ 91 h 309"/>
                <a:gd name="T62" fmla="*/ 270 w 313"/>
                <a:gd name="T63" fmla="*/ 102 h 309"/>
                <a:gd name="T64" fmla="*/ 281 w 313"/>
                <a:gd name="T65" fmla="*/ 111 h 309"/>
                <a:gd name="T66" fmla="*/ 279 w 313"/>
                <a:gd name="T67" fmla="*/ 142 h 309"/>
                <a:gd name="T68" fmla="*/ 279 w 313"/>
                <a:gd name="T69" fmla="*/ 154 h 309"/>
                <a:gd name="T70" fmla="*/ 288 w 313"/>
                <a:gd name="T71" fmla="*/ 181 h 309"/>
                <a:gd name="T72" fmla="*/ 272 w 313"/>
                <a:gd name="T73" fmla="*/ 198 h 309"/>
                <a:gd name="T74" fmla="*/ 281 w 313"/>
                <a:gd name="T75" fmla="*/ 211 h 309"/>
                <a:gd name="T76" fmla="*/ 296 w 313"/>
                <a:gd name="T77" fmla="*/ 226 h 309"/>
                <a:gd name="T78" fmla="*/ 305 w 313"/>
                <a:gd name="T79" fmla="*/ 232 h 309"/>
                <a:gd name="T80" fmla="*/ 290 w 313"/>
                <a:gd name="T81" fmla="*/ 250 h 309"/>
                <a:gd name="T82" fmla="*/ 273 w 313"/>
                <a:gd name="T83" fmla="*/ 256 h 309"/>
                <a:gd name="T84" fmla="*/ 258 w 313"/>
                <a:gd name="T85" fmla="*/ 265 h 309"/>
                <a:gd name="T86" fmla="*/ 246 w 313"/>
                <a:gd name="T87" fmla="*/ 280 h 309"/>
                <a:gd name="T88" fmla="*/ 237 w 313"/>
                <a:gd name="T89" fmla="*/ 286 h 309"/>
                <a:gd name="T90" fmla="*/ 218 w 313"/>
                <a:gd name="T91" fmla="*/ 304 h 309"/>
                <a:gd name="T92" fmla="*/ 192 w 313"/>
                <a:gd name="T93" fmla="*/ 306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13" h="309">
                  <a:moveTo>
                    <a:pt x="192" y="306"/>
                  </a:moveTo>
                  <a:cubicBezTo>
                    <a:pt x="176" y="303"/>
                    <a:pt x="184" y="296"/>
                    <a:pt x="171" y="294"/>
                  </a:cubicBezTo>
                  <a:cubicBezTo>
                    <a:pt x="161" y="287"/>
                    <a:pt x="142" y="272"/>
                    <a:pt x="131" y="264"/>
                  </a:cubicBezTo>
                  <a:cubicBezTo>
                    <a:pt x="123" y="257"/>
                    <a:pt x="109" y="251"/>
                    <a:pt x="102" y="246"/>
                  </a:cubicBezTo>
                  <a:cubicBezTo>
                    <a:pt x="100" y="245"/>
                    <a:pt x="89" y="233"/>
                    <a:pt x="86" y="231"/>
                  </a:cubicBezTo>
                  <a:cubicBezTo>
                    <a:pt x="72" y="222"/>
                    <a:pt x="58" y="215"/>
                    <a:pt x="45" y="205"/>
                  </a:cubicBezTo>
                  <a:cubicBezTo>
                    <a:pt x="37" y="199"/>
                    <a:pt x="28" y="189"/>
                    <a:pt x="17" y="187"/>
                  </a:cubicBezTo>
                  <a:cubicBezTo>
                    <a:pt x="11" y="182"/>
                    <a:pt x="18" y="184"/>
                    <a:pt x="15" y="180"/>
                  </a:cubicBezTo>
                  <a:cubicBezTo>
                    <a:pt x="12" y="176"/>
                    <a:pt x="0" y="170"/>
                    <a:pt x="0" y="165"/>
                  </a:cubicBezTo>
                  <a:cubicBezTo>
                    <a:pt x="0" y="160"/>
                    <a:pt x="10" y="151"/>
                    <a:pt x="14" y="147"/>
                  </a:cubicBezTo>
                  <a:cubicBezTo>
                    <a:pt x="17" y="141"/>
                    <a:pt x="20" y="140"/>
                    <a:pt x="24" y="139"/>
                  </a:cubicBezTo>
                  <a:cubicBezTo>
                    <a:pt x="28" y="138"/>
                    <a:pt x="33" y="140"/>
                    <a:pt x="38" y="138"/>
                  </a:cubicBezTo>
                  <a:cubicBezTo>
                    <a:pt x="45" y="135"/>
                    <a:pt x="49" y="132"/>
                    <a:pt x="53" y="129"/>
                  </a:cubicBezTo>
                  <a:cubicBezTo>
                    <a:pt x="57" y="126"/>
                    <a:pt x="58" y="123"/>
                    <a:pt x="62" y="120"/>
                  </a:cubicBezTo>
                  <a:cubicBezTo>
                    <a:pt x="64" y="117"/>
                    <a:pt x="75" y="117"/>
                    <a:pt x="77" y="114"/>
                  </a:cubicBezTo>
                  <a:cubicBezTo>
                    <a:pt x="81" y="111"/>
                    <a:pt x="87" y="106"/>
                    <a:pt x="89" y="102"/>
                  </a:cubicBezTo>
                  <a:cubicBezTo>
                    <a:pt x="91" y="98"/>
                    <a:pt x="89" y="93"/>
                    <a:pt x="92" y="91"/>
                  </a:cubicBezTo>
                  <a:cubicBezTo>
                    <a:pt x="97" y="89"/>
                    <a:pt x="101" y="91"/>
                    <a:pt x="108" y="90"/>
                  </a:cubicBezTo>
                  <a:cubicBezTo>
                    <a:pt x="110" y="81"/>
                    <a:pt x="112" y="82"/>
                    <a:pt x="110" y="73"/>
                  </a:cubicBezTo>
                  <a:cubicBezTo>
                    <a:pt x="110" y="65"/>
                    <a:pt x="109" y="51"/>
                    <a:pt x="110" y="44"/>
                  </a:cubicBezTo>
                  <a:cubicBezTo>
                    <a:pt x="111" y="37"/>
                    <a:pt x="112" y="36"/>
                    <a:pt x="116" y="33"/>
                  </a:cubicBezTo>
                  <a:cubicBezTo>
                    <a:pt x="118" y="22"/>
                    <a:pt x="123" y="26"/>
                    <a:pt x="131" y="28"/>
                  </a:cubicBezTo>
                  <a:cubicBezTo>
                    <a:pt x="136" y="21"/>
                    <a:pt x="141" y="20"/>
                    <a:pt x="149" y="18"/>
                  </a:cubicBezTo>
                  <a:cubicBezTo>
                    <a:pt x="161" y="9"/>
                    <a:pt x="169" y="13"/>
                    <a:pt x="188" y="12"/>
                  </a:cubicBezTo>
                  <a:cubicBezTo>
                    <a:pt x="200" y="3"/>
                    <a:pt x="215" y="17"/>
                    <a:pt x="228" y="19"/>
                  </a:cubicBezTo>
                  <a:cubicBezTo>
                    <a:pt x="239" y="23"/>
                    <a:pt x="227" y="15"/>
                    <a:pt x="222" y="9"/>
                  </a:cubicBezTo>
                  <a:cubicBezTo>
                    <a:pt x="237" y="0"/>
                    <a:pt x="282" y="4"/>
                    <a:pt x="258" y="18"/>
                  </a:cubicBezTo>
                  <a:cubicBezTo>
                    <a:pt x="251" y="27"/>
                    <a:pt x="263" y="43"/>
                    <a:pt x="251" y="52"/>
                  </a:cubicBezTo>
                  <a:cubicBezTo>
                    <a:pt x="248" y="64"/>
                    <a:pt x="245" y="75"/>
                    <a:pt x="254" y="84"/>
                  </a:cubicBezTo>
                  <a:cubicBezTo>
                    <a:pt x="254" y="86"/>
                    <a:pt x="254" y="88"/>
                    <a:pt x="255" y="90"/>
                  </a:cubicBezTo>
                  <a:cubicBezTo>
                    <a:pt x="256" y="91"/>
                    <a:pt x="259" y="90"/>
                    <a:pt x="260" y="91"/>
                  </a:cubicBezTo>
                  <a:cubicBezTo>
                    <a:pt x="262" y="93"/>
                    <a:pt x="269" y="99"/>
                    <a:pt x="270" y="102"/>
                  </a:cubicBezTo>
                  <a:cubicBezTo>
                    <a:pt x="271" y="108"/>
                    <a:pt x="278" y="105"/>
                    <a:pt x="281" y="111"/>
                  </a:cubicBezTo>
                  <a:cubicBezTo>
                    <a:pt x="282" y="117"/>
                    <a:pt x="279" y="135"/>
                    <a:pt x="279" y="142"/>
                  </a:cubicBezTo>
                  <a:cubicBezTo>
                    <a:pt x="279" y="149"/>
                    <a:pt x="278" y="148"/>
                    <a:pt x="279" y="154"/>
                  </a:cubicBezTo>
                  <a:cubicBezTo>
                    <a:pt x="280" y="160"/>
                    <a:pt x="289" y="174"/>
                    <a:pt x="288" y="181"/>
                  </a:cubicBezTo>
                  <a:cubicBezTo>
                    <a:pt x="287" y="188"/>
                    <a:pt x="273" y="193"/>
                    <a:pt x="272" y="198"/>
                  </a:cubicBezTo>
                  <a:cubicBezTo>
                    <a:pt x="275" y="202"/>
                    <a:pt x="278" y="207"/>
                    <a:pt x="281" y="211"/>
                  </a:cubicBezTo>
                  <a:cubicBezTo>
                    <a:pt x="283" y="220"/>
                    <a:pt x="288" y="225"/>
                    <a:pt x="296" y="226"/>
                  </a:cubicBezTo>
                  <a:cubicBezTo>
                    <a:pt x="303" y="230"/>
                    <a:pt x="296" y="228"/>
                    <a:pt x="305" y="232"/>
                  </a:cubicBezTo>
                  <a:cubicBezTo>
                    <a:pt x="313" y="242"/>
                    <a:pt x="295" y="250"/>
                    <a:pt x="290" y="250"/>
                  </a:cubicBezTo>
                  <a:cubicBezTo>
                    <a:pt x="283" y="253"/>
                    <a:pt x="280" y="253"/>
                    <a:pt x="273" y="256"/>
                  </a:cubicBezTo>
                  <a:cubicBezTo>
                    <a:pt x="268" y="263"/>
                    <a:pt x="267" y="263"/>
                    <a:pt x="258" y="265"/>
                  </a:cubicBezTo>
                  <a:cubicBezTo>
                    <a:pt x="254" y="268"/>
                    <a:pt x="250" y="277"/>
                    <a:pt x="246" y="280"/>
                  </a:cubicBezTo>
                  <a:cubicBezTo>
                    <a:pt x="243" y="286"/>
                    <a:pt x="244" y="285"/>
                    <a:pt x="237" y="286"/>
                  </a:cubicBezTo>
                  <a:cubicBezTo>
                    <a:pt x="231" y="290"/>
                    <a:pt x="225" y="303"/>
                    <a:pt x="218" y="304"/>
                  </a:cubicBezTo>
                  <a:cubicBezTo>
                    <a:pt x="211" y="309"/>
                    <a:pt x="200" y="306"/>
                    <a:pt x="192" y="30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6" name="Freeform 6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652183" y="3440338"/>
              <a:ext cx="388762" cy="362823"/>
            </a:xfrm>
            <a:custGeom>
              <a:avLst/>
              <a:gdLst>
                <a:gd name="T0" fmla="*/ 6 w 236"/>
                <a:gd name="T1" fmla="*/ 43 h 224"/>
                <a:gd name="T2" fmla="*/ 16 w 236"/>
                <a:gd name="T3" fmla="*/ 22 h 224"/>
                <a:gd name="T4" fmla="*/ 28 w 236"/>
                <a:gd name="T5" fmla="*/ 15 h 224"/>
                <a:gd name="T6" fmla="*/ 48 w 236"/>
                <a:gd name="T7" fmla="*/ 0 h 224"/>
                <a:gd name="T8" fmla="*/ 85 w 236"/>
                <a:gd name="T9" fmla="*/ 6 h 224"/>
                <a:gd name="T10" fmla="*/ 118 w 236"/>
                <a:gd name="T11" fmla="*/ 30 h 224"/>
                <a:gd name="T12" fmla="*/ 142 w 236"/>
                <a:gd name="T13" fmla="*/ 40 h 224"/>
                <a:gd name="T14" fmla="*/ 150 w 236"/>
                <a:gd name="T15" fmla="*/ 43 h 224"/>
                <a:gd name="T16" fmla="*/ 160 w 236"/>
                <a:gd name="T17" fmla="*/ 30 h 224"/>
                <a:gd name="T18" fmla="*/ 156 w 236"/>
                <a:gd name="T19" fmla="*/ 13 h 224"/>
                <a:gd name="T20" fmla="*/ 174 w 236"/>
                <a:gd name="T21" fmla="*/ 3 h 224"/>
                <a:gd name="T22" fmla="*/ 213 w 236"/>
                <a:gd name="T23" fmla="*/ 12 h 224"/>
                <a:gd name="T24" fmla="*/ 226 w 236"/>
                <a:gd name="T25" fmla="*/ 21 h 224"/>
                <a:gd name="T26" fmla="*/ 228 w 236"/>
                <a:gd name="T27" fmla="*/ 34 h 224"/>
                <a:gd name="T28" fmla="*/ 229 w 236"/>
                <a:gd name="T29" fmla="*/ 66 h 224"/>
                <a:gd name="T30" fmla="*/ 231 w 236"/>
                <a:gd name="T31" fmla="*/ 183 h 224"/>
                <a:gd name="T32" fmla="*/ 232 w 236"/>
                <a:gd name="T33" fmla="*/ 217 h 224"/>
                <a:gd name="T34" fmla="*/ 208 w 236"/>
                <a:gd name="T35" fmla="*/ 223 h 224"/>
                <a:gd name="T36" fmla="*/ 186 w 236"/>
                <a:gd name="T37" fmla="*/ 208 h 224"/>
                <a:gd name="T38" fmla="*/ 168 w 236"/>
                <a:gd name="T39" fmla="*/ 198 h 224"/>
                <a:gd name="T40" fmla="*/ 153 w 236"/>
                <a:gd name="T41" fmla="*/ 195 h 224"/>
                <a:gd name="T42" fmla="*/ 145 w 236"/>
                <a:gd name="T43" fmla="*/ 187 h 224"/>
                <a:gd name="T44" fmla="*/ 129 w 236"/>
                <a:gd name="T45" fmla="*/ 175 h 224"/>
                <a:gd name="T46" fmla="*/ 103 w 236"/>
                <a:gd name="T47" fmla="*/ 168 h 224"/>
                <a:gd name="T48" fmla="*/ 78 w 236"/>
                <a:gd name="T49" fmla="*/ 171 h 224"/>
                <a:gd name="T50" fmla="*/ 58 w 236"/>
                <a:gd name="T51" fmla="*/ 163 h 224"/>
                <a:gd name="T52" fmla="*/ 39 w 236"/>
                <a:gd name="T53" fmla="*/ 160 h 224"/>
                <a:gd name="T54" fmla="*/ 12 w 236"/>
                <a:gd name="T55" fmla="*/ 139 h 224"/>
                <a:gd name="T56" fmla="*/ 1 w 236"/>
                <a:gd name="T57" fmla="*/ 127 h 224"/>
                <a:gd name="T58" fmla="*/ 15 w 236"/>
                <a:gd name="T59" fmla="*/ 106 h 224"/>
                <a:gd name="T60" fmla="*/ 7 w 236"/>
                <a:gd name="T61" fmla="*/ 73 h 224"/>
                <a:gd name="T62" fmla="*/ 6 w 236"/>
                <a:gd name="T63" fmla="*/ 4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6" h="224">
                  <a:moveTo>
                    <a:pt x="6" y="43"/>
                  </a:moveTo>
                  <a:cubicBezTo>
                    <a:pt x="8" y="35"/>
                    <a:pt x="12" y="27"/>
                    <a:pt x="16" y="22"/>
                  </a:cubicBezTo>
                  <a:cubicBezTo>
                    <a:pt x="20" y="17"/>
                    <a:pt x="23" y="19"/>
                    <a:pt x="28" y="15"/>
                  </a:cubicBezTo>
                  <a:cubicBezTo>
                    <a:pt x="34" y="5"/>
                    <a:pt x="37" y="2"/>
                    <a:pt x="48" y="0"/>
                  </a:cubicBezTo>
                  <a:cubicBezTo>
                    <a:pt x="73" y="1"/>
                    <a:pt x="67" y="2"/>
                    <a:pt x="85" y="6"/>
                  </a:cubicBezTo>
                  <a:cubicBezTo>
                    <a:pt x="103" y="30"/>
                    <a:pt x="74" y="26"/>
                    <a:pt x="118" y="30"/>
                  </a:cubicBezTo>
                  <a:cubicBezTo>
                    <a:pt x="127" y="32"/>
                    <a:pt x="133" y="38"/>
                    <a:pt x="142" y="40"/>
                  </a:cubicBezTo>
                  <a:cubicBezTo>
                    <a:pt x="144" y="44"/>
                    <a:pt x="145" y="48"/>
                    <a:pt x="150" y="43"/>
                  </a:cubicBezTo>
                  <a:cubicBezTo>
                    <a:pt x="154" y="39"/>
                    <a:pt x="160" y="30"/>
                    <a:pt x="160" y="30"/>
                  </a:cubicBezTo>
                  <a:cubicBezTo>
                    <a:pt x="159" y="23"/>
                    <a:pt x="157" y="19"/>
                    <a:pt x="156" y="13"/>
                  </a:cubicBezTo>
                  <a:cubicBezTo>
                    <a:pt x="161" y="9"/>
                    <a:pt x="168" y="7"/>
                    <a:pt x="174" y="3"/>
                  </a:cubicBezTo>
                  <a:cubicBezTo>
                    <a:pt x="197" y="4"/>
                    <a:pt x="194" y="8"/>
                    <a:pt x="213" y="12"/>
                  </a:cubicBezTo>
                  <a:cubicBezTo>
                    <a:pt x="217" y="15"/>
                    <a:pt x="222" y="18"/>
                    <a:pt x="226" y="21"/>
                  </a:cubicBezTo>
                  <a:cubicBezTo>
                    <a:pt x="229" y="27"/>
                    <a:pt x="229" y="28"/>
                    <a:pt x="228" y="34"/>
                  </a:cubicBezTo>
                  <a:cubicBezTo>
                    <a:pt x="230" y="44"/>
                    <a:pt x="227" y="56"/>
                    <a:pt x="229" y="66"/>
                  </a:cubicBezTo>
                  <a:cubicBezTo>
                    <a:pt x="232" y="90"/>
                    <a:pt x="234" y="157"/>
                    <a:pt x="231" y="183"/>
                  </a:cubicBezTo>
                  <a:cubicBezTo>
                    <a:pt x="231" y="208"/>
                    <a:pt x="236" y="210"/>
                    <a:pt x="232" y="217"/>
                  </a:cubicBezTo>
                  <a:cubicBezTo>
                    <a:pt x="228" y="224"/>
                    <a:pt x="216" y="224"/>
                    <a:pt x="208" y="223"/>
                  </a:cubicBezTo>
                  <a:cubicBezTo>
                    <a:pt x="201" y="222"/>
                    <a:pt x="193" y="212"/>
                    <a:pt x="186" y="208"/>
                  </a:cubicBezTo>
                  <a:cubicBezTo>
                    <a:pt x="179" y="204"/>
                    <a:pt x="173" y="200"/>
                    <a:pt x="168" y="198"/>
                  </a:cubicBezTo>
                  <a:cubicBezTo>
                    <a:pt x="163" y="194"/>
                    <a:pt x="155" y="197"/>
                    <a:pt x="153" y="195"/>
                  </a:cubicBezTo>
                  <a:cubicBezTo>
                    <a:pt x="149" y="193"/>
                    <a:pt x="149" y="190"/>
                    <a:pt x="145" y="187"/>
                  </a:cubicBezTo>
                  <a:cubicBezTo>
                    <a:pt x="139" y="183"/>
                    <a:pt x="136" y="178"/>
                    <a:pt x="129" y="175"/>
                  </a:cubicBezTo>
                  <a:cubicBezTo>
                    <a:pt x="122" y="172"/>
                    <a:pt x="111" y="169"/>
                    <a:pt x="103" y="168"/>
                  </a:cubicBezTo>
                  <a:cubicBezTo>
                    <a:pt x="75" y="169"/>
                    <a:pt x="94" y="162"/>
                    <a:pt x="78" y="171"/>
                  </a:cubicBezTo>
                  <a:cubicBezTo>
                    <a:pt x="74" y="170"/>
                    <a:pt x="62" y="164"/>
                    <a:pt x="58" y="163"/>
                  </a:cubicBezTo>
                  <a:cubicBezTo>
                    <a:pt x="52" y="161"/>
                    <a:pt x="39" y="160"/>
                    <a:pt x="39" y="160"/>
                  </a:cubicBezTo>
                  <a:cubicBezTo>
                    <a:pt x="30" y="154"/>
                    <a:pt x="20" y="147"/>
                    <a:pt x="12" y="139"/>
                  </a:cubicBezTo>
                  <a:cubicBezTo>
                    <a:pt x="7" y="134"/>
                    <a:pt x="7" y="131"/>
                    <a:pt x="1" y="127"/>
                  </a:cubicBezTo>
                  <a:cubicBezTo>
                    <a:pt x="0" y="119"/>
                    <a:pt x="10" y="112"/>
                    <a:pt x="15" y="106"/>
                  </a:cubicBezTo>
                  <a:cubicBezTo>
                    <a:pt x="17" y="94"/>
                    <a:pt x="11" y="84"/>
                    <a:pt x="7" y="73"/>
                  </a:cubicBezTo>
                  <a:cubicBezTo>
                    <a:pt x="6" y="61"/>
                    <a:pt x="6" y="54"/>
                    <a:pt x="6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7" name="Freeform 7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61572" y="2805399"/>
              <a:ext cx="472993" cy="288315"/>
            </a:xfrm>
            <a:custGeom>
              <a:avLst/>
              <a:gdLst>
                <a:gd name="T0" fmla="*/ 107 w 287"/>
                <a:gd name="T1" fmla="*/ 158 h 178"/>
                <a:gd name="T2" fmla="*/ 131 w 287"/>
                <a:gd name="T3" fmla="*/ 137 h 178"/>
                <a:gd name="T4" fmla="*/ 151 w 287"/>
                <a:gd name="T5" fmla="*/ 132 h 178"/>
                <a:gd name="T6" fmla="*/ 152 w 287"/>
                <a:gd name="T7" fmla="*/ 149 h 178"/>
                <a:gd name="T8" fmla="*/ 163 w 287"/>
                <a:gd name="T9" fmla="*/ 156 h 178"/>
                <a:gd name="T10" fmla="*/ 176 w 287"/>
                <a:gd name="T11" fmla="*/ 176 h 178"/>
                <a:gd name="T12" fmla="*/ 211 w 287"/>
                <a:gd name="T13" fmla="*/ 164 h 178"/>
                <a:gd name="T14" fmla="*/ 194 w 287"/>
                <a:gd name="T15" fmla="*/ 149 h 178"/>
                <a:gd name="T16" fmla="*/ 185 w 287"/>
                <a:gd name="T17" fmla="*/ 143 h 178"/>
                <a:gd name="T18" fmla="*/ 199 w 287"/>
                <a:gd name="T19" fmla="*/ 134 h 178"/>
                <a:gd name="T20" fmla="*/ 217 w 287"/>
                <a:gd name="T21" fmla="*/ 125 h 178"/>
                <a:gd name="T22" fmla="*/ 251 w 287"/>
                <a:gd name="T23" fmla="*/ 114 h 178"/>
                <a:gd name="T24" fmla="*/ 263 w 287"/>
                <a:gd name="T25" fmla="*/ 104 h 178"/>
                <a:gd name="T26" fmla="*/ 263 w 287"/>
                <a:gd name="T27" fmla="*/ 63 h 178"/>
                <a:gd name="T28" fmla="*/ 225 w 287"/>
                <a:gd name="T29" fmla="*/ 52 h 178"/>
                <a:gd name="T30" fmla="*/ 214 w 287"/>
                <a:gd name="T31" fmla="*/ 45 h 178"/>
                <a:gd name="T32" fmla="*/ 187 w 287"/>
                <a:gd name="T33" fmla="*/ 29 h 178"/>
                <a:gd name="T34" fmla="*/ 179 w 287"/>
                <a:gd name="T35" fmla="*/ 11 h 178"/>
                <a:gd name="T36" fmla="*/ 142 w 287"/>
                <a:gd name="T37" fmla="*/ 8 h 178"/>
                <a:gd name="T38" fmla="*/ 122 w 287"/>
                <a:gd name="T39" fmla="*/ 12 h 178"/>
                <a:gd name="T40" fmla="*/ 109 w 287"/>
                <a:gd name="T41" fmla="*/ 18 h 178"/>
                <a:gd name="T42" fmla="*/ 92 w 287"/>
                <a:gd name="T43" fmla="*/ 17 h 178"/>
                <a:gd name="T44" fmla="*/ 31 w 287"/>
                <a:gd name="T45" fmla="*/ 15 h 178"/>
                <a:gd name="T46" fmla="*/ 28 w 287"/>
                <a:gd name="T47" fmla="*/ 32 h 178"/>
                <a:gd name="T48" fmla="*/ 14 w 287"/>
                <a:gd name="T49" fmla="*/ 53 h 178"/>
                <a:gd name="T50" fmla="*/ 5 w 287"/>
                <a:gd name="T51" fmla="*/ 63 h 178"/>
                <a:gd name="T52" fmla="*/ 7 w 287"/>
                <a:gd name="T53" fmla="*/ 72 h 178"/>
                <a:gd name="T54" fmla="*/ 5 w 287"/>
                <a:gd name="T55" fmla="*/ 84 h 178"/>
                <a:gd name="T56" fmla="*/ 7 w 287"/>
                <a:gd name="T57" fmla="*/ 96 h 178"/>
                <a:gd name="T58" fmla="*/ 47 w 287"/>
                <a:gd name="T59" fmla="*/ 98 h 178"/>
                <a:gd name="T60" fmla="*/ 65 w 287"/>
                <a:gd name="T61" fmla="*/ 95 h 178"/>
                <a:gd name="T62" fmla="*/ 73 w 287"/>
                <a:gd name="T63" fmla="*/ 89 h 178"/>
                <a:gd name="T64" fmla="*/ 91 w 287"/>
                <a:gd name="T65" fmla="*/ 90 h 178"/>
                <a:gd name="T66" fmla="*/ 103 w 287"/>
                <a:gd name="T67" fmla="*/ 99 h 178"/>
                <a:gd name="T68" fmla="*/ 109 w 287"/>
                <a:gd name="T69" fmla="*/ 117 h 178"/>
                <a:gd name="T70" fmla="*/ 110 w 287"/>
                <a:gd name="T71" fmla="*/ 132 h 178"/>
                <a:gd name="T72" fmla="*/ 104 w 287"/>
                <a:gd name="T73" fmla="*/ 144 h 178"/>
                <a:gd name="T74" fmla="*/ 98 w 287"/>
                <a:gd name="T75" fmla="*/ 150 h 178"/>
                <a:gd name="T76" fmla="*/ 107 w 287"/>
                <a:gd name="T77" fmla="*/ 158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7" h="178">
                  <a:moveTo>
                    <a:pt x="107" y="158"/>
                  </a:moveTo>
                  <a:cubicBezTo>
                    <a:pt x="117" y="154"/>
                    <a:pt x="123" y="143"/>
                    <a:pt x="131" y="137"/>
                  </a:cubicBezTo>
                  <a:cubicBezTo>
                    <a:pt x="135" y="126"/>
                    <a:pt x="141" y="130"/>
                    <a:pt x="151" y="132"/>
                  </a:cubicBezTo>
                  <a:cubicBezTo>
                    <a:pt x="155" y="139"/>
                    <a:pt x="156" y="142"/>
                    <a:pt x="152" y="149"/>
                  </a:cubicBezTo>
                  <a:cubicBezTo>
                    <a:pt x="155" y="155"/>
                    <a:pt x="157" y="155"/>
                    <a:pt x="163" y="156"/>
                  </a:cubicBezTo>
                  <a:cubicBezTo>
                    <a:pt x="170" y="168"/>
                    <a:pt x="159" y="178"/>
                    <a:pt x="176" y="176"/>
                  </a:cubicBezTo>
                  <a:cubicBezTo>
                    <a:pt x="190" y="162"/>
                    <a:pt x="186" y="165"/>
                    <a:pt x="211" y="164"/>
                  </a:cubicBezTo>
                  <a:cubicBezTo>
                    <a:pt x="217" y="154"/>
                    <a:pt x="202" y="150"/>
                    <a:pt x="194" y="149"/>
                  </a:cubicBezTo>
                  <a:cubicBezTo>
                    <a:pt x="191" y="147"/>
                    <a:pt x="185" y="147"/>
                    <a:pt x="185" y="143"/>
                  </a:cubicBezTo>
                  <a:cubicBezTo>
                    <a:pt x="185" y="138"/>
                    <a:pt x="196" y="135"/>
                    <a:pt x="199" y="134"/>
                  </a:cubicBezTo>
                  <a:cubicBezTo>
                    <a:pt x="205" y="131"/>
                    <a:pt x="211" y="129"/>
                    <a:pt x="217" y="125"/>
                  </a:cubicBezTo>
                  <a:cubicBezTo>
                    <a:pt x="223" y="115"/>
                    <a:pt x="240" y="116"/>
                    <a:pt x="251" y="114"/>
                  </a:cubicBezTo>
                  <a:cubicBezTo>
                    <a:pt x="256" y="111"/>
                    <a:pt x="259" y="109"/>
                    <a:pt x="263" y="104"/>
                  </a:cubicBezTo>
                  <a:cubicBezTo>
                    <a:pt x="266" y="84"/>
                    <a:pt x="287" y="67"/>
                    <a:pt x="263" y="63"/>
                  </a:cubicBezTo>
                  <a:cubicBezTo>
                    <a:pt x="257" y="54"/>
                    <a:pt x="234" y="54"/>
                    <a:pt x="225" y="52"/>
                  </a:cubicBezTo>
                  <a:cubicBezTo>
                    <a:pt x="217" y="49"/>
                    <a:pt x="220" y="49"/>
                    <a:pt x="214" y="45"/>
                  </a:cubicBezTo>
                  <a:cubicBezTo>
                    <a:pt x="209" y="38"/>
                    <a:pt x="195" y="34"/>
                    <a:pt x="187" y="29"/>
                  </a:cubicBezTo>
                  <a:cubicBezTo>
                    <a:pt x="183" y="24"/>
                    <a:pt x="183" y="16"/>
                    <a:pt x="179" y="11"/>
                  </a:cubicBezTo>
                  <a:cubicBezTo>
                    <a:pt x="177" y="0"/>
                    <a:pt x="151" y="9"/>
                    <a:pt x="142" y="8"/>
                  </a:cubicBezTo>
                  <a:cubicBezTo>
                    <a:pt x="133" y="9"/>
                    <a:pt x="130" y="10"/>
                    <a:pt x="122" y="12"/>
                  </a:cubicBezTo>
                  <a:cubicBezTo>
                    <a:pt x="117" y="14"/>
                    <a:pt x="114" y="17"/>
                    <a:pt x="109" y="18"/>
                  </a:cubicBezTo>
                  <a:cubicBezTo>
                    <a:pt x="104" y="19"/>
                    <a:pt x="105" y="17"/>
                    <a:pt x="92" y="17"/>
                  </a:cubicBezTo>
                  <a:cubicBezTo>
                    <a:pt x="74" y="8"/>
                    <a:pt x="46" y="15"/>
                    <a:pt x="31" y="15"/>
                  </a:cubicBezTo>
                  <a:cubicBezTo>
                    <a:pt x="21" y="19"/>
                    <a:pt x="23" y="24"/>
                    <a:pt x="28" y="32"/>
                  </a:cubicBezTo>
                  <a:cubicBezTo>
                    <a:pt x="26" y="41"/>
                    <a:pt x="22" y="48"/>
                    <a:pt x="14" y="53"/>
                  </a:cubicBezTo>
                  <a:cubicBezTo>
                    <a:pt x="11" y="58"/>
                    <a:pt x="6" y="60"/>
                    <a:pt x="5" y="63"/>
                  </a:cubicBezTo>
                  <a:cubicBezTo>
                    <a:pt x="4" y="66"/>
                    <a:pt x="7" y="69"/>
                    <a:pt x="7" y="72"/>
                  </a:cubicBezTo>
                  <a:cubicBezTo>
                    <a:pt x="7" y="75"/>
                    <a:pt x="5" y="80"/>
                    <a:pt x="5" y="84"/>
                  </a:cubicBezTo>
                  <a:cubicBezTo>
                    <a:pt x="6" y="88"/>
                    <a:pt x="0" y="94"/>
                    <a:pt x="7" y="96"/>
                  </a:cubicBezTo>
                  <a:cubicBezTo>
                    <a:pt x="14" y="98"/>
                    <a:pt x="37" y="98"/>
                    <a:pt x="47" y="98"/>
                  </a:cubicBezTo>
                  <a:cubicBezTo>
                    <a:pt x="56" y="97"/>
                    <a:pt x="61" y="96"/>
                    <a:pt x="65" y="95"/>
                  </a:cubicBezTo>
                  <a:cubicBezTo>
                    <a:pt x="69" y="94"/>
                    <a:pt x="69" y="90"/>
                    <a:pt x="73" y="89"/>
                  </a:cubicBezTo>
                  <a:cubicBezTo>
                    <a:pt x="79" y="86"/>
                    <a:pt x="84" y="89"/>
                    <a:pt x="91" y="90"/>
                  </a:cubicBezTo>
                  <a:cubicBezTo>
                    <a:pt x="96" y="93"/>
                    <a:pt x="99" y="94"/>
                    <a:pt x="103" y="99"/>
                  </a:cubicBezTo>
                  <a:cubicBezTo>
                    <a:pt x="104" y="107"/>
                    <a:pt x="104" y="111"/>
                    <a:pt x="109" y="117"/>
                  </a:cubicBezTo>
                  <a:cubicBezTo>
                    <a:pt x="111" y="125"/>
                    <a:pt x="114" y="124"/>
                    <a:pt x="110" y="132"/>
                  </a:cubicBezTo>
                  <a:cubicBezTo>
                    <a:pt x="110" y="136"/>
                    <a:pt x="106" y="141"/>
                    <a:pt x="104" y="144"/>
                  </a:cubicBezTo>
                  <a:cubicBezTo>
                    <a:pt x="102" y="147"/>
                    <a:pt x="98" y="148"/>
                    <a:pt x="98" y="150"/>
                  </a:cubicBezTo>
                  <a:cubicBezTo>
                    <a:pt x="96" y="159"/>
                    <a:pt x="99" y="159"/>
                    <a:pt x="107" y="15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8" name="Freeform 8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5789311" y="3061318"/>
              <a:ext cx="401720" cy="264019"/>
            </a:xfrm>
            <a:custGeom>
              <a:avLst/>
              <a:gdLst>
                <a:gd name="T0" fmla="*/ 174 w 244"/>
                <a:gd name="T1" fmla="*/ 93 h 163"/>
                <a:gd name="T2" fmla="*/ 189 w 244"/>
                <a:gd name="T3" fmla="*/ 82 h 163"/>
                <a:gd name="T4" fmla="*/ 219 w 244"/>
                <a:gd name="T5" fmla="*/ 61 h 163"/>
                <a:gd name="T6" fmla="*/ 237 w 244"/>
                <a:gd name="T7" fmla="*/ 73 h 163"/>
                <a:gd name="T8" fmla="*/ 244 w 244"/>
                <a:gd name="T9" fmla="*/ 84 h 163"/>
                <a:gd name="T10" fmla="*/ 196 w 244"/>
                <a:gd name="T11" fmla="*/ 97 h 163"/>
                <a:gd name="T12" fmla="*/ 183 w 244"/>
                <a:gd name="T13" fmla="*/ 106 h 163"/>
                <a:gd name="T14" fmla="*/ 172 w 244"/>
                <a:gd name="T15" fmla="*/ 115 h 163"/>
                <a:gd name="T16" fmla="*/ 177 w 244"/>
                <a:gd name="T17" fmla="*/ 142 h 163"/>
                <a:gd name="T18" fmla="*/ 153 w 244"/>
                <a:gd name="T19" fmla="*/ 157 h 163"/>
                <a:gd name="T20" fmla="*/ 150 w 244"/>
                <a:gd name="T21" fmla="*/ 153 h 163"/>
                <a:gd name="T22" fmla="*/ 148 w 244"/>
                <a:gd name="T23" fmla="*/ 147 h 163"/>
                <a:gd name="T24" fmla="*/ 121 w 244"/>
                <a:gd name="T25" fmla="*/ 129 h 163"/>
                <a:gd name="T26" fmla="*/ 99 w 244"/>
                <a:gd name="T27" fmla="*/ 112 h 163"/>
                <a:gd name="T28" fmla="*/ 91 w 244"/>
                <a:gd name="T29" fmla="*/ 93 h 163"/>
                <a:gd name="T30" fmla="*/ 76 w 244"/>
                <a:gd name="T31" fmla="*/ 78 h 163"/>
                <a:gd name="T32" fmla="*/ 58 w 244"/>
                <a:gd name="T33" fmla="*/ 73 h 163"/>
                <a:gd name="T34" fmla="*/ 49 w 244"/>
                <a:gd name="T35" fmla="*/ 57 h 163"/>
                <a:gd name="T36" fmla="*/ 18 w 244"/>
                <a:gd name="T37" fmla="*/ 72 h 163"/>
                <a:gd name="T38" fmla="*/ 4 w 244"/>
                <a:gd name="T39" fmla="*/ 79 h 163"/>
                <a:gd name="T40" fmla="*/ 4 w 244"/>
                <a:gd name="T41" fmla="*/ 19 h 163"/>
                <a:gd name="T42" fmla="*/ 30 w 244"/>
                <a:gd name="T43" fmla="*/ 9 h 163"/>
                <a:gd name="T44" fmla="*/ 43 w 244"/>
                <a:gd name="T45" fmla="*/ 0 h 163"/>
                <a:gd name="T46" fmla="*/ 51 w 244"/>
                <a:gd name="T47" fmla="*/ 9 h 163"/>
                <a:gd name="T48" fmla="*/ 61 w 244"/>
                <a:gd name="T49" fmla="*/ 12 h 163"/>
                <a:gd name="T50" fmla="*/ 69 w 244"/>
                <a:gd name="T51" fmla="*/ 25 h 163"/>
                <a:gd name="T52" fmla="*/ 90 w 244"/>
                <a:gd name="T53" fmla="*/ 34 h 163"/>
                <a:gd name="T54" fmla="*/ 105 w 244"/>
                <a:gd name="T55" fmla="*/ 46 h 163"/>
                <a:gd name="T56" fmla="*/ 139 w 244"/>
                <a:gd name="T57" fmla="*/ 46 h 163"/>
                <a:gd name="T58" fmla="*/ 150 w 244"/>
                <a:gd name="T59" fmla="*/ 63 h 163"/>
                <a:gd name="T60" fmla="*/ 156 w 244"/>
                <a:gd name="T61" fmla="*/ 75 h 163"/>
                <a:gd name="T62" fmla="*/ 165 w 244"/>
                <a:gd name="T63" fmla="*/ 81 h 163"/>
                <a:gd name="T64" fmla="*/ 174 w 244"/>
                <a:gd name="T65" fmla="*/ 9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44" h="163">
                  <a:moveTo>
                    <a:pt x="174" y="93"/>
                  </a:moveTo>
                  <a:cubicBezTo>
                    <a:pt x="186" y="84"/>
                    <a:pt x="180" y="87"/>
                    <a:pt x="189" y="82"/>
                  </a:cubicBezTo>
                  <a:cubicBezTo>
                    <a:pt x="196" y="73"/>
                    <a:pt x="209" y="65"/>
                    <a:pt x="219" y="61"/>
                  </a:cubicBezTo>
                  <a:cubicBezTo>
                    <a:pt x="227" y="64"/>
                    <a:pt x="229" y="71"/>
                    <a:pt x="237" y="73"/>
                  </a:cubicBezTo>
                  <a:cubicBezTo>
                    <a:pt x="243" y="76"/>
                    <a:pt x="243" y="78"/>
                    <a:pt x="244" y="84"/>
                  </a:cubicBezTo>
                  <a:cubicBezTo>
                    <a:pt x="242" y="101"/>
                    <a:pt x="211" y="95"/>
                    <a:pt x="196" y="97"/>
                  </a:cubicBezTo>
                  <a:cubicBezTo>
                    <a:pt x="192" y="100"/>
                    <a:pt x="187" y="103"/>
                    <a:pt x="183" y="106"/>
                  </a:cubicBezTo>
                  <a:cubicBezTo>
                    <a:pt x="180" y="112"/>
                    <a:pt x="179" y="114"/>
                    <a:pt x="172" y="115"/>
                  </a:cubicBezTo>
                  <a:cubicBezTo>
                    <a:pt x="174" y="124"/>
                    <a:pt x="173" y="134"/>
                    <a:pt x="177" y="142"/>
                  </a:cubicBezTo>
                  <a:cubicBezTo>
                    <a:pt x="174" y="163"/>
                    <a:pt x="175" y="159"/>
                    <a:pt x="153" y="157"/>
                  </a:cubicBezTo>
                  <a:cubicBezTo>
                    <a:pt x="152" y="156"/>
                    <a:pt x="151" y="154"/>
                    <a:pt x="150" y="153"/>
                  </a:cubicBezTo>
                  <a:cubicBezTo>
                    <a:pt x="149" y="151"/>
                    <a:pt x="149" y="149"/>
                    <a:pt x="148" y="147"/>
                  </a:cubicBezTo>
                  <a:cubicBezTo>
                    <a:pt x="143" y="140"/>
                    <a:pt x="128" y="133"/>
                    <a:pt x="121" y="129"/>
                  </a:cubicBezTo>
                  <a:cubicBezTo>
                    <a:pt x="116" y="121"/>
                    <a:pt x="106" y="118"/>
                    <a:pt x="99" y="112"/>
                  </a:cubicBezTo>
                  <a:cubicBezTo>
                    <a:pt x="95" y="106"/>
                    <a:pt x="94" y="99"/>
                    <a:pt x="91" y="93"/>
                  </a:cubicBezTo>
                  <a:cubicBezTo>
                    <a:pt x="90" y="86"/>
                    <a:pt x="83" y="79"/>
                    <a:pt x="76" y="78"/>
                  </a:cubicBezTo>
                  <a:cubicBezTo>
                    <a:pt x="72" y="74"/>
                    <a:pt x="62" y="76"/>
                    <a:pt x="58" y="73"/>
                  </a:cubicBezTo>
                  <a:cubicBezTo>
                    <a:pt x="54" y="70"/>
                    <a:pt x="56" y="57"/>
                    <a:pt x="49" y="57"/>
                  </a:cubicBezTo>
                  <a:cubicBezTo>
                    <a:pt x="31" y="58"/>
                    <a:pt x="24" y="58"/>
                    <a:pt x="18" y="72"/>
                  </a:cubicBezTo>
                  <a:cubicBezTo>
                    <a:pt x="17" y="79"/>
                    <a:pt x="9" y="75"/>
                    <a:pt x="4" y="79"/>
                  </a:cubicBezTo>
                  <a:cubicBezTo>
                    <a:pt x="5" y="72"/>
                    <a:pt x="0" y="30"/>
                    <a:pt x="4" y="19"/>
                  </a:cubicBezTo>
                  <a:cubicBezTo>
                    <a:pt x="8" y="8"/>
                    <a:pt x="24" y="12"/>
                    <a:pt x="30" y="9"/>
                  </a:cubicBezTo>
                  <a:cubicBezTo>
                    <a:pt x="34" y="6"/>
                    <a:pt x="39" y="3"/>
                    <a:pt x="43" y="0"/>
                  </a:cubicBezTo>
                  <a:cubicBezTo>
                    <a:pt x="46" y="0"/>
                    <a:pt x="48" y="7"/>
                    <a:pt x="51" y="9"/>
                  </a:cubicBezTo>
                  <a:cubicBezTo>
                    <a:pt x="54" y="11"/>
                    <a:pt x="58" y="9"/>
                    <a:pt x="61" y="12"/>
                  </a:cubicBezTo>
                  <a:cubicBezTo>
                    <a:pt x="64" y="14"/>
                    <a:pt x="66" y="22"/>
                    <a:pt x="69" y="25"/>
                  </a:cubicBezTo>
                  <a:cubicBezTo>
                    <a:pt x="74" y="29"/>
                    <a:pt x="73" y="31"/>
                    <a:pt x="90" y="34"/>
                  </a:cubicBezTo>
                  <a:cubicBezTo>
                    <a:pt x="95" y="37"/>
                    <a:pt x="97" y="44"/>
                    <a:pt x="105" y="46"/>
                  </a:cubicBezTo>
                  <a:cubicBezTo>
                    <a:pt x="113" y="48"/>
                    <a:pt x="132" y="43"/>
                    <a:pt x="139" y="46"/>
                  </a:cubicBezTo>
                  <a:cubicBezTo>
                    <a:pt x="148" y="51"/>
                    <a:pt x="141" y="56"/>
                    <a:pt x="150" y="63"/>
                  </a:cubicBezTo>
                  <a:cubicBezTo>
                    <a:pt x="152" y="68"/>
                    <a:pt x="154" y="72"/>
                    <a:pt x="156" y="75"/>
                  </a:cubicBezTo>
                  <a:cubicBezTo>
                    <a:pt x="158" y="78"/>
                    <a:pt x="162" y="78"/>
                    <a:pt x="165" y="81"/>
                  </a:cubicBezTo>
                  <a:cubicBezTo>
                    <a:pt x="172" y="76"/>
                    <a:pt x="165" y="87"/>
                    <a:pt x="174" y="9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199" name="Freeform 9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5520418" y="3168222"/>
              <a:ext cx="119868" cy="106903"/>
            </a:xfrm>
            <a:custGeom>
              <a:avLst/>
              <a:gdLst>
                <a:gd name="T0" fmla="*/ 44 w 73"/>
                <a:gd name="T1" fmla="*/ 22 h 66"/>
                <a:gd name="T2" fmla="*/ 31 w 73"/>
                <a:gd name="T3" fmla="*/ 18 h 66"/>
                <a:gd name="T4" fmla="*/ 20 w 73"/>
                <a:gd name="T5" fmla="*/ 0 h 66"/>
                <a:gd name="T6" fmla="*/ 4 w 73"/>
                <a:gd name="T7" fmla="*/ 7 h 66"/>
                <a:gd name="T8" fmla="*/ 7 w 73"/>
                <a:gd name="T9" fmla="*/ 28 h 66"/>
                <a:gd name="T10" fmla="*/ 13 w 73"/>
                <a:gd name="T11" fmla="*/ 36 h 66"/>
                <a:gd name="T12" fmla="*/ 16 w 73"/>
                <a:gd name="T13" fmla="*/ 46 h 66"/>
                <a:gd name="T14" fmla="*/ 28 w 73"/>
                <a:gd name="T15" fmla="*/ 51 h 66"/>
                <a:gd name="T16" fmla="*/ 41 w 73"/>
                <a:gd name="T17" fmla="*/ 48 h 66"/>
                <a:gd name="T18" fmla="*/ 56 w 73"/>
                <a:gd name="T19" fmla="*/ 66 h 66"/>
                <a:gd name="T20" fmla="*/ 62 w 73"/>
                <a:gd name="T21" fmla="*/ 45 h 66"/>
                <a:gd name="T22" fmla="*/ 73 w 73"/>
                <a:gd name="T23" fmla="*/ 31 h 66"/>
                <a:gd name="T24" fmla="*/ 61 w 73"/>
                <a:gd name="T25" fmla="*/ 18 h 66"/>
                <a:gd name="T26" fmla="*/ 49 w 73"/>
                <a:gd name="T27" fmla="*/ 4 h 66"/>
                <a:gd name="T28" fmla="*/ 44 w 73"/>
                <a:gd name="T29" fmla="*/ 22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3" h="66">
                  <a:moveTo>
                    <a:pt x="44" y="22"/>
                  </a:moveTo>
                  <a:cubicBezTo>
                    <a:pt x="39" y="21"/>
                    <a:pt x="36" y="19"/>
                    <a:pt x="31" y="18"/>
                  </a:cubicBezTo>
                  <a:cubicBezTo>
                    <a:pt x="24" y="13"/>
                    <a:pt x="28" y="5"/>
                    <a:pt x="20" y="0"/>
                  </a:cubicBezTo>
                  <a:cubicBezTo>
                    <a:pt x="15" y="2"/>
                    <a:pt x="8" y="4"/>
                    <a:pt x="4" y="7"/>
                  </a:cubicBezTo>
                  <a:cubicBezTo>
                    <a:pt x="0" y="16"/>
                    <a:pt x="1" y="20"/>
                    <a:pt x="7" y="28"/>
                  </a:cubicBezTo>
                  <a:cubicBezTo>
                    <a:pt x="10" y="42"/>
                    <a:pt x="5" y="24"/>
                    <a:pt x="13" y="36"/>
                  </a:cubicBezTo>
                  <a:cubicBezTo>
                    <a:pt x="15" y="39"/>
                    <a:pt x="14" y="43"/>
                    <a:pt x="16" y="46"/>
                  </a:cubicBezTo>
                  <a:cubicBezTo>
                    <a:pt x="18" y="54"/>
                    <a:pt x="21" y="52"/>
                    <a:pt x="28" y="51"/>
                  </a:cubicBezTo>
                  <a:cubicBezTo>
                    <a:pt x="32" y="44"/>
                    <a:pt x="35" y="43"/>
                    <a:pt x="41" y="48"/>
                  </a:cubicBezTo>
                  <a:cubicBezTo>
                    <a:pt x="46" y="57"/>
                    <a:pt x="46" y="61"/>
                    <a:pt x="56" y="66"/>
                  </a:cubicBezTo>
                  <a:cubicBezTo>
                    <a:pt x="68" y="62"/>
                    <a:pt x="58" y="55"/>
                    <a:pt x="62" y="45"/>
                  </a:cubicBezTo>
                  <a:cubicBezTo>
                    <a:pt x="63" y="41"/>
                    <a:pt x="71" y="35"/>
                    <a:pt x="73" y="31"/>
                  </a:cubicBezTo>
                  <a:cubicBezTo>
                    <a:pt x="71" y="26"/>
                    <a:pt x="65" y="21"/>
                    <a:pt x="61" y="18"/>
                  </a:cubicBezTo>
                  <a:cubicBezTo>
                    <a:pt x="59" y="12"/>
                    <a:pt x="54" y="7"/>
                    <a:pt x="49" y="4"/>
                  </a:cubicBezTo>
                  <a:cubicBezTo>
                    <a:pt x="47" y="10"/>
                    <a:pt x="47" y="16"/>
                    <a:pt x="44" y="2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0" name="Freeform 10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5062002" y="2943077"/>
              <a:ext cx="85852" cy="110143"/>
            </a:xfrm>
            <a:custGeom>
              <a:avLst/>
              <a:gdLst>
                <a:gd name="T0" fmla="*/ 0 w 52"/>
                <a:gd name="T1" fmla="*/ 11 h 68"/>
                <a:gd name="T2" fmla="*/ 25 w 52"/>
                <a:gd name="T3" fmla="*/ 1 h 68"/>
                <a:gd name="T4" fmla="*/ 42 w 52"/>
                <a:gd name="T5" fmla="*/ 11 h 68"/>
                <a:gd name="T6" fmla="*/ 45 w 52"/>
                <a:gd name="T7" fmla="*/ 29 h 68"/>
                <a:gd name="T8" fmla="*/ 52 w 52"/>
                <a:gd name="T9" fmla="*/ 43 h 68"/>
                <a:gd name="T10" fmla="*/ 46 w 52"/>
                <a:gd name="T11" fmla="*/ 55 h 68"/>
                <a:gd name="T12" fmla="*/ 34 w 52"/>
                <a:gd name="T13" fmla="*/ 68 h 68"/>
                <a:gd name="T14" fmla="*/ 18 w 52"/>
                <a:gd name="T15" fmla="*/ 28 h 68"/>
                <a:gd name="T16" fmla="*/ 0 w 52"/>
                <a:gd name="T17" fmla="*/ 1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2" h="68">
                  <a:moveTo>
                    <a:pt x="0" y="11"/>
                  </a:moveTo>
                  <a:cubicBezTo>
                    <a:pt x="2" y="1"/>
                    <a:pt x="14" y="0"/>
                    <a:pt x="25" y="1"/>
                  </a:cubicBezTo>
                  <a:cubicBezTo>
                    <a:pt x="34" y="4"/>
                    <a:pt x="31" y="10"/>
                    <a:pt x="42" y="11"/>
                  </a:cubicBezTo>
                  <a:cubicBezTo>
                    <a:pt x="46" y="15"/>
                    <a:pt x="43" y="24"/>
                    <a:pt x="45" y="29"/>
                  </a:cubicBezTo>
                  <a:cubicBezTo>
                    <a:pt x="47" y="34"/>
                    <a:pt x="52" y="39"/>
                    <a:pt x="52" y="43"/>
                  </a:cubicBezTo>
                  <a:cubicBezTo>
                    <a:pt x="48" y="46"/>
                    <a:pt x="50" y="52"/>
                    <a:pt x="46" y="55"/>
                  </a:cubicBezTo>
                  <a:cubicBezTo>
                    <a:pt x="43" y="62"/>
                    <a:pt x="40" y="63"/>
                    <a:pt x="34" y="68"/>
                  </a:cubicBezTo>
                  <a:cubicBezTo>
                    <a:pt x="14" y="66"/>
                    <a:pt x="37" y="42"/>
                    <a:pt x="18" y="28"/>
                  </a:cubicBezTo>
                  <a:cubicBezTo>
                    <a:pt x="16" y="24"/>
                    <a:pt x="2" y="4"/>
                    <a:pt x="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1" name="Freeform 11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5413508" y="3134208"/>
              <a:ext cx="127968" cy="68029"/>
            </a:xfrm>
            <a:custGeom>
              <a:avLst/>
              <a:gdLst>
                <a:gd name="T0" fmla="*/ 34 w 78"/>
                <a:gd name="T1" fmla="*/ 31 h 42"/>
                <a:gd name="T2" fmla="*/ 12 w 78"/>
                <a:gd name="T3" fmla="*/ 13 h 42"/>
                <a:gd name="T4" fmla="*/ 37 w 78"/>
                <a:gd name="T5" fmla="*/ 7 h 42"/>
                <a:gd name="T6" fmla="*/ 57 w 78"/>
                <a:gd name="T7" fmla="*/ 10 h 42"/>
                <a:gd name="T8" fmla="*/ 78 w 78"/>
                <a:gd name="T9" fmla="*/ 19 h 42"/>
                <a:gd name="T10" fmla="*/ 64 w 78"/>
                <a:gd name="T11" fmla="*/ 36 h 42"/>
                <a:gd name="T12" fmla="*/ 34 w 78"/>
                <a:gd name="T13" fmla="*/ 31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42">
                  <a:moveTo>
                    <a:pt x="34" y="31"/>
                  </a:moveTo>
                  <a:cubicBezTo>
                    <a:pt x="0" y="25"/>
                    <a:pt x="34" y="30"/>
                    <a:pt x="12" y="13"/>
                  </a:cubicBezTo>
                  <a:cubicBezTo>
                    <a:pt x="6" y="0"/>
                    <a:pt x="35" y="7"/>
                    <a:pt x="37" y="7"/>
                  </a:cubicBezTo>
                  <a:cubicBezTo>
                    <a:pt x="51" y="13"/>
                    <a:pt x="27" y="4"/>
                    <a:pt x="57" y="10"/>
                  </a:cubicBezTo>
                  <a:cubicBezTo>
                    <a:pt x="64" y="11"/>
                    <a:pt x="70" y="18"/>
                    <a:pt x="78" y="19"/>
                  </a:cubicBezTo>
                  <a:cubicBezTo>
                    <a:pt x="67" y="23"/>
                    <a:pt x="73" y="32"/>
                    <a:pt x="64" y="36"/>
                  </a:cubicBezTo>
                  <a:cubicBezTo>
                    <a:pt x="35" y="34"/>
                    <a:pt x="41" y="42"/>
                    <a:pt x="34" y="3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2" name="Freeform 12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4883820" y="3155263"/>
              <a:ext cx="66414" cy="76129"/>
            </a:xfrm>
            <a:custGeom>
              <a:avLst/>
              <a:gdLst>
                <a:gd name="T0" fmla="*/ 8 w 41"/>
                <a:gd name="T1" fmla="*/ 3 h 47"/>
                <a:gd name="T2" fmla="*/ 23 w 41"/>
                <a:gd name="T3" fmla="*/ 6 h 47"/>
                <a:gd name="T4" fmla="*/ 40 w 41"/>
                <a:gd name="T5" fmla="*/ 32 h 47"/>
                <a:gd name="T6" fmla="*/ 26 w 41"/>
                <a:gd name="T7" fmla="*/ 42 h 47"/>
                <a:gd name="T8" fmla="*/ 10 w 41"/>
                <a:gd name="T9" fmla="*/ 45 h 47"/>
                <a:gd name="T10" fmla="*/ 5 w 41"/>
                <a:gd name="T11" fmla="*/ 18 h 47"/>
                <a:gd name="T12" fmla="*/ 8 w 41"/>
                <a:gd name="T13" fmla="*/ 3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1" h="47">
                  <a:moveTo>
                    <a:pt x="8" y="3"/>
                  </a:moveTo>
                  <a:cubicBezTo>
                    <a:pt x="15" y="2"/>
                    <a:pt x="20" y="0"/>
                    <a:pt x="23" y="6"/>
                  </a:cubicBezTo>
                  <a:cubicBezTo>
                    <a:pt x="25" y="17"/>
                    <a:pt x="31" y="26"/>
                    <a:pt x="40" y="32"/>
                  </a:cubicBezTo>
                  <a:cubicBezTo>
                    <a:pt x="41" y="39"/>
                    <a:pt x="33" y="41"/>
                    <a:pt x="26" y="42"/>
                  </a:cubicBezTo>
                  <a:cubicBezTo>
                    <a:pt x="20" y="47"/>
                    <a:pt x="18" y="47"/>
                    <a:pt x="10" y="45"/>
                  </a:cubicBezTo>
                  <a:cubicBezTo>
                    <a:pt x="0" y="39"/>
                    <a:pt x="4" y="30"/>
                    <a:pt x="5" y="18"/>
                  </a:cubicBezTo>
                  <a:cubicBezTo>
                    <a:pt x="5" y="14"/>
                    <a:pt x="1" y="3"/>
                    <a:pt x="8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3" name="Freeform 13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914597" y="3158503"/>
              <a:ext cx="90711" cy="45353"/>
            </a:xfrm>
            <a:custGeom>
              <a:avLst/>
              <a:gdLst>
                <a:gd name="T0" fmla="*/ 4 w 55"/>
                <a:gd name="T1" fmla="*/ 7 h 28"/>
                <a:gd name="T2" fmla="*/ 21 w 55"/>
                <a:gd name="T3" fmla="*/ 0 h 28"/>
                <a:gd name="T4" fmla="*/ 46 w 55"/>
                <a:gd name="T5" fmla="*/ 15 h 28"/>
                <a:gd name="T6" fmla="*/ 31 w 55"/>
                <a:gd name="T7" fmla="*/ 19 h 28"/>
                <a:gd name="T8" fmla="*/ 19 w 55"/>
                <a:gd name="T9" fmla="*/ 28 h 28"/>
                <a:gd name="T10" fmla="*/ 4 w 55"/>
                <a:gd name="T11" fmla="*/ 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5" h="28">
                  <a:moveTo>
                    <a:pt x="4" y="7"/>
                  </a:moveTo>
                  <a:cubicBezTo>
                    <a:pt x="17" y="6"/>
                    <a:pt x="10" y="2"/>
                    <a:pt x="21" y="0"/>
                  </a:cubicBezTo>
                  <a:cubicBezTo>
                    <a:pt x="55" y="2"/>
                    <a:pt x="28" y="2"/>
                    <a:pt x="46" y="15"/>
                  </a:cubicBezTo>
                  <a:cubicBezTo>
                    <a:pt x="41" y="16"/>
                    <a:pt x="36" y="18"/>
                    <a:pt x="31" y="19"/>
                  </a:cubicBezTo>
                  <a:cubicBezTo>
                    <a:pt x="26" y="22"/>
                    <a:pt x="22" y="23"/>
                    <a:pt x="19" y="28"/>
                  </a:cubicBezTo>
                  <a:cubicBezTo>
                    <a:pt x="14" y="26"/>
                    <a:pt x="0" y="7"/>
                    <a:pt x="4" y="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4" name="Freeform 14"/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969672" y="3098573"/>
              <a:ext cx="153885" cy="93945"/>
            </a:xfrm>
            <a:custGeom>
              <a:avLst/>
              <a:gdLst>
                <a:gd name="T0" fmla="*/ 6 w 94"/>
                <a:gd name="T1" fmla="*/ 34 h 58"/>
                <a:gd name="T2" fmla="*/ 7 w 94"/>
                <a:gd name="T3" fmla="*/ 29 h 58"/>
                <a:gd name="T4" fmla="*/ 12 w 94"/>
                <a:gd name="T5" fmla="*/ 25 h 58"/>
                <a:gd name="T6" fmla="*/ 0 w 94"/>
                <a:gd name="T7" fmla="*/ 8 h 58"/>
                <a:gd name="T8" fmla="*/ 36 w 94"/>
                <a:gd name="T9" fmla="*/ 8 h 58"/>
                <a:gd name="T10" fmla="*/ 66 w 94"/>
                <a:gd name="T11" fmla="*/ 1 h 58"/>
                <a:gd name="T12" fmla="*/ 84 w 94"/>
                <a:gd name="T13" fmla="*/ 8 h 58"/>
                <a:gd name="T14" fmla="*/ 63 w 94"/>
                <a:gd name="T15" fmla="*/ 34 h 58"/>
                <a:gd name="T16" fmla="*/ 52 w 94"/>
                <a:gd name="T17" fmla="*/ 52 h 58"/>
                <a:gd name="T18" fmla="*/ 34 w 94"/>
                <a:gd name="T19" fmla="*/ 55 h 58"/>
                <a:gd name="T20" fmla="*/ 12 w 94"/>
                <a:gd name="T21" fmla="*/ 49 h 58"/>
                <a:gd name="T22" fmla="*/ 6 w 94"/>
                <a:gd name="T23" fmla="*/ 3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58">
                  <a:moveTo>
                    <a:pt x="6" y="34"/>
                  </a:moveTo>
                  <a:cubicBezTo>
                    <a:pt x="6" y="32"/>
                    <a:pt x="6" y="30"/>
                    <a:pt x="7" y="29"/>
                  </a:cubicBezTo>
                  <a:cubicBezTo>
                    <a:pt x="8" y="27"/>
                    <a:pt x="11" y="27"/>
                    <a:pt x="12" y="25"/>
                  </a:cubicBezTo>
                  <a:cubicBezTo>
                    <a:pt x="14" y="17"/>
                    <a:pt x="5" y="12"/>
                    <a:pt x="0" y="8"/>
                  </a:cubicBezTo>
                  <a:cubicBezTo>
                    <a:pt x="10" y="0"/>
                    <a:pt x="24" y="6"/>
                    <a:pt x="36" y="8"/>
                  </a:cubicBezTo>
                  <a:cubicBezTo>
                    <a:pt x="49" y="7"/>
                    <a:pt x="54" y="3"/>
                    <a:pt x="66" y="1"/>
                  </a:cubicBezTo>
                  <a:cubicBezTo>
                    <a:pt x="75" y="2"/>
                    <a:pt x="77" y="2"/>
                    <a:pt x="84" y="8"/>
                  </a:cubicBezTo>
                  <a:cubicBezTo>
                    <a:pt x="94" y="25"/>
                    <a:pt x="75" y="32"/>
                    <a:pt x="63" y="34"/>
                  </a:cubicBezTo>
                  <a:cubicBezTo>
                    <a:pt x="60" y="43"/>
                    <a:pt x="62" y="49"/>
                    <a:pt x="52" y="52"/>
                  </a:cubicBezTo>
                  <a:cubicBezTo>
                    <a:pt x="44" y="58"/>
                    <a:pt x="43" y="57"/>
                    <a:pt x="34" y="55"/>
                  </a:cubicBezTo>
                  <a:cubicBezTo>
                    <a:pt x="26" y="49"/>
                    <a:pt x="23" y="50"/>
                    <a:pt x="12" y="49"/>
                  </a:cubicBezTo>
                  <a:cubicBezTo>
                    <a:pt x="8" y="43"/>
                    <a:pt x="6" y="41"/>
                    <a:pt x="6" y="3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5" name="Freeform 15"/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927556" y="2947936"/>
              <a:ext cx="220298" cy="176553"/>
            </a:xfrm>
            <a:custGeom>
              <a:avLst/>
              <a:gdLst>
                <a:gd name="T0" fmla="*/ 116 w 134"/>
                <a:gd name="T1" fmla="*/ 109 h 109"/>
                <a:gd name="T2" fmla="*/ 124 w 134"/>
                <a:gd name="T3" fmla="*/ 85 h 109"/>
                <a:gd name="T4" fmla="*/ 134 w 134"/>
                <a:gd name="T5" fmla="*/ 74 h 109"/>
                <a:gd name="T6" fmla="*/ 113 w 134"/>
                <a:gd name="T7" fmla="*/ 67 h 109"/>
                <a:gd name="T8" fmla="*/ 109 w 134"/>
                <a:gd name="T9" fmla="*/ 53 h 109"/>
                <a:gd name="T10" fmla="*/ 101 w 134"/>
                <a:gd name="T11" fmla="*/ 22 h 109"/>
                <a:gd name="T12" fmla="*/ 88 w 134"/>
                <a:gd name="T13" fmla="*/ 8 h 109"/>
                <a:gd name="T14" fmla="*/ 23 w 134"/>
                <a:gd name="T15" fmla="*/ 14 h 109"/>
                <a:gd name="T16" fmla="*/ 5 w 134"/>
                <a:gd name="T17" fmla="*/ 40 h 109"/>
                <a:gd name="T18" fmla="*/ 10 w 134"/>
                <a:gd name="T19" fmla="*/ 70 h 109"/>
                <a:gd name="T20" fmla="*/ 22 w 134"/>
                <a:gd name="T21" fmla="*/ 88 h 109"/>
                <a:gd name="T22" fmla="*/ 28 w 134"/>
                <a:gd name="T23" fmla="*/ 100 h 109"/>
                <a:gd name="T24" fmla="*/ 43 w 134"/>
                <a:gd name="T25" fmla="*/ 97 h 109"/>
                <a:gd name="T26" fmla="*/ 67 w 134"/>
                <a:gd name="T27" fmla="*/ 103 h 109"/>
                <a:gd name="T28" fmla="*/ 85 w 134"/>
                <a:gd name="T29" fmla="*/ 94 h 109"/>
                <a:gd name="T30" fmla="*/ 86 w 134"/>
                <a:gd name="T31" fmla="*/ 107 h 109"/>
                <a:gd name="T32" fmla="*/ 110 w 134"/>
                <a:gd name="T33" fmla="*/ 106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34" h="109">
                  <a:moveTo>
                    <a:pt x="116" y="109"/>
                  </a:moveTo>
                  <a:cubicBezTo>
                    <a:pt x="117" y="99"/>
                    <a:pt x="115" y="90"/>
                    <a:pt x="124" y="85"/>
                  </a:cubicBezTo>
                  <a:cubicBezTo>
                    <a:pt x="128" y="78"/>
                    <a:pt x="132" y="82"/>
                    <a:pt x="134" y="74"/>
                  </a:cubicBezTo>
                  <a:cubicBezTo>
                    <a:pt x="133" y="70"/>
                    <a:pt x="117" y="70"/>
                    <a:pt x="113" y="67"/>
                  </a:cubicBezTo>
                  <a:cubicBezTo>
                    <a:pt x="109" y="64"/>
                    <a:pt x="111" y="60"/>
                    <a:pt x="109" y="53"/>
                  </a:cubicBezTo>
                  <a:cubicBezTo>
                    <a:pt x="107" y="39"/>
                    <a:pt x="109" y="32"/>
                    <a:pt x="101" y="22"/>
                  </a:cubicBezTo>
                  <a:cubicBezTo>
                    <a:pt x="100" y="16"/>
                    <a:pt x="94" y="11"/>
                    <a:pt x="88" y="8"/>
                  </a:cubicBezTo>
                  <a:cubicBezTo>
                    <a:pt x="48" y="9"/>
                    <a:pt x="47" y="0"/>
                    <a:pt x="23" y="14"/>
                  </a:cubicBezTo>
                  <a:cubicBezTo>
                    <a:pt x="22" y="26"/>
                    <a:pt x="16" y="35"/>
                    <a:pt x="5" y="40"/>
                  </a:cubicBezTo>
                  <a:cubicBezTo>
                    <a:pt x="4" y="50"/>
                    <a:pt x="0" y="64"/>
                    <a:pt x="10" y="70"/>
                  </a:cubicBezTo>
                  <a:cubicBezTo>
                    <a:pt x="14" y="76"/>
                    <a:pt x="18" y="82"/>
                    <a:pt x="22" y="88"/>
                  </a:cubicBezTo>
                  <a:cubicBezTo>
                    <a:pt x="25" y="91"/>
                    <a:pt x="21" y="98"/>
                    <a:pt x="28" y="100"/>
                  </a:cubicBezTo>
                  <a:cubicBezTo>
                    <a:pt x="31" y="101"/>
                    <a:pt x="37" y="97"/>
                    <a:pt x="43" y="97"/>
                  </a:cubicBezTo>
                  <a:cubicBezTo>
                    <a:pt x="49" y="97"/>
                    <a:pt x="60" y="103"/>
                    <a:pt x="67" y="103"/>
                  </a:cubicBezTo>
                  <a:cubicBezTo>
                    <a:pt x="74" y="103"/>
                    <a:pt x="82" y="93"/>
                    <a:pt x="85" y="94"/>
                  </a:cubicBezTo>
                  <a:cubicBezTo>
                    <a:pt x="88" y="95"/>
                    <a:pt x="82" y="105"/>
                    <a:pt x="86" y="107"/>
                  </a:cubicBezTo>
                  <a:cubicBezTo>
                    <a:pt x="90" y="109"/>
                    <a:pt x="105" y="106"/>
                    <a:pt x="110" y="106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6" name="Freeform 16"/>
            <p:cNvSpPr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4874101" y="3116389"/>
              <a:ext cx="48595" cy="53452"/>
            </a:xfrm>
            <a:custGeom>
              <a:avLst/>
              <a:gdLst>
                <a:gd name="T0" fmla="*/ 13 w 30"/>
                <a:gd name="T1" fmla="*/ 33 h 33"/>
                <a:gd name="T2" fmla="*/ 2 w 30"/>
                <a:gd name="T3" fmla="*/ 15 h 33"/>
                <a:gd name="T4" fmla="*/ 7 w 30"/>
                <a:gd name="T5" fmla="*/ 0 h 33"/>
                <a:gd name="T6" fmla="*/ 28 w 30"/>
                <a:gd name="T7" fmla="*/ 15 h 33"/>
                <a:gd name="T8" fmla="*/ 17 w 30"/>
                <a:gd name="T9" fmla="*/ 27 h 33"/>
                <a:gd name="T10" fmla="*/ 13 w 30"/>
                <a:gd name="T11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33">
                  <a:moveTo>
                    <a:pt x="13" y="33"/>
                  </a:moveTo>
                  <a:cubicBezTo>
                    <a:pt x="9" y="27"/>
                    <a:pt x="6" y="21"/>
                    <a:pt x="2" y="15"/>
                  </a:cubicBezTo>
                  <a:cubicBezTo>
                    <a:pt x="1" y="7"/>
                    <a:pt x="0" y="4"/>
                    <a:pt x="7" y="0"/>
                  </a:cubicBezTo>
                  <a:cubicBezTo>
                    <a:pt x="18" y="3"/>
                    <a:pt x="17" y="13"/>
                    <a:pt x="28" y="15"/>
                  </a:cubicBezTo>
                  <a:cubicBezTo>
                    <a:pt x="30" y="24"/>
                    <a:pt x="25" y="25"/>
                    <a:pt x="17" y="27"/>
                  </a:cubicBezTo>
                  <a:cubicBezTo>
                    <a:pt x="12" y="30"/>
                    <a:pt x="13" y="28"/>
                    <a:pt x="13" y="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7" name="Freeform 17"/>
            <p:cNvSpPr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809308" y="3059699"/>
              <a:ext cx="87471" cy="79368"/>
            </a:xfrm>
            <a:custGeom>
              <a:avLst/>
              <a:gdLst>
                <a:gd name="T0" fmla="*/ 53 w 53"/>
                <a:gd name="T1" fmla="*/ 40 h 49"/>
                <a:gd name="T2" fmla="*/ 37 w 53"/>
                <a:gd name="T3" fmla="*/ 5 h 49"/>
                <a:gd name="T4" fmla="*/ 2 w 53"/>
                <a:gd name="T5" fmla="*/ 16 h 49"/>
                <a:gd name="T6" fmla="*/ 17 w 53"/>
                <a:gd name="T7" fmla="*/ 25 h 49"/>
                <a:gd name="T8" fmla="*/ 26 w 53"/>
                <a:gd name="T9" fmla="*/ 37 h 49"/>
                <a:gd name="T10" fmla="*/ 35 w 53"/>
                <a:gd name="T11" fmla="*/ 49 h 49"/>
                <a:gd name="T12" fmla="*/ 53 w 53"/>
                <a:gd name="T13" fmla="*/ 4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3" h="49">
                  <a:moveTo>
                    <a:pt x="53" y="40"/>
                  </a:moveTo>
                  <a:cubicBezTo>
                    <a:pt x="51" y="23"/>
                    <a:pt x="50" y="15"/>
                    <a:pt x="37" y="5"/>
                  </a:cubicBezTo>
                  <a:cubicBezTo>
                    <a:pt x="3" y="7"/>
                    <a:pt x="12" y="0"/>
                    <a:pt x="2" y="16"/>
                  </a:cubicBezTo>
                  <a:cubicBezTo>
                    <a:pt x="0" y="26"/>
                    <a:pt x="8" y="23"/>
                    <a:pt x="17" y="25"/>
                  </a:cubicBezTo>
                  <a:cubicBezTo>
                    <a:pt x="20" y="30"/>
                    <a:pt x="21" y="33"/>
                    <a:pt x="26" y="37"/>
                  </a:cubicBezTo>
                  <a:cubicBezTo>
                    <a:pt x="28" y="42"/>
                    <a:pt x="32" y="44"/>
                    <a:pt x="35" y="49"/>
                  </a:cubicBezTo>
                  <a:cubicBezTo>
                    <a:pt x="42" y="46"/>
                    <a:pt x="45" y="26"/>
                    <a:pt x="53" y="4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8" name="Freeform 18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752613" y="3017585"/>
              <a:ext cx="132827" cy="137679"/>
            </a:xfrm>
            <a:custGeom>
              <a:avLst/>
              <a:gdLst>
                <a:gd name="T0" fmla="*/ 72 w 80"/>
                <a:gd name="T1" fmla="*/ 15 h 85"/>
                <a:gd name="T2" fmla="*/ 54 w 80"/>
                <a:gd name="T3" fmla="*/ 7 h 85"/>
                <a:gd name="T4" fmla="*/ 39 w 80"/>
                <a:gd name="T5" fmla="*/ 1 h 85"/>
                <a:gd name="T6" fmla="*/ 21 w 80"/>
                <a:gd name="T7" fmla="*/ 15 h 85"/>
                <a:gd name="T8" fmla="*/ 9 w 80"/>
                <a:gd name="T9" fmla="*/ 21 h 85"/>
                <a:gd name="T10" fmla="*/ 8 w 80"/>
                <a:gd name="T11" fmla="*/ 31 h 85"/>
                <a:gd name="T12" fmla="*/ 18 w 80"/>
                <a:gd name="T13" fmla="*/ 49 h 85"/>
                <a:gd name="T14" fmla="*/ 27 w 80"/>
                <a:gd name="T15" fmla="*/ 61 h 85"/>
                <a:gd name="T16" fmla="*/ 44 w 80"/>
                <a:gd name="T17" fmla="*/ 73 h 85"/>
                <a:gd name="T18" fmla="*/ 72 w 80"/>
                <a:gd name="T19" fmla="*/ 85 h 85"/>
                <a:gd name="T20" fmla="*/ 68 w 80"/>
                <a:gd name="T21" fmla="*/ 76 h 85"/>
                <a:gd name="T22" fmla="*/ 56 w 80"/>
                <a:gd name="T23" fmla="*/ 58 h 85"/>
                <a:gd name="T24" fmla="*/ 39 w 80"/>
                <a:gd name="T25" fmla="*/ 48 h 85"/>
                <a:gd name="T26" fmla="*/ 42 w 80"/>
                <a:gd name="T27" fmla="*/ 30 h 85"/>
                <a:gd name="T28" fmla="*/ 80 w 80"/>
                <a:gd name="T29" fmla="*/ 31 h 85"/>
                <a:gd name="T30" fmla="*/ 77 w 80"/>
                <a:gd name="T31" fmla="*/ 1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" h="85">
                  <a:moveTo>
                    <a:pt x="72" y="15"/>
                  </a:moveTo>
                  <a:cubicBezTo>
                    <a:pt x="66" y="12"/>
                    <a:pt x="60" y="9"/>
                    <a:pt x="54" y="7"/>
                  </a:cubicBezTo>
                  <a:cubicBezTo>
                    <a:pt x="49" y="2"/>
                    <a:pt x="47" y="0"/>
                    <a:pt x="39" y="1"/>
                  </a:cubicBezTo>
                  <a:cubicBezTo>
                    <a:pt x="36" y="7"/>
                    <a:pt x="27" y="11"/>
                    <a:pt x="21" y="15"/>
                  </a:cubicBezTo>
                  <a:cubicBezTo>
                    <a:pt x="20" y="24"/>
                    <a:pt x="17" y="22"/>
                    <a:pt x="9" y="21"/>
                  </a:cubicBezTo>
                  <a:cubicBezTo>
                    <a:pt x="0" y="23"/>
                    <a:pt x="4" y="25"/>
                    <a:pt x="8" y="31"/>
                  </a:cubicBezTo>
                  <a:cubicBezTo>
                    <a:pt x="9" y="45"/>
                    <a:pt x="9" y="42"/>
                    <a:pt x="18" y="49"/>
                  </a:cubicBezTo>
                  <a:cubicBezTo>
                    <a:pt x="20" y="55"/>
                    <a:pt x="22" y="57"/>
                    <a:pt x="27" y="61"/>
                  </a:cubicBezTo>
                  <a:cubicBezTo>
                    <a:pt x="31" y="67"/>
                    <a:pt x="37" y="72"/>
                    <a:pt x="44" y="73"/>
                  </a:cubicBezTo>
                  <a:cubicBezTo>
                    <a:pt x="53" y="80"/>
                    <a:pt x="61" y="84"/>
                    <a:pt x="72" y="85"/>
                  </a:cubicBezTo>
                  <a:cubicBezTo>
                    <a:pt x="76" y="84"/>
                    <a:pt x="71" y="80"/>
                    <a:pt x="68" y="76"/>
                  </a:cubicBezTo>
                  <a:cubicBezTo>
                    <a:pt x="65" y="72"/>
                    <a:pt x="61" y="63"/>
                    <a:pt x="56" y="58"/>
                  </a:cubicBezTo>
                  <a:cubicBezTo>
                    <a:pt x="52" y="52"/>
                    <a:pt x="46" y="49"/>
                    <a:pt x="39" y="48"/>
                  </a:cubicBezTo>
                  <a:cubicBezTo>
                    <a:pt x="35" y="41"/>
                    <a:pt x="35" y="35"/>
                    <a:pt x="42" y="30"/>
                  </a:cubicBezTo>
                  <a:cubicBezTo>
                    <a:pt x="49" y="27"/>
                    <a:pt x="74" y="33"/>
                    <a:pt x="80" y="31"/>
                  </a:cubicBezTo>
                  <a:cubicBezTo>
                    <a:pt x="78" y="20"/>
                    <a:pt x="79" y="24"/>
                    <a:pt x="77" y="18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9" name="Freeform 19"/>
            <p:cNvSpPr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880580" y="3022445"/>
              <a:ext cx="108530" cy="147397"/>
            </a:xfrm>
            <a:custGeom>
              <a:avLst/>
              <a:gdLst>
                <a:gd name="T0" fmla="*/ 1 w 66"/>
                <a:gd name="T1" fmla="*/ 13 h 91"/>
                <a:gd name="T2" fmla="*/ 34 w 66"/>
                <a:gd name="T3" fmla="*/ 3 h 91"/>
                <a:gd name="T4" fmla="*/ 33 w 66"/>
                <a:gd name="T5" fmla="*/ 18 h 91"/>
                <a:gd name="T6" fmla="*/ 43 w 66"/>
                <a:gd name="T7" fmla="*/ 31 h 91"/>
                <a:gd name="T8" fmla="*/ 52 w 66"/>
                <a:gd name="T9" fmla="*/ 43 h 91"/>
                <a:gd name="T10" fmla="*/ 66 w 66"/>
                <a:gd name="T11" fmla="*/ 67 h 91"/>
                <a:gd name="T12" fmla="*/ 58 w 66"/>
                <a:gd name="T13" fmla="*/ 81 h 91"/>
                <a:gd name="T14" fmla="*/ 27 w 66"/>
                <a:gd name="T15" fmla="*/ 90 h 91"/>
                <a:gd name="T16" fmla="*/ 21 w 66"/>
                <a:gd name="T17" fmla="*/ 75 h 91"/>
                <a:gd name="T18" fmla="*/ 6 w 66"/>
                <a:gd name="T19" fmla="*/ 58 h 91"/>
                <a:gd name="T20" fmla="*/ 9 w 66"/>
                <a:gd name="T21" fmla="*/ 48 h 91"/>
                <a:gd name="T22" fmla="*/ 6 w 66"/>
                <a:gd name="T23" fmla="*/ 39 h 91"/>
                <a:gd name="T24" fmla="*/ 1 w 66"/>
                <a:gd name="T25" fmla="*/ 33 h 91"/>
                <a:gd name="T26" fmla="*/ 1 w 66"/>
                <a:gd name="T27" fmla="*/ 21 h 91"/>
                <a:gd name="T28" fmla="*/ 1 w 66"/>
                <a:gd name="T29" fmla="*/ 12 h 91"/>
                <a:gd name="T30" fmla="*/ 1 w 66"/>
                <a:gd name="T31" fmla="*/ 1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6" h="91">
                  <a:moveTo>
                    <a:pt x="1" y="13"/>
                  </a:moveTo>
                  <a:cubicBezTo>
                    <a:pt x="8" y="0"/>
                    <a:pt x="14" y="1"/>
                    <a:pt x="34" y="3"/>
                  </a:cubicBezTo>
                  <a:cubicBezTo>
                    <a:pt x="40" y="4"/>
                    <a:pt x="32" y="13"/>
                    <a:pt x="33" y="18"/>
                  </a:cubicBezTo>
                  <a:cubicBezTo>
                    <a:pt x="34" y="23"/>
                    <a:pt x="40" y="27"/>
                    <a:pt x="43" y="31"/>
                  </a:cubicBezTo>
                  <a:cubicBezTo>
                    <a:pt x="46" y="36"/>
                    <a:pt x="47" y="39"/>
                    <a:pt x="52" y="43"/>
                  </a:cubicBezTo>
                  <a:cubicBezTo>
                    <a:pt x="56" y="53"/>
                    <a:pt x="61" y="58"/>
                    <a:pt x="66" y="67"/>
                  </a:cubicBezTo>
                  <a:cubicBezTo>
                    <a:pt x="66" y="73"/>
                    <a:pt x="65" y="77"/>
                    <a:pt x="58" y="81"/>
                  </a:cubicBezTo>
                  <a:cubicBezTo>
                    <a:pt x="51" y="85"/>
                    <a:pt x="33" y="91"/>
                    <a:pt x="27" y="90"/>
                  </a:cubicBezTo>
                  <a:cubicBezTo>
                    <a:pt x="25" y="85"/>
                    <a:pt x="23" y="80"/>
                    <a:pt x="21" y="75"/>
                  </a:cubicBezTo>
                  <a:cubicBezTo>
                    <a:pt x="20" y="68"/>
                    <a:pt x="9" y="64"/>
                    <a:pt x="6" y="58"/>
                  </a:cubicBezTo>
                  <a:cubicBezTo>
                    <a:pt x="3" y="53"/>
                    <a:pt x="9" y="52"/>
                    <a:pt x="9" y="48"/>
                  </a:cubicBezTo>
                  <a:cubicBezTo>
                    <a:pt x="9" y="45"/>
                    <a:pt x="7" y="41"/>
                    <a:pt x="6" y="39"/>
                  </a:cubicBezTo>
                  <a:cubicBezTo>
                    <a:pt x="5" y="37"/>
                    <a:pt x="2" y="36"/>
                    <a:pt x="1" y="33"/>
                  </a:cubicBezTo>
                  <a:cubicBezTo>
                    <a:pt x="0" y="27"/>
                    <a:pt x="1" y="24"/>
                    <a:pt x="1" y="21"/>
                  </a:cubicBezTo>
                  <a:cubicBezTo>
                    <a:pt x="1" y="18"/>
                    <a:pt x="1" y="13"/>
                    <a:pt x="1" y="12"/>
                  </a:cubicBezTo>
                  <a:cubicBezTo>
                    <a:pt x="0" y="5"/>
                    <a:pt x="0" y="5"/>
                    <a:pt x="1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0" name="Freeform 20"/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817407" y="2941458"/>
              <a:ext cx="152265" cy="102044"/>
            </a:xfrm>
            <a:custGeom>
              <a:avLst/>
              <a:gdLst>
                <a:gd name="T0" fmla="*/ 21 w 92"/>
                <a:gd name="T1" fmla="*/ 57 h 63"/>
                <a:gd name="T2" fmla="*/ 12 w 92"/>
                <a:gd name="T3" fmla="*/ 53 h 63"/>
                <a:gd name="T4" fmla="*/ 5 w 92"/>
                <a:gd name="T5" fmla="*/ 44 h 63"/>
                <a:gd name="T6" fmla="*/ 0 w 92"/>
                <a:gd name="T7" fmla="*/ 41 h 63"/>
                <a:gd name="T8" fmla="*/ 11 w 92"/>
                <a:gd name="T9" fmla="*/ 23 h 63"/>
                <a:gd name="T10" fmla="*/ 26 w 92"/>
                <a:gd name="T11" fmla="*/ 11 h 63"/>
                <a:gd name="T12" fmla="*/ 51 w 92"/>
                <a:gd name="T13" fmla="*/ 8 h 63"/>
                <a:gd name="T14" fmla="*/ 66 w 92"/>
                <a:gd name="T15" fmla="*/ 0 h 63"/>
                <a:gd name="T16" fmla="*/ 92 w 92"/>
                <a:gd name="T17" fmla="*/ 5 h 63"/>
                <a:gd name="T18" fmla="*/ 84 w 92"/>
                <a:gd name="T19" fmla="*/ 33 h 63"/>
                <a:gd name="T20" fmla="*/ 72 w 92"/>
                <a:gd name="T21" fmla="*/ 50 h 63"/>
                <a:gd name="T22" fmla="*/ 45 w 92"/>
                <a:gd name="T23" fmla="*/ 54 h 63"/>
                <a:gd name="T24" fmla="*/ 32 w 92"/>
                <a:gd name="T25" fmla="*/ 62 h 63"/>
                <a:gd name="T26" fmla="*/ 21 w 92"/>
                <a:gd name="T27" fmla="*/ 5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2" h="63">
                  <a:moveTo>
                    <a:pt x="21" y="57"/>
                  </a:moveTo>
                  <a:cubicBezTo>
                    <a:pt x="18" y="55"/>
                    <a:pt x="15" y="55"/>
                    <a:pt x="12" y="53"/>
                  </a:cubicBezTo>
                  <a:cubicBezTo>
                    <a:pt x="9" y="51"/>
                    <a:pt x="8" y="46"/>
                    <a:pt x="5" y="44"/>
                  </a:cubicBezTo>
                  <a:cubicBezTo>
                    <a:pt x="3" y="43"/>
                    <a:pt x="2" y="42"/>
                    <a:pt x="0" y="41"/>
                  </a:cubicBezTo>
                  <a:cubicBezTo>
                    <a:pt x="2" y="31"/>
                    <a:pt x="1" y="25"/>
                    <a:pt x="11" y="23"/>
                  </a:cubicBezTo>
                  <a:cubicBezTo>
                    <a:pt x="19" y="17"/>
                    <a:pt x="17" y="13"/>
                    <a:pt x="26" y="11"/>
                  </a:cubicBezTo>
                  <a:cubicBezTo>
                    <a:pt x="31" y="2"/>
                    <a:pt x="39" y="6"/>
                    <a:pt x="51" y="8"/>
                  </a:cubicBezTo>
                  <a:cubicBezTo>
                    <a:pt x="60" y="6"/>
                    <a:pt x="59" y="3"/>
                    <a:pt x="66" y="0"/>
                  </a:cubicBezTo>
                  <a:cubicBezTo>
                    <a:pt x="75" y="2"/>
                    <a:pt x="92" y="5"/>
                    <a:pt x="92" y="5"/>
                  </a:cubicBezTo>
                  <a:cubicBezTo>
                    <a:pt x="91" y="16"/>
                    <a:pt x="89" y="24"/>
                    <a:pt x="84" y="33"/>
                  </a:cubicBezTo>
                  <a:cubicBezTo>
                    <a:pt x="80" y="40"/>
                    <a:pt x="78" y="47"/>
                    <a:pt x="72" y="50"/>
                  </a:cubicBezTo>
                  <a:cubicBezTo>
                    <a:pt x="66" y="53"/>
                    <a:pt x="52" y="52"/>
                    <a:pt x="45" y="54"/>
                  </a:cubicBezTo>
                  <a:cubicBezTo>
                    <a:pt x="40" y="60"/>
                    <a:pt x="38" y="59"/>
                    <a:pt x="32" y="62"/>
                  </a:cubicBezTo>
                  <a:cubicBezTo>
                    <a:pt x="22" y="60"/>
                    <a:pt x="25" y="63"/>
                    <a:pt x="21" y="5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1" name="Freeform 21"/>
            <p:cNvSpPr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825505" y="2892864"/>
              <a:ext cx="150646" cy="77748"/>
            </a:xfrm>
            <a:custGeom>
              <a:avLst/>
              <a:gdLst>
                <a:gd name="T0" fmla="*/ 90 w 91"/>
                <a:gd name="T1" fmla="*/ 35 h 48"/>
                <a:gd name="T2" fmla="*/ 91 w 91"/>
                <a:gd name="T3" fmla="*/ 18 h 48"/>
                <a:gd name="T4" fmla="*/ 51 w 91"/>
                <a:gd name="T5" fmla="*/ 11 h 48"/>
                <a:gd name="T6" fmla="*/ 25 w 91"/>
                <a:gd name="T7" fmla="*/ 12 h 48"/>
                <a:gd name="T8" fmla="*/ 4 w 91"/>
                <a:gd name="T9" fmla="*/ 24 h 48"/>
                <a:gd name="T10" fmla="*/ 10 w 91"/>
                <a:gd name="T11" fmla="*/ 45 h 48"/>
                <a:gd name="T12" fmla="*/ 25 w 91"/>
                <a:gd name="T13" fmla="*/ 36 h 48"/>
                <a:gd name="T14" fmla="*/ 49 w 91"/>
                <a:gd name="T15" fmla="*/ 35 h 48"/>
                <a:gd name="T16" fmla="*/ 90 w 91"/>
                <a:gd name="T17" fmla="*/ 35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1" h="48">
                  <a:moveTo>
                    <a:pt x="90" y="35"/>
                  </a:moveTo>
                  <a:cubicBezTo>
                    <a:pt x="91" y="27"/>
                    <a:pt x="90" y="26"/>
                    <a:pt x="91" y="18"/>
                  </a:cubicBezTo>
                  <a:cubicBezTo>
                    <a:pt x="88" y="0"/>
                    <a:pt x="66" y="10"/>
                    <a:pt x="51" y="11"/>
                  </a:cubicBezTo>
                  <a:cubicBezTo>
                    <a:pt x="42" y="8"/>
                    <a:pt x="34" y="10"/>
                    <a:pt x="25" y="12"/>
                  </a:cubicBezTo>
                  <a:cubicBezTo>
                    <a:pt x="16" y="19"/>
                    <a:pt x="17" y="23"/>
                    <a:pt x="4" y="24"/>
                  </a:cubicBezTo>
                  <a:cubicBezTo>
                    <a:pt x="0" y="30"/>
                    <a:pt x="4" y="40"/>
                    <a:pt x="10" y="45"/>
                  </a:cubicBezTo>
                  <a:cubicBezTo>
                    <a:pt x="13" y="48"/>
                    <a:pt x="19" y="38"/>
                    <a:pt x="25" y="36"/>
                  </a:cubicBezTo>
                  <a:cubicBezTo>
                    <a:pt x="31" y="34"/>
                    <a:pt x="38" y="35"/>
                    <a:pt x="49" y="35"/>
                  </a:cubicBezTo>
                  <a:cubicBezTo>
                    <a:pt x="63" y="27"/>
                    <a:pt x="66" y="32"/>
                    <a:pt x="9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2" name="Freeform 22"/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4720217" y="2849132"/>
              <a:ext cx="165224" cy="90706"/>
            </a:xfrm>
            <a:custGeom>
              <a:avLst/>
              <a:gdLst>
                <a:gd name="T0" fmla="*/ 100 w 100"/>
                <a:gd name="T1" fmla="*/ 35 h 56"/>
                <a:gd name="T2" fmla="*/ 86 w 100"/>
                <a:gd name="T3" fmla="*/ 26 h 56"/>
                <a:gd name="T4" fmla="*/ 55 w 100"/>
                <a:gd name="T5" fmla="*/ 3 h 56"/>
                <a:gd name="T6" fmla="*/ 35 w 100"/>
                <a:gd name="T7" fmla="*/ 2 h 56"/>
                <a:gd name="T8" fmla="*/ 20 w 100"/>
                <a:gd name="T9" fmla="*/ 12 h 56"/>
                <a:gd name="T10" fmla="*/ 2 w 100"/>
                <a:gd name="T11" fmla="*/ 23 h 56"/>
                <a:gd name="T12" fmla="*/ 11 w 100"/>
                <a:gd name="T13" fmla="*/ 38 h 56"/>
                <a:gd name="T14" fmla="*/ 23 w 100"/>
                <a:gd name="T15" fmla="*/ 56 h 56"/>
                <a:gd name="T16" fmla="*/ 41 w 100"/>
                <a:gd name="T17" fmla="*/ 45 h 56"/>
                <a:gd name="T18" fmla="*/ 59 w 100"/>
                <a:gd name="T19" fmla="*/ 56 h 56"/>
                <a:gd name="T20" fmla="*/ 64 w 100"/>
                <a:gd name="T21" fmla="*/ 54 h 56"/>
                <a:gd name="T22" fmla="*/ 68 w 100"/>
                <a:gd name="T23" fmla="*/ 56 h 56"/>
                <a:gd name="T24" fmla="*/ 88 w 100"/>
                <a:gd name="T25" fmla="*/ 42 h 56"/>
                <a:gd name="T26" fmla="*/ 100 w 100"/>
                <a:gd name="T27" fmla="*/ 3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0" h="56">
                  <a:moveTo>
                    <a:pt x="100" y="35"/>
                  </a:moveTo>
                  <a:cubicBezTo>
                    <a:pt x="94" y="32"/>
                    <a:pt x="93" y="27"/>
                    <a:pt x="86" y="26"/>
                  </a:cubicBezTo>
                  <a:cubicBezTo>
                    <a:pt x="75" y="18"/>
                    <a:pt x="66" y="11"/>
                    <a:pt x="55" y="3"/>
                  </a:cubicBezTo>
                  <a:cubicBezTo>
                    <a:pt x="47" y="0"/>
                    <a:pt x="41" y="1"/>
                    <a:pt x="35" y="2"/>
                  </a:cubicBezTo>
                  <a:cubicBezTo>
                    <a:pt x="29" y="3"/>
                    <a:pt x="25" y="9"/>
                    <a:pt x="20" y="12"/>
                  </a:cubicBezTo>
                  <a:cubicBezTo>
                    <a:pt x="13" y="20"/>
                    <a:pt x="6" y="13"/>
                    <a:pt x="2" y="23"/>
                  </a:cubicBezTo>
                  <a:cubicBezTo>
                    <a:pt x="6" y="41"/>
                    <a:pt x="0" y="29"/>
                    <a:pt x="11" y="38"/>
                  </a:cubicBezTo>
                  <a:cubicBezTo>
                    <a:pt x="13" y="43"/>
                    <a:pt x="20" y="51"/>
                    <a:pt x="23" y="56"/>
                  </a:cubicBezTo>
                  <a:cubicBezTo>
                    <a:pt x="30" y="53"/>
                    <a:pt x="35" y="49"/>
                    <a:pt x="41" y="45"/>
                  </a:cubicBezTo>
                  <a:cubicBezTo>
                    <a:pt x="47" y="49"/>
                    <a:pt x="53" y="52"/>
                    <a:pt x="59" y="56"/>
                  </a:cubicBezTo>
                  <a:cubicBezTo>
                    <a:pt x="61" y="55"/>
                    <a:pt x="62" y="54"/>
                    <a:pt x="64" y="54"/>
                  </a:cubicBezTo>
                  <a:cubicBezTo>
                    <a:pt x="65" y="54"/>
                    <a:pt x="67" y="56"/>
                    <a:pt x="68" y="56"/>
                  </a:cubicBezTo>
                  <a:cubicBezTo>
                    <a:pt x="75" y="55"/>
                    <a:pt x="80" y="43"/>
                    <a:pt x="88" y="42"/>
                  </a:cubicBezTo>
                  <a:cubicBezTo>
                    <a:pt x="91" y="37"/>
                    <a:pt x="94" y="31"/>
                    <a:pt x="100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3" name="Freeform 23"/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5288780" y="3313998"/>
              <a:ext cx="145786" cy="149017"/>
            </a:xfrm>
            <a:custGeom>
              <a:avLst/>
              <a:gdLst>
                <a:gd name="T0" fmla="*/ 89 w 89"/>
                <a:gd name="T1" fmla="*/ 6 h 92"/>
                <a:gd name="T2" fmla="*/ 62 w 89"/>
                <a:gd name="T3" fmla="*/ 12 h 92"/>
                <a:gd name="T4" fmla="*/ 50 w 89"/>
                <a:gd name="T5" fmla="*/ 15 h 92"/>
                <a:gd name="T6" fmla="*/ 8 w 89"/>
                <a:gd name="T7" fmla="*/ 16 h 92"/>
                <a:gd name="T8" fmla="*/ 10 w 89"/>
                <a:gd name="T9" fmla="*/ 54 h 92"/>
                <a:gd name="T10" fmla="*/ 5 w 89"/>
                <a:gd name="T11" fmla="*/ 78 h 92"/>
                <a:gd name="T12" fmla="*/ 19 w 89"/>
                <a:gd name="T13" fmla="*/ 85 h 92"/>
                <a:gd name="T14" fmla="*/ 28 w 89"/>
                <a:gd name="T15" fmla="*/ 82 h 92"/>
                <a:gd name="T16" fmla="*/ 55 w 89"/>
                <a:gd name="T17" fmla="*/ 70 h 92"/>
                <a:gd name="T18" fmla="*/ 73 w 89"/>
                <a:gd name="T19" fmla="*/ 52 h 92"/>
                <a:gd name="T20" fmla="*/ 82 w 89"/>
                <a:gd name="T21" fmla="*/ 39 h 92"/>
                <a:gd name="T22" fmla="*/ 89 w 89"/>
                <a:gd name="T23" fmla="*/ 6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9" h="92">
                  <a:moveTo>
                    <a:pt x="89" y="6"/>
                  </a:moveTo>
                  <a:cubicBezTo>
                    <a:pt x="77" y="4"/>
                    <a:pt x="69" y="0"/>
                    <a:pt x="62" y="12"/>
                  </a:cubicBezTo>
                  <a:cubicBezTo>
                    <a:pt x="60" y="21"/>
                    <a:pt x="58" y="16"/>
                    <a:pt x="50" y="15"/>
                  </a:cubicBezTo>
                  <a:cubicBezTo>
                    <a:pt x="36" y="15"/>
                    <a:pt x="22" y="14"/>
                    <a:pt x="8" y="16"/>
                  </a:cubicBezTo>
                  <a:cubicBezTo>
                    <a:pt x="3" y="17"/>
                    <a:pt x="0" y="48"/>
                    <a:pt x="10" y="54"/>
                  </a:cubicBezTo>
                  <a:cubicBezTo>
                    <a:pt x="17" y="63"/>
                    <a:pt x="12" y="71"/>
                    <a:pt x="5" y="78"/>
                  </a:cubicBezTo>
                  <a:cubicBezTo>
                    <a:pt x="8" y="84"/>
                    <a:pt x="13" y="84"/>
                    <a:pt x="19" y="85"/>
                  </a:cubicBezTo>
                  <a:cubicBezTo>
                    <a:pt x="23" y="92"/>
                    <a:pt x="21" y="86"/>
                    <a:pt x="28" y="82"/>
                  </a:cubicBezTo>
                  <a:cubicBezTo>
                    <a:pt x="30" y="68"/>
                    <a:pt x="42" y="72"/>
                    <a:pt x="55" y="70"/>
                  </a:cubicBezTo>
                  <a:cubicBezTo>
                    <a:pt x="65" y="63"/>
                    <a:pt x="58" y="59"/>
                    <a:pt x="73" y="52"/>
                  </a:cubicBezTo>
                  <a:cubicBezTo>
                    <a:pt x="76" y="48"/>
                    <a:pt x="79" y="43"/>
                    <a:pt x="82" y="39"/>
                  </a:cubicBezTo>
                  <a:cubicBezTo>
                    <a:pt x="84" y="27"/>
                    <a:pt x="78" y="14"/>
                    <a:pt x="89" y="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4" name="Freeform 24"/>
            <p:cNvSpPr>
              <a:spLocks/>
            </p:cNvSpPr>
            <p:nvPr>
              <p:custDataLst>
                <p:tags r:id="rId20"/>
              </p:custDataLst>
            </p:nvPr>
          </p:nvSpPr>
          <p:spPr bwMode="gray">
            <a:xfrm>
              <a:off x="5207787" y="3359351"/>
              <a:ext cx="64794" cy="40494"/>
            </a:xfrm>
            <a:custGeom>
              <a:avLst/>
              <a:gdLst>
                <a:gd name="T0" fmla="*/ 0 w 39"/>
                <a:gd name="T1" fmla="*/ 12 h 25"/>
                <a:gd name="T2" fmla="*/ 30 w 39"/>
                <a:gd name="T3" fmla="*/ 0 h 25"/>
                <a:gd name="T4" fmla="*/ 29 w 39"/>
                <a:gd name="T5" fmla="*/ 8 h 25"/>
                <a:gd name="T6" fmla="*/ 21 w 39"/>
                <a:gd name="T7" fmla="*/ 21 h 25"/>
                <a:gd name="T8" fmla="*/ 2 w 39"/>
                <a:gd name="T9" fmla="*/ 23 h 25"/>
                <a:gd name="T10" fmla="*/ 0 w 39"/>
                <a:gd name="T11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9" h="25">
                  <a:moveTo>
                    <a:pt x="0" y="12"/>
                  </a:moveTo>
                  <a:cubicBezTo>
                    <a:pt x="17" y="9"/>
                    <a:pt x="18" y="9"/>
                    <a:pt x="30" y="0"/>
                  </a:cubicBezTo>
                  <a:cubicBezTo>
                    <a:pt x="39" y="3"/>
                    <a:pt x="35" y="5"/>
                    <a:pt x="29" y="8"/>
                  </a:cubicBezTo>
                  <a:cubicBezTo>
                    <a:pt x="35" y="16"/>
                    <a:pt x="29" y="19"/>
                    <a:pt x="21" y="21"/>
                  </a:cubicBezTo>
                  <a:cubicBezTo>
                    <a:pt x="14" y="25"/>
                    <a:pt x="10" y="24"/>
                    <a:pt x="2" y="23"/>
                  </a:cubicBezTo>
                  <a:cubicBezTo>
                    <a:pt x="0" y="14"/>
                    <a:pt x="0" y="18"/>
                    <a:pt x="0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5" name="Freeform 25"/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036085" y="3153644"/>
              <a:ext cx="489192" cy="194369"/>
            </a:xfrm>
            <a:custGeom>
              <a:avLst/>
              <a:gdLst>
                <a:gd name="T0" fmla="*/ 61 w 297"/>
                <a:gd name="T1" fmla="*/ 24 h 120"/>
                <a:gd name="T2" fmla="*/ 44 w 297"/>
                <a:gd name="T3" fmla="*/ 9 h 120"/>
                <a:gd name="T4" fmla="*/ 29 w 297"/>
                <a:gd name="T5" fmla="*/ 0 h 120"/>
                <a:gd name="T6" fmla="*/ 19 w 297"/>
                <a:gd name="T7" fmla="*/ 10 h 120"/>
                <a:gd name="T8" fmla="*/ 2 w 297"/>
                <a:gd name="T9" fmla="*/ 42 h 120"/>
                <a:gd name="T10" fmla="*/ 5 w 297"/>
                <a:gd name="T11" fmla="*/ 64 h 120"/>
                <a:gd name="T12" fmla="*/ 20 w 297"/>
                <a:gd name="T13" fmla="*/ 63 h 120"/>
                <a:gd name="T14" fmla="*/ 22 w 297"/>
                <a:gd name="T15" fmla="*/ 85 h 120"/>
                <a:gd name="T16" fmla="*/ 53 w 297"/>
                <a:gd name="T17" fmla="*/ 115 h 120"/>
                <a:gd name="T18" fmla="*/ 68 w 297"/>
                <a:gd name="T19" fmla="*/ 120 h 120"/>
                <a:gd name="T20" fmla="*/ 82 w 297"/>
                <a:gd name="T21" fmla="*/ 109 h 120"/>
                <a:gd name="T22" fmla="*/ 109 w 297"/>
                <a:gd name="T23" fmla="*/ 115 h 120"/>
                <a:gd name="T24" fmla="*/ 133 w 297"/>
                <a:gd name="T25" fmla="*/ 111 h 120"/>
                <a:gd name="T26" fmla="*/ 167 w 297"/>
                <a:gd name="T27" fmla="*/ 114 h 120"/>
                <a:gd name="T28" fmla="*/ 182 w 297"/>
                <a:gd name="T29" fmla="*/ 114 h 120"/>
                <a:gd name="T30" fmla="*/ 211 w 297"/>
                <a:gd name="T31" fmla="*/ 114 h 120"/>
                <a:gd name="T32" fmla="*/ 222 w 297"/>
                <a:gd name="T33" fmla="*/ 103 h 120"/>
                <a:gd name="T34" fmla="*/ 232 w 297"/>
                <a:gd name="T35" fmla="*/ 102 h 120"/>
                <a:gd name="T36" fmla="*/ 248 w 297"/>
                <a:gd name="T37" fmla="*/ 103 h 120"/>
                <a:gd name="T38" fmla="*/ 269 w 297"/>
                <a:gd name="T39" fmla="*/ 108 h 120"/>
                <a:gd name="T40" fmla="*/ 272 w 297"/>
                <a:gd name="T41" fmla="*/ 103 h 120"/>
                <a:gd name="T42" fmla="*/ 284 w 297"/>
                <a:gd name="T43" fmla="*/ 105 h 120"/>
                <a:gd name="T44" fmla="*/ 274 w 297"/>
                <a:gd name="T45" fmla="*/ 45 h 120"/>
                <a:gd name="T46" fmla="*/ 262 w 297"/>
                <a:gd name="T47" fmla="*/ 21 h 120"/>
                <a:gd name="T48" fmla="*/ 230 w 297"/>
                <a:gd name="T49" fmla="*/ 28 h 120"/>
                <a:gd name="T50" fmla="*/ 193 w 297"/>
                <a:gd name="T51" fmla="*/ 30 h 120"/>
                <a:gd name="T52" fmla="*/ 164 w 297"/>
                <a:gd name="T53" fmla="*/ 15 h 120"/>
                <a:gd name="T54" fmla="*/ 146 w 297"/>
                <a:gd name="T55" fmla="*/ 6 h 120"/>
                <a:gd name="T56" fmla="*/ 98 w 297"/>
                <a:gd name="T57" fmla="*/ 15 h 120"/>
                <a:gd name="T58" fmla="*/ 86 w 297"/>
                <a:gd name="T59" fmla="*/ 22 h 120"/>
                <a:gd name="T60" fmla="*/ 61 w 297"/>
                <a:gd name="T61" fmla="*/ 24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97" h="120">
                  <a:moveTo>
                    <a:pt x="61" y="24"/>
                  </a:moveTo>
                  <a:cubicBezTo>
                    <a:pt x="46" y="21"/>
                    <a:pt x="50" y="20"/>
                    <a:pt x="44" y="9"/>
                  </a:cubicBezTo>
                  <a:cubicBezTo>
                    <a:pt x="39" y="5"/>
                    <a:pt x="33" y="0"/>
                    <a:pt x="29" y="0"/>
                  </a:cubicBezTo>
                  <a:cubicBezTo>
                    <a:pt x="25" y="0"/>
                    <a:pt x="23" y="3"/>
                    <a:pt x="19" y="10"/>
                  </a:cubicBezTo>
                  <a:cubicBezTo>
                    <a:pt x="22" y="30"/>
                    <a:pt x="17" y="33"/>
                    <a:pt x="2" y="42"/>
                  </a:cubicBezTo>
                  <a:cubicBezTo>
                    <a:pt x="1" y="50"/>
                    <a:pt x="0" y="57"/>
                    <a:pt x="5" y="64"/>
                  </a:cubicBezTo>
                  <a:cubicBezTo>
                    <a:pt x="12" y="63"/>
                    <a:pt x="14" y="59"/>
                    <a:pt x="20" y="63"/>
                  </a:cubicBezTo>
                  <a:cubicBezTo>
                    <a:pt x="19" y="71"/>
                    <a:pt x="11" y="83"/>
                    <a:pt x="22" y="85"/>
                  </a:cubicBezTo>
                  <a:cubicBezTo>
                    <a:pt x="27" y="108"/>
                    <a:pt x="27" y="113"/>
                    <a:pt x="53" y="115"/>
                  </a:cubicBezTo>
                  <a:cubicBezTo>
                    <a:pt x="58" y="117"/>
                    <a:pt x="63" y="118"/>
                    <a:pt x="68" y="120"/>
                  </a:cubicBezTo>
                  <a:cubicBezTo>
                    <a:pt x="74" y="117"/>
                    <a:pt x="77" y="114"/>
                    <a:pt x="82" y="109"/>
                  </a:cubicBezTo>
                  <a:cubicBezTo>
                    <a:pt x="90" y="113"/>
                    <a:pt x="109" y="115"/>
                    <a:pt x="109" y="115"/>
                  </a:cubicBezTo>
                  <a:cubicBezTo>
                    <a:pt x="118" y="114"/>
                    <a:pt x="124" y="112"/>
                    <a:pt x="133" y="111"/>
                  </a:cubicBezTo>
                  <a:cubicBezTo>
                    <a:pt x="143" y="110"/>
                    <a:pt x="159" y="114"/>
                    <a:pt x="167" y="114"/>
                  </a:cubicBezTo>
                  <a:cubicBezTo>
                    <a:pt x="175" y="114"/>
                    <a:pt x="175" y="114"/>
                    <a:pt x="182" y="114"/>
                  </a:cubicBezTo>
                  <a:cubicBezTo>
                    <a:pt x="189" y="114"/>
                    <a:pt x="204" y="116"/>
                    <a:pt x="211" y="114"/>
                  </a:cubicBezTo>
                  <a:cubicBezTo>
                    <a:pt x="218" y="112"/>
                    <a:pt x="219" y="105"/>
                    <a:pt x="222" y="103"/>
                  </a:cubicBezTo>
                  <a:cubicBezTo>
                    <a:pt x="225" y="101"/>
                    <a:pt x="228" y="102"/>
                    <a:pt x="232" y="102"/>
                  </a:cubicBezTo>
                  <a:cubicBezTo>
                    <a:pt x="236" y="102"/>
                    <a:pt x="242" y="102"/>
                    <a:pt x="248" y="103"/>
                  </a:cubicBezTo>
                  <a:cubicBezTo>
                    <a:pt x="254" y="104"/>
                    <a:pt x="265" y="108"/>
                    <a:pt x="269" y="108"/>
                  </a:cubicBezTo>
                  <a:cubicBezTo>
                    <a:pt x="273" y="108"/>
                    <a:pt x="270" y="103"/>
                    <a:pt x="272" y="103"/>
                  </a:cubicBezTo>
                  <a:cubicBezTo>
                    <a:pt x="274" y="103"/>
                    <a:pt x="284" y="115"/>
                    <a:pt x="284" y="105"/>
                  </a:cubicBezTo>
                  <a:cubicBezTo>
                    <a:pt x="297" y="84"/>
                    <a:pt x="292" y="59"/>
                    <a:pt x="274" y="45"/>
                  </a:cubicBezTo>
                  <a:cubicBezTo>
                    <a:pt x="268" y="29"/>
                    <a:pt x="274" y="33"/>
                    <a:pt x="262" y="21"/>
                  </a:cubicBezTo>
                  <a:cubicBezTo>
                    <a:pt x="246" y="22"/>
                    <a:pt x="243" y="25"/>
                    <a:pt x="230" y="28"/>
                  </a:cubicBezTo>
                  <a:cubicBezTo>
                    <a:pt x="218" y="34"/>
                    <a:pt x="208" y="31"/>
                    <a:pt x="193" y="30"/>
                  </a:cubicBezTo>
                  <a:cubicBezTo>
                    <a:pt x="183" y="26"/>
                    <a:pt x="175" y="17"/>
                    <a:pt x="164" y="15"/>
                  </a:cubicBezTo>
                  <a:cubicBezTo>
                    <a:pt x="158" y="11"/>
                    <a:pt x="153" y="7"/>
                    <a:pt x="146" y="6"/>
                  </a:cubicBezTo>
                  <a:cubicBezTo>
                    <a:pt x="117" y="7"/>
                    <a:pt x="116" y="4"/>
                    <a:pt x="98" y="15"/>
                  </a:cubicBezTo>
                  <a:cubicBezTo>
                    <a:pt x="94" y="20"/>
                    <a:pt x="92" y="21"/>
                    <a:pt x="86" y="22"/>
                  </a:cubicBezTo>
                  <a:cubicBezTo>
                    <a:pt x="76" y="27"/>
                    <a:pt x="83" y="24"/>
                    <a:pt x="61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6" name="Freeform 26"/>
            <p:cNvSpPr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4718597" y="4156266"/>
              <a:ext cx="458415" cy="424373"/>
            </a:xfrm>
            <a:custGeom>
              <a:avLst/>
              <a:gdLst>
                <a:gd name="T0" fmla="*/ 8 w 278"/>
                <a:gd name="T1" fmla="*/ 170 h 262"/>
                <a:gd name="T2" fmla="*/ 0 w 278"/>
                <a:gd name="T3" fmla="*/ 156 h 262"/>
                <a:gd name="T4" fmla="*/ 15 w 278"/>
                <a:gd name="T5" fmla="*/ 141 h 262"/>
                <a:gd name="T6" fmla="*/ 33 w 278"/>
                <a:gd name="T7" fmla="*/ 141 h 262"/>
                <a:gd name="T8" fmla="*/ 53 w 278"/>
                <a:gd name="T9" fmla="*/ 135 h 262"/>
                <a:gd name="T10" fmla="*/ 68 w 278"/>
                <a:gd name="T11" fmla="*/ 107 h 262"/>
                <a:gd name="T12" fmla="*/ 84 w 278"/>
                <a:gd name="T13" fmla="*/ 90 h 262"/>
                <a:gd name="T14" fmla="*/ 84 w 278"/>
                <a:gd name="T15" fmla="*/ 72 h 262"/>
                <a:gd name="T16" fmla="*/ 92 w 278"/>
                <a:gd name="T17" fmla="*/ 53 h 262"/>
                <a:gd name="T18" fmla="*/ 98 w 278"/>
                <a:gd name="T19" fmla="*/ 18 h 262"/>
                <a:gd name="T20" fmla="*/ 108 w 278"/>
                <a:gd name="T21" fmla="*/ 0 h 262"/>
                <a:gd name="T22" fmla="*/ 144 w 278"/>
                <a:gd name="T23" fmla="*/ 14 h 262"/>
                <a:gd name="T24" fmla="*/ 158 w 278"/>
                <a:gd name="T25" fmla="*/ 12 h 262"/>
                <a:gd name="T26" fmla="*/ 188 w 278"/>
                <a:gd name="T27" fmla="*/ 5 h 262"/>
                <a:gd name="T28" fmla="*/ 209 w 278"/>
                <a:gd name="T29" fmla="*/ 0 h 262"/>
                <a:gd name="T30" fmla="*/ 233 w 278"/>
                <a:gd name="T31" fmla="*/ 6 h 262"/>
                <a:gd name="T32" fmla="*/ 261 w 278"/>
                <a:gd name="T33" fmla="*/ 12 h 262"/>
                <a:gd name="T34" fmla="*/ 272 w 278"/>
                <a:gd name="T35" fmla="*/ 24 h 262"/>
                <a:gd name="T36" fmla="*/ 278 w 278"/>
                <a:gd name="T37" fmla="*/ 39 h 262"/>
                <a:gd name="T38" fmla="*/ 264 w 278"/>
                <a:gd name="T39" fmla="*/ 65 h 262"/>
                <a:gd name="T40" fmla="*/ 258 w 278"/>
                <a:gd name="T41" fmla="*/ 90 h 262"/>
                <a:gd name="T42" fmla="*/ 249 w 278"/>
                <a:gd name="T43" fmla="*/ 110 h 262"/>
                <a:gd name="T44" fmla="*/ 257 w 278"/>
                <a:gd name="T45" fmla="*/ 171 h 262"/>
                <a:gd name="T46" fmla="*/ 272 w 278"/>
                <a:gd name="T47" fmla="*/ 182 h 262"/>
                <a:gd name="T48" fmla="*/ 243 w 278"/>
                <a:gd name="T49" fmla="*/ 204 h 262"/>
                <a:gd name="T50" fmla="*/ 237 w 278"/>
                <a:gd name="T51" fmla="*/ 255 h 262"/>
                <a:gd name="T52" fmla="*/ 219 w 278"/>
                <a:gd name="T53" fmla="*/ 249 h 262"/>
                <a:gd name="T54" fmla="*/ 197 w 278"/>
                <a:gd name="T55" fmla="*/ 245 h 262"/>
                <a:gd name="T56" fmla="*/ 169 w 278"/>
                <a:gd name="T57" fmla="*/ 240 h 262"/>
                <a:gd name="T58" fmla="*/ 150 w 278"/>
                <a:gd name="T59" fmla="*/ 236 h 262"/>
                <a:gd name="T60" fmla="*/ 146 w 278"/>
                <a:gd name="T61" fmla="*/ 227 h 262"/>
                <a:gd name="T62" fmla="*/ 148 w 278"/>
                <a:gd name="T63" fmla="*/ 209 h 262"/>
                <a:gd name="T64" fmla="*/ 141 w 278"/>
                <a:gd name="T65" fmla="*/ 195 h 262"/>
                <a:gd name="T66" fmla="*/ 128 w 278"/>
                <a:gd name="T67" fmla="*/ 186 h 262"/>
                <a:gd name="T68" fmla="*/ 109 w 278"/>
                <a:gd name="T69" fmla="*/ 189 h 262"/>
                <a:gd name="T70" fmla="*/ 90 w 278"/>
                <a:gd name="T71" fmla="*/ 194 h 262"/>
                <a:gd name="T72" fmla="*/ 68 w 278"/>
                <a:gd name="T73" fmla="*/ 176 h 262"/>
                <a:gd name="T74" fmla="*/ 63 w 278"/>
                <a:gd name="T75" fmla="*/ 165 h 262"/>
                <a:gd name="T76" fmla="*/ 44 w 278"/>
                <a:gd name="T77" fmla="*/ 164 h 262"/>
                <a:gd name="T78" fmla="*/ 8 w 278"/>
                <a:gd name="T79" fmla="*/ 170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78" h="262">
                  <a:moveTo>
                    <a:pt x="8" y="170"/>
                  </a:moveTo>
                  <a:cubicBezTo>
                    <a:pt x="5" y="163"/>
                    <a:pt x="7" y="160"/>
                    <a:pt x="0" y="156"/>
                  </a:cubicBezTo>
                  <a:cubicBezTo>
                    <a:pt x="1" y="151"/>
                    <a:pt x="10" y="143"/>
                    <a:pt x="15" y="141"/>
                  </a:cubicBezTo>
                  <a:cubicBezTo>
                    <a:pt x="20" y="139"/>
                    <a:pt x="27" y="142"/>
                    <a:pt x="33" y="141"/>
                  </a:cubicBezTo>
                  <a:cubicBezTo>
                    <a:pt x="39" y="137"/>
                    <a:pt x="46" y="137"/>
                    <a:pt x="53" y="135"/>
                  </a:cubicBezTo>
                  <a:cubicBezTo>
                    <a:pt x="62" y="128"/>
                    <a:pt x="52" y="117"/>
                    <a:pt x="68" y="107"/>
                  </a:cubicBezTo>
                  <a:cubicBezTo>
                    <a:pt x="77" y="92"/>
                    <a:pt x="66" y="95"/>
                    <a:pt x="84" y="90"/>
                  </a:cubicBezTo>
                  <a:cubicBezTo>
                    <a:pt x="89" y="84"/>
                    <a:pt x="87" y="79"/>
                    <a:pt x="84" y="72"/>
                  </a:cubicBezTo>
                  <a:cubicBezTo>
                    <a:pt x="86" y="57"/>
                    <a:pt x="87" y="63"/>
                    <a:pt x="92" y="53"/>
                  </a:cubicBezTo>
                  <a:cubicBezTo>
                    <a:pt x="87" y="40"/>
                    <a:pt x="91" y="30"/>
                    <a:pt x="98" y="18"/>
                  </a:cubicBezTo>
                  <a:cubicBezTo>
                    <a:pt x="99" y="10"/>
                    <a:pt x="100" y="4"/>
                    <a:pt x="108" y="0"/>
                  </a:cubicBezTo>
                  <a:cubicBezTo>
                    <a:pt x="122" y="2"/>
                    <a:pt x="130" y="13"/>
                    <a:pt x="144" y="14"/>
                  </a:cubicBezTo>
                  <a:cubicBezTo>
                    <a:pt x="151" y="18"/>
                    <a:pt x="149" y="15"/>
                    <a:pt x="158" y="12"/>
                  </a:cubicBezTo>
                  <a:cubicBezTo>
                    <a:pt x="169" y="4"/>
                    <a:pt x="170" y="6"/>
                    <a:pt x="188" y="5"/>
                  </a:cubicBezTo>
                  <a:cubicBezTo>
                    <a:pt x="196" y="3"/>
                    <a:pt x="202" y="0"/>
                    <a:pt x="209" y="0"/>
                  </a:cubicBezTo>
                  <a:cubicBezTo>
                    <a:pt x="216" y="0"/>
                    <a:pt x="224" y="4"/>
                    <a:pt x="233" y="6"/>
                  </a:cubicBezTo>
                  <a:cubicBezTo>
                    <a:pt x="245" y="12"/>
                    <a:pt x="243" y="11"/>
                    <a:pt x="261" y="12"/>
                  </a:cubicBezTo>
                  <a:cubicBezTo>
                    <a:pt x="267" y="15"/>
                    <a:pt x="268" y="19"/>
                    <a:pt x="272" y="24"/>
                  </a:cubicBezTo>
                  <a:cubicBezTo>
                    <a:pt x="273" y="30"/>
                    <a:pt x="274" y="34"/>
                    <a:pt x="278" y="39"/>
                  </a:cubicBezTo>
                  <a:cubicBezTo>
                    <a:pt x="276" y="50"/>
                    <a:pt x="269" y="57"/>
                    <a:pt x="264" y="65"/>
                  </a:cubicBezTo>
                  <a:cubicBezTo>
                    <a:pt x="262" y="75"/>
                    <a:pt x="267" y="89"/>
                    <a:pt x="258" y="90"/>
                  </a:cubicBezTo>
                  <a:cubicBezTo>
                    <a:pt x="257" y="102"/>
                    <a:pt x="259" y="106"/>
                    <a:pt x="249" y="110"/>
                  </a:cubicBezTo>
                  <a:cubicBezTo>
                    <a:pt x="251" y="130"/>
                    <a:pt x="248" y="153"/>
                    <a:pt x="257" y="171"/>
                  </a:cubicBezTo>
                  <a:cubicBezTo>
                    <a:pt x="258" y="177"/>
                    <a:pt x="266" y="179"/>
                    <a:pt x="272" y="182"/>
                  </a:cubicBezTo>
                  <a:cubicBezTo>
                    <a:pt x="276" y="206"/>
                    <a:pt x="263" y="202"/>
                    <a:pt x="243" y="204"/>
                  </a:cubicBezTo>
                  <a:cubicBezTo>
                    <a:pt x="236" y="216"/>
                    <a:pt x="245" y="248"/>
                    <a:pt x="237" y="255"/>
                  </a:cubicBezTo>
                  <a:cubicBezTo>
                    <a:pt x="233" y="262"/>
                    <a:pt x="226" y="251"/>
                    <a:pt x="219" y="249"/>
                  </a:cubicBezTo>
                  <a:cubicBezTo>
                    <a:pt x="212" y="247"/>
                    <a:pt x="205" y="247"/>
                    <a:pt x="197" y="245"/>
                  </a:cubicBezTo>
                  <a:cubicBezTo>
                    <a:pt x="189" y="243"/>
                    <a:pt x="177" y="242"/>
                    <a:pt x="169" y="240"/>
                  </a:cubicBezTo>
                  <a:cubicBezTo>
                    <a:pt x="162" y="238"/>
                    <a:pt x="154" y="238"/>
                    <a:pt x="150" y="236"/>
                  </a:cubicBezTo>
                  <a:cubicBezTo>
                    <a:pt x="146" y="234"/>
                    <a:pt x="146" y="231"/>
                    <a:pt x="146" y="227"/>
                  </a:cubicBezTo>
                  <a:cubicBezTo>
                    <a:pt x="142" y="222"/>
                    <a:pt x="149" y="214"/>
                    <a:pt x="148" y="209"/>
                  </a:cubicBezTo>
                  <a:cubicBezTo>
                    <a:pt x="147" y="204"/>
                    <a:pt x="144" y="199"/>
                    <a:pt x="141" y="195"/>
                  </a:cubicBezTo>
                  <a:cubicBezTo>
                    <a:pt x="136" y="193"/>
                    <a:pt x="140" y="191"/>
                    <a:pt x="128" y="186"/>
                  </a:cubicBezTo>
                  <a:cubicBezTo>
                    <a:pt x="123" y="185"/>
                    <a:pt x="115" y="188"/>
                    <a:pt x="109" y="189"/>
                  </a:cubicBezTo>
                  <a:cubicBezTo>
                    <a:pt x="103" y="190"/>
                    <a:pt x="97" y="196"/>
                    <a:pt x="90" y="194"/>
                  </a:cubicBezTo>
                  <a:cubicBezTo>
                    <a:pt x="75" y="192"/>
                    <a:pt x="74" y="187"/>
                    <a:pt x="68" y="176"/>
                  </a:cubicBezTo>
                  <a:cubicBezTo>
                    <a:pt x="63" y="172"/>
                    <a:pt x="67" y="167"/>
                    <a:pt x="63" y="165"/>
                  </a:cubicBezTo>
                  <a:cubicBezTo>
                    <a:pt x="59" y="163"/>
                    <a:pt x="53" y="163"/>
                    <a:pt x="44" y="164"/>
                  </a:cubicBezTo>
                  <a:cubicBezTo>
                    <a:pt x="35" y="165"/>
                    <a:pt x="15" y="169"/>
                    <a:pt x="8" y="17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7" name="Freeform 27"/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5245045" y="4164365"/>
              <a:ext cx="186282" cy="223525"/>
            </a:xfrm>
            <a:custGeom>
              <a:avLst/>
              <a:gdLst>
                <a:gd name="T0" fmla="*/ 3 w 113"/>
                <a:gd name="T1" fmla="*/ 88 h 138"/>
                <a:gd name="T2" fmla="*/ 24 w 113"/>
                <a:gd name="T3" fmla="*/ 94 h 138"/>
                <a:gd name="T4" fmla="*/ 37 w 113"/>
                <a:gd name="T5" fmla="*/ 99 h 138"/>
                <a:gd name="T6" fmla="*/ 51 w 113"/>
                <a:gd name="T7" fmla="*/ 117 h 138"/>
                <a:gd name="T8" fmla="*/ 81 w 113"/>
                <a:gd name="T9" fmla="*/ 138 h 138"/>
                <a:gd name="T10" fmla="*/ 99 w 113"/>
                <a:gd name="T11" fmla="*/ 114 h 138"/>
                <a:gd name="T12" fmla="*/ 105 w 113"/>
                <a:gd name="T13" fmla="*/ 99 h 138"/>
                <a:gd name="T14" fmla="*/ 105 w 113"/>
                <a:gd name="T15" fmla="*/ 72 h 138"/>
                <a:gd name="T16" fmla="*/ 105 w 113"/>
                <a:gd name="T17" fmla="*/ 27 h 138"/>
                <a:gd name="T18" fmla="*/ 106 w 113"/>
                <a:gd name="T19" fmla="*/ 15 h 138"/>
                <a:gd name="T20" fmla="*/ 60 w 113"/>
                <a:gd name="T21" fmla="*/ 16 h 138"/>
                <a:gd name="T22" fmla="*/ 34 w 113"/>
                <a:gd name="T23" fmla="*/ 6 h 138"/>
                <a:gd name="T24" fmla="*/ 12 w 113"/>
                <a:gd name="T25" fmla="*/ 3 h 138"/>
                <a:gd name="T26" fmla="*/ 13 w 113"/>
                <a:gd name="T27" fmla="*/ 27 h 138"/>
                <a:gd name="T28" fmla="*/ 18 w 113"/>
                <a:gd name="T29" fmla="*/ 52 h 138"/>
                <a:gd name="T30" fmla="*/ 3 w 113"/>
                <a:gd name="T31" fmla="*/ 66 h 138"/>
                <a:gd name="T32" fmla="*/ 3 w 113"/>
                <a:gd name="T33" fmla="*/ 8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3" h="138">
                  <a:moveTo>
                    <a:pt x="3" y="88"/>
                  </a:moveTo>
                  <a:cubicBezTo>
                    <a:pt x="10" y="90"/>
                    <a:pt x="17" y="93"/>
                    <a:pt x="24" y="94"/>
                  </a:cubicBezTo>
                  <a:cubicBezTo>
                    <a:pt x="28" y="96"/>
                    <a:pt x="33" y="97"/>
                    <a:pt x="37" y="99"/>
                  </a:cubicBezTo>
                  <a:cubicBezTo>
                    <a:pt x="40" y="106"/>
                    <a:pt x="44" y="115"/>
                    <a:pt x="51" y="117"/>
                  </a:cubicBezTo>
                  <a:cubicBezTo>
                    <a:pt x="58" y="123"/>
                    <a:pt x="73" y="138"/>
                    <a:pt x="81" y="138"/>
                  </a:cubicBezTo>
                  <a:cubicBezTo>
                    <a:pt x="91" y="135"/>
                    <a:pt x="87" y="116"/>
                    <a:pt x="99" y="114"/>
                  </a:cubicBezTo>
                  <a:cubicBezTo>
                    <a:pt x="100" y="108"/>
                    <a:pt x="101" y="104"/>
                    <a:pt x="105" y="99"/>
                  </a:cubicBezTo>
                  <a:cubicBezTo>
                    <a:pt x="106" y="90"/>
                    <a:pt x="104" y="81"/>
                    <a:pt x="105" y="72"/>
                  </a:cubicBezTo>
                  <a:cubicBezTo>
                    <a:pt x="107" y="60"/>
                    <a:pt x="105" y="36"/>
                    <a:pt x="105" y="27"/>
                  </a:cubicBezTo>
                  <a:cubicBezTo>
                    <a:pt x="105" y="18"/>
                    <a:pt x="113" y="17"/>
                    <a:pt x="106" y="15"/>
                  </a:cubicBezTo>
                  <a:cubicBezTo>
                    <a:pt x="94" y="16"/>
                    <a:pt x="72" y="17"/>
                    <a:pt x="60" y="16"/>
                  </a:cubicBezTo>
                  <a:cubicBezTo>
                    <a:pt x="49" y="7"/>
                    <a:pt x="49" y="7"/>
                    <a:pt x="34" y="6"/>
                  </a:cubicBezTo>
                  <a:cubicBezTo>
                    <a:pt x="28" y="5"/>
                    <a:pt x="15" y="0"/>
                    <a:pt x="12" y="3"/>
                  </a:cubicBezTo>
                  <a:cubicBezTo>
                    <a:pt x="9" y="6"/>
                    <a:pt x="12" y="19"/>
                    <a:pt x="13" y="27"/>
                  </a:cubicBezTo>
                  <a:cubicBezTo>
                    <a:pt x="14" y="34"/>
                    <a:pt x="20" y="46"/>
                    <a:pt x="18" y="52"/>
                  </a:cubicBezTo>
                  <a:cubicBezTo>
                    <a:pt x="16" y="58"/>
                    <a:pt x="5" y="60"/>
                    <a:pt x="3" y="66"/>
                  </a:cubicBezTo>
                  <a:cubicBezTo>
                    <a:pt x="0" y="75"/>
                    <a:pt x="3" y="78"/>
                    <a:pt x="3" y="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8" name="Freeform 28"/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4946994" y="4480215"/>
              <a:ext cx="298051" cy="238103"/>
            </a:xfrm>
            <a:custGeom>
              <a:avLst/>
              <a:gdLst>
                <a:gd name="T0" fmla="*/ 61 w 181"/>
                <a:gd name="T1" fmla="*/ 46 h 147"/>
                <a:gd name="T2" fmla="*/ 80 w 181"/>
                <a:gd name="T3" fmla="*/ 51 h 147"/>
                <a:gd name="T4" fmla="*/ 95 w 181"/>
                <a:gd name="T5" fmla="*/ 55 h 147"/>
                <a:gd name="T6" fmla="*/ 110 w 181"/>
                <a:gd name="T7" fmla="*/ 67 h 147"/>
                <a:gd name="T8" fmla="*/ 103 w 181"/>
                <a:gd name="T9" fmla="*/ 57 h 147"/>
                <a:gd name="T10" fmla="*/ 100 w 181"/>
                <a:gd name="T11" fmla="*/ 37 h 147"/>
                <a:gd name="T12" fmla="*/ 103 w 181"/>
                <a:gd name="T13" fmla="*/ 10 h 147"/>
                <a:gd name="T14" fmla="*/ 113 w 181"/>
                <a:gd name="T15" fmla="*/ 0 h 147"/>
                <a:gd name="T16" fmla="*/ 139 w 181"/>
                <a:gd name="T17" fmla="*/ 4 h 147"/>
                <a:gd name="T18" fmla="*/ 172 w 181"/>
                <a:gd name="T19" fmla="*/ 15 h 147"/>
                <a:gd name="T20" fmla="*/ 169 w 181"/>
                <a:gd name="T21" fmla="*/ 66 h 147"/>
                <a:gd name="T22" fmla="*/ 152 w 181"/>
                <a:gd name="T23" fmla="*/ 94 h 147"/>
                <a:gd name="T24" fmla="*/ 137 w 181"/>
                <a:gd name="T25" fmla="*/ 100 h 147"/>
                <a:gd name="T26" fmla="*/ 107 w 181"/>
                <a:gd name="T27" fmla="*/ 114 h 147"/>
                <a:gd name="T28" fmla="*/ 88 w 181"/>
                <a:gd name="T29" fmla="*/ 127 h 147"/>
                <a:gd name="T30" fmla="*/ 80 w 181"/>
                <a:gd name="T31" fmla="*/ 142 h 147"/>
                <a:gd name="T32" fmla="*/ 52 w 181"/>
                <a:gd name="T33" fmla="*/ 147 h 147"/>
                <a:gd name="T34" fmla="*/ 17 w 181"/>
                <a:gd name="T35" fmla="*/ 141 h 147"/>
                <a:gd name="T36" fmla="*/ 8 w 181"/>
                <a:gd name="T37" fmla="*/ 129 h 147"/>
                <a:gd name="T38" fmla="*/ 4 w 181"/>
                <a:gd name="T39" fmla="*/ 112 h 147"/>
                <a:gd name="T40" fmla="*/ 4 w 181"/>
                <a:gd name="T41" fmla="*/ 91 h 147"/>
                <a:gd name="T42" fmla="*/ 7 w 181"/>
                <a:gd name="T43" fmla="*/ 70 h 147"/>
                <a:gd name="T44" fmla="*/ 29 w 181"/>
                <a:gd name="T45" fmla="*/ 66 h 147"/>
                <a:gd name="T46" fmla="*/ 40 w 181"/>
                <a:gd name="T47" fmla="*/ 55 h 147"/>
                <a:gd name="T48" fmla="*/ 38 w 181"/>
                <a:gd name="T49" fmla="*/ 43 h 147"/>
                <a:gd name="T50" fmla="*/ 35 w 181"/>
                <a:gd name="T51" fmla="*/ 42 h 147"/>
                <a:gd name="T52" fmla="*/ 61 w 181"/>
                <a:gd name="T53" fmla="*/ 46 h 1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1" h="147">
                  <a:moveTo>
                    <a:pt x="61" y="46"/>
                  </a:moveTo>
                  <a:cubicBezTo>
                    <a:pt x="68" y="48"/>
                    <a:pt x="74" y="50"/>
                    <a:pt x="80" y="51"/>
                  </a:cubicBezTo>
                  <a:cubicBezTo>
                    <a:pt x="85" y="52"/>
                    <a:pt x="90" y="54"/>
                    <a:pt x="95" y="55"/>
                  </a:cubicBezTo>
                  <a:cubicBezTo>
                    <a:pt x="100" y="58"/>
                    <a:pt x="109" y="67"/>
                    <a:pt x="110" y="67"/>
                  </a:cubicBezTo>
                  <a:cubicBezTo>
                    <a:pt x="107" y="64"/>
                    <a:pt x="105" y="62"/>
                    <a:pt x="103" y="57"/>
                  </a:cubicBezTo>
                  <a:cubicBezTo>
                    <a:pt x="101" y="52"/>
                    <a:pt x="100" y="45"/>
                    <a:pt x="100" y="37"/>
                  </a:cubicBezTo>
                  <a:cubicBezTo>
                    <a:pt x="100" y="29"/>
                    <a:pt x="101" y="16"/>
                    <a:pt x="103" y="10"/>
                  </a:cubicBezTo>
                  <a:cubicBezTo>
                    <a:pt x="106" y="6"/>
                    <a:pt x="110" y="4"/>
                    <a:pt x="113" y="0"/>
                  </a:cubicBezTo>
                  <a:cubicBezTo>
                    <a:pt x="127" y="1"/>
                    <a:pt x="128" y="2"/>
                    <a:pt x="139" y="4"/>
                  </a:cubicBezTo>
                  <a:cubicBezTo>
                    <a:pt x="151" y="16"/>
                    <a:pt x="149" y="13"/>
                    <a:pt x="172" y="15"/>
                  </a:cubicBezTo>
                  <a:cubicBezTo>
                    <a:pt x="173" y="28"/>
                    <a:pt x="181" y="57"/>
                    <a:pt x="169" y="66"/>
                  </a:cubicBezTo>
                  <a:cubicBezTo>
                    <a:pt x="167" y="84"/>
                    <a:pt x="169" y="91"/>
                    <a:pt x="152" y="94"/>
                  </a:cubicBezTo>
                  <a:cubicBezTo>
                    <a:pt x="147" y="97"/>
                    <a:pt x="143" y="99"/>
                    <a:pt x="137" y="100"/>
                  </a:cubicBezTo>
                  <a:cubicBezTo>
                    <a:pt x="127" y="105"/>
                    <a:pt x="117" y="109"/>
                    <a:pt x="107" y="114"/>
                  </a:cubicBezTo>
                  <a:cubicBezTo>
                    <a:pt x="100" y="123"/>
                    <a:pt x="100" y="126"/>
                    <a:pt x="88" y="127"/>
                  </a:cubicBezTo>
                  <a:cubicBezTo>
                    <a:pt x="85" y="134"/>
                    <a:pt x="89" y="140"/>
                    <a:pt x="80" y="142"/>
                  </a:cubicBezTo>
                  <a:cubicBezTo>
                    <a:pt x="71" y="146"/>
                    <a:pt x="61" y="143"/>
                    <a:pt x="52" y="147"/>
                  </a:cubicBezTo>
                  <a:cubicBezTo>
                    <a:pt x="40" y="145"/>
                    <a:pt x="27" y="147"/>
                    <a:pt x="17" y="141"/>
                  </a:cubicBezTo>
                  <a:cubicBezTo>
                    <a:pt x="14" y="136"/>
                    <a:pt x="10" y="134"/>
                    <a:pt x="8" y="129"/>
                  </a:cubicBezTo>
                  <a:cubicBezTo>
                    <a:pt x="7" y="123"/>
                    <a:pt x="5" y="118"/>
                    <a:pt x="4" y="112"/>
                  </a:cubicBezTo>
                  <a:cubicBezTo>
                    <a:pt x="3" y="106"/>
                    <a:pt x="0" y="99"/>
                    <a:pt x="4" y="91"/>
                  </a:cubicBezTo>
                  <a:cubicBezTo>
                    <a:pt x="5" y="84"/>
                    <a:pt x="3" y="74"/>
                    <a:pt x="7" y="70"/>
                  </a:cubicBezTo>
                  <a:cubicBezTo>
                    <a:pt x="11" y="66"/>
                    <a:pt x="24" y="68"/>
                    <a:pt x="29" y="66"/>
                  </a:cubicBezTo>
                  <a:cubicBezTo>
                    <a:pt x="33" y="63"/>
                    <a:pt x="39" y="59"/>
                    <a:pt x="40" y="55"/>
                  </a:cubicBezTo>
                  <a:cubicBezTo>
                    <a:pt x="41" y="51"/>
                    <a:pt x="39" y="45"/>
                    <a:pt x="38" y="43"/>
                  </a:cubicBezTo>
                  <a:cubicBezTo>
                    <a:pt x="36" y="34"/>
                    <a:pt x="32" y="50"/>
                    <a:pt x="35" y="42"/>
                  </a:cubicBezTo>
                  <a:cubicBezTo>
                    <a:pt x="39" y="41"/>
                    <a:pt x="56" y="45"/>
                    <a:pt x="61" y="4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9" name="Freeform 29"/>
            <p:cNvSpPr>
              <a:spLocks/>
            </p:cNvSpPr>
            <p:nvPr>
              <p:custDataLst>
                <p:tags r:id="rId25"/>
              </p:custDataLst>
            </p:nvPr>
          </p:nvSpPr>
          <p:spPr bwMode="gray">
            <a:xfrm>
              <a:off x="5411888" y="3987812"/>
              <a:ext cx="268894" cy="332048"/>
            </a:xfrm>
            <a:custGeom>
              <a:avLst/>
              <a:gdLst>
                <a:gd name="T0" fmla="*/ 7 w 163"/>
                <a:gd name="T1" fmla="*/ 205 h 205"/>
                <a:gd name="T2" fmla="*/ 35 w 163"/>
                <a:gd name="T3" fmla="*/ 179 h 205"/>
                <a:gd name="T4" fmla="*/ 55 w 163"/>
                <a:gd name="T5" fmla="*/ 161 h 205"/>
                <a:gd name="T6" fmla="*/ 75 w 163"/>
                <a:gd name="T7" fmla="*/ 145 h 205"/>
                <a:gd name="T8" fmla="*/ 87 w 163"/>
                <a:gd name="T9" fmla="*/ 137 h 205"/>
                <a:gd name="T10" fmla="*/ 119 w 163"/>
                <a:gd name="T11" fmla="*/ 97 h 205"/>
                <a:gd name="T12" fmla="*/ 127 w 163"/>
                <a:gd name="T13" fmla="*/ 73 h 205"/>
                <a:gd name="T14" fmla="*/ 147 w 163"/>
                <a:gd name="T15" fmla="*/ 43 h 205"/>
                <a:gd name="T16" fmla="*/ 159 w 163"/>
                <a:gd name="T17" fmla="*/ 27 h 205"/>
                <a:gd name="T18" fmla="*/ 157 w 163"/>
                <a:gd name="T19" fmla="*/ 5 h 205"/>
                <a:gd name="T20" fmla="*/ 133 w 163"/>
                <a:gd name="T21" fmla="*/ 7 h 205"/>
                <a:gd name="T22" fmla="*/ 85 w 163"/>
                <a:gd name="T23" fmla="*/ 15 h 205"/>
                <a:gd name="T24" fmla="*/ 39 w 163"/>
                <a:gd name="T25" fmla="*/ 3 h 205"/>
                <a:gd name="T26" fmla="*/ 27 w 163"/>
                <a:gd name="T27" fmla="*/ 9 h 205"/>
                <a:gd name="T28" fmla="*/ 41 w 163"/>
                <a:gd name="T29" fmla="*/ 23 h 205"/>
                <a:gd name="T30" fmla="*/ 67 w 163"/>
                <a:gd name="T31" fmla="*/ 47 h 205"/>
                <a:gd name="T32" fmla="*/ 85 w 163"/>
                <a:gd name="T33" fmla="*/ 53 h 205"/>
                <a:gd name="T34" fmla="*/ 91 w 163"/>
                <a:gd name="T35" fmla="*/ 55 h 205"/>
                <a:gd name="T36" fmla="*/ 107 w 163"/>
                <a:gd name="T37" fmla="*/ 69 h 205"/>
                <a:gd name="T38" fmla="*/ 89 w 163"/>
                <a:gd name="T39" fmla="*/ 81 h 205"/>
                <a:gd name="T40" fmla="*/ 69 w 163"/>
                <a:gd name="T41" fmla="*/ 101 h 205"/>
                <a:gd name="T42" fmla="*/ 51 w 163"/>
                <a:gd name="T43" fmla="*/ 107 h 205"/>
                <a:gd name="T44" fmla="*/ 10 w 163"/>
                <a:gd name="T45" fmla="*/ 122 h 205"/>
                <a:gd name="T46" fmla="*/ 7 w 163"/>
                <a:gd name="T47" fmla="*/ 205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3" h="205">
                  <a:moveTo>
                    <a:pt x="7" y="205"/>
                  </a:moveTo>
                  <a:cubicBezTo>
                    <a:pt x="14" y="198"/>
                    <a:pt x="27" y="182"/>
                    <a:pt x="35" y="179"/>
                  </a:cubicBezTo>
                  <a:cubicBezTo>
                    <a:pt x="40" y="172"/>
                    <a:pt x="48" y="166"/>
                    <a:pt x="55" y="161"/>
                  </a:cubicBezTo>
                  <a:cubicBezTo>
                    <a:pt x="58" y="152"/>
                    <a:pt x="67" y="150"/>
                    <a:pt x="75" y="145"/>
                  </a:cubicBezTo>
                  <a:cubicBezTo>
                    <a:pt x="79" y="142"/>
                    <a:pt x="87" y="137"/>
                    <a:pt x="87" y="137"/>
                  </a:cubicBezTo>
                  <a:cubicBezTo>
                    <a:pt x="96" y="123"/>
                    <a:pt x="109" y="112"/>
                    <a:pt x="119" y="97"/>
                  </a:cubicBezTo>
                  <a:cubicBezTo>
                    <a:pt x="124" y="90"/>
                    <a:pt x="122" y="80"/>
                    <a:pt x="127" y="73"/>
                  </a:cubicBezTo>
                  <a:cubicBezTo>
                    <a:pt x="134" y="63"/>
                    <a:pt x="138" y="52"/>
                    <a:pt x="147" y="43"/>
                  </a:cubicBezTo>
                  <a:cubicBezTo>
                    <a:pt x="150" y="35"/>
                    <a:pt x="155" y="34"/>
                    <a:pt x="159" y="27"/>
                  </a:cubicBezTo>
                  <a:cubicBezTo>
                    <a:pt x="158" y="20"/>
                    <a:pt x="163" y="9"/>
                    <a:pt x="157" y="5"/>
                  </a:cubicBezTo>
                  <a:cubicBezTo>
                    <a:pt x="151" y="0"/>
                    <a:pt x="141" y="6"/>
                    <a:pt x="133" y="7"/>
                  </a:cubicBezTo>
                  <a:cubicBezTo>
                    <a:pt x="115" y="10"/>
                    <a:pt x="107" y="13"/>
                    <a:pt x="85" y="15"/>
                  </a:cubicBezTo>
                  <a:cubicBezTo>
                    <a:pt x="53" y="36"/>
                    <a:pt x="57" y="9"/>
                    <a:pt x="39" y="3"/>
                  </a:cubicBezTo>
                  <a:cubicBezTo>
                    <a:pt x="36" y="4"/>
                    <a:pt x="28" y="6"/>
                    <a:pt x="27" y="9"/>
                  </a:cubicBezTo>
                  <a:cubicBezTo>
                    <a:pt x="25" y="15"/>
                    <a:pt x="41" y="23"/>
                    <a:pt x="41" y="23"/>
                  </a:cubicBezTo>
                  <a:cubicBezTo>
                    <a:pt x="48" y="34"/>
                    <a:pt x="55" y="42"/>
                    <a:pt x="67" y="47"/>
                  </a:cubicBezTo>
                  <a:cubicBezTo>
                    <a:pt x="73" y="50"/>
                    <a:pt x="79" y="51"/>
                    <a:pt x="85" y="53"/>
                  </a:cubicBezTo>
                  <a:cubicBezTo>
                    <a:pt x="87" y="54"/>
                    <a:pt x="91" y="55"/>
                    <a:pt x="91" y="55"/>
                  </a:cubicBezTo>
                  <a:cubicBezTo>
                    <a:pt x="94" y="65"/>
                    <a:pt x="101" y="60"/>
                    <a:pt x="107" y="69"/>
                  </a:cubicBezTo>
                  <a:cubicBezTo>
                    <a:pt x="99" y="72"/>
                    <a:pt x="96" y="77"/>
                    <a:pt x="89" y="81"/>
                  </a:cubicBezTo>
                  <a:cubicBezTo>
                    <a:pt x="84" y="88"/>
                    <a:pt x="76" y="96"/>
                    <a:pt x="69" y="101"/>
                  </a:cubicBezTo>
                  <a:cubicBezTo>
                    <a:pt x="63" y="106"/>
                    <a:pt x="60" y="104"/>
                    <a:pt x="51" y="107"/>
                  </a:cubicBezTo>
                  <a:cubicBezTo>
                    <a:pt x="41" y="110"/>
                    <a:pt x="17" y="106"/>
                    <a:pt x="10" y="122"/>
                  </a:cubicBezTo>
                  <a:cubicBezTo>
                    <a:pt x="0" y="139"/>
                    <a:pt x="4" y="195"/>
                    <a:pt x="7" y="20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0" name="Freeform 30"/>
            <p:cNvSpPr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5147854" y="4174084"/>
              <a:ext cx="131208" cy="139298"/>
            </a:xfrm>
            <a:custGeom>
              <a:avLst/>
              <a:gdLst>
                <a:gd name="T0" fmla="*/ 9 w 79"/>
                <a:gd name="T1" fmla="*/ 13 h 86"/>
                <a:gd name="T2" fmla="*/ 48 w 79"/>
                <a:gd name="T3" fmla="*/ 6 h 86"/>
                <a:gd name="T4" fmla="*/ 69 w 79"/>
                <a:gd name="T5" fmla="*/ 1 h 86"/>
                <a:gd name="T6" fmla="*/ 74 w 79"/>
                <a:gd name="T7" fmla="*/ 25 h 86"/>
                <a:gd name="T8" fmla="*/ 77 w 79"/>
                <a:gd name="T9" fmla="*/ 46 h 86"/>
                <a:gd name="T10" fmla="*/ 63 w 79"/>
                <a:gd name="T11" fmla="*/ 60 h 86"/>
                <a:gd name="T12" fmla="*/ 56 w 79"/>
                <a:gd name="T13" fmla="*/ 81 h 86"/>
                <a:gd name="T14" fmla="*/ 3 w 79"/>
                <a:gd name="T15" fmla="*/ 78 h 86"/>
                <a:gd name="T16" fmla="*/ 14 w 79"/>
                <a:gd name="T17" fmla="*/ 40 h 86"/>
                <a:gd name="T18" fmla="*/ 9 w 79"/>
                <a:gd name="T19" fmla="*/ 13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86">
                  <a:moveTo>
                    <a:pt x="9" y="13"/>
                  </a:moveTo>
                  <a:cubicBezTo>
                    <a:pt x="21" y="4"/>
                    <a:pt x="27" y="7"/>
                    <a:pt x="48" y="6"/>
                  </a:cubicBezTo>
                  <a:cubicBezTo>
                    <a:pt x="54" y="3"/>
                    <a:pt x="62" y="0"/>
                    <a:pt x="69" y="1"/>
                  </a:cubicBezTo>
                  <a:cubicBezTo>
                    <a:pt x="73" y="8"/>
                    <a:pt x="70" y="18"/>
                    <a:pt x="74" y="25"/>
                  </a:cubicBezTo>
                  <a:cubicBezTo>
                    <a:pt x="75" y="32"/>
                    <a:pt x="79" y="41"/>
                    <a:pt x="77" y="46"/>
                  </a:cubicBezTo>
                  <a:cubicBezTo>
                    <a:pt x="75" y="52"/>
                    <a:pt x="66" y="54"/>
                    <a:pt x="63" y="60"/>
                  </a:cubicBezTo>
                  <a:cubicBezTo>
                    <a:pt x="59" y="67"/>
                    <a:pt x="63" y="79"/>
                    <a:pt x="56" y="81"/>
                  </a:cubicBezTo>
                  <a:cubicBezTo>
                    <a:pt x="39" y="86"/>
                    <a:pt x="3" y="78"/>
                    <a:pt x="3" y="78"/>
                  </a:cubicBezTo>
                  <a:cubicBezTo>
                    <a:pt x="0" y="64"/>
                    <a:pt x="2" y="49"/>
                    <a:pt x="14" y="40"/>
                  </a:cubicBezTo>
                  <a:cubicBezTo>
                    <a:pt x="18" y="31"/>
                    <a:pt x="14" y="20"/>
                    <a:pt x="9" y="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1" name="Freeform 32"/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27025" y="3694639"/>
              <a:ext cx="390382" cy="296414"/>
            </a:xfrm>
            <a:custGeom>
              <a:avLst/>
              <a:gdLst>
                <a:gd name="T0" fmla="*/ 219 w 237"/>
                <a:gd name="T1" fmla="*/ 20 h 183"/>
                <a:gd name="T2" fmla="*/ 201 w 237"/>
                <a:gd name="T3" fmla="*/ 8 h 183"/>
                <a:gd name="T4" fmla="*/ 183 w 237"/>
                <a:gd name="T5" fmla="*/ 3 h 183"/>
                <a:gd name="T6" fmla="*/ 156 w 237"/>
                <a:gd name="T7" fmla="*/ 14 h 183"/>
                <a:gd name="T8" fmla="*/ 134 w 237"/>
                <a:gd name="T9" fmla="*/ 24 h 183"/>
                <a:gd name="T10" fmla="*/ 120 w 237"/>
                <a:gd name="T11" fmla="*/ 33 h 183"/>
                <a:gd name="T12" fmla="*/ 111 w 237"/>
                <a:gd name="T13" fmla="*/ 45 h 183"/>
                <a:gd name="T14" fmla="*/ 102 w 237"/>
                <a:gd name="T15" fmla="*/ 53 h 183"/>
                <a:gd name="T16" fmla="*/ 77 w 237"/>
                <a:gd name="T17" fmla="*/ 72 h 183"/>
                <a:gd name="T18" fmla="*/ 57 w 237"/>
                <a:gd name="T19" fmla="*/ 69 h 183"/>
                <a:gd name="T20" fmla="*/ 59 w 237"/>
                <a:gd name="T21" fmla="*/ 80 h 183"/>
                <a:gd name="T22" fmla="*/ 60 w 237"/>
                <a:gd name="T23" fmla="*/ 119 h 183"/>
                <a:gd name="T24" fmla="*/ 44 w 237"/>
                <a:gd name="T25" fmla="*/ 128 h 183"/>
                <a:gd name="T26" fmla="*/ 26 w 237"/>
                <a:gd name="T27" fmla="*/ 128 h 183"/>
                <a:gd name="T28" fmla="*/ 0 w 237"/>
                <a:gd name="T29" fmla="*/ 137 h 183"/>
                <a:gd name="T30" fmla="*/ 6 w 237"/>
                <a:gd name="T31" fmla="*/ 143 h 183"/>
                <a:gd name="T32" fmla="*/ 11 w 237"/>
                <a:gd name="T33" fmla="*/ 159 h 183"/>
                <a:gd name="T34" fmla="*/ 29 w 237"/>
                <a:gd name="T35" fmla="*/ 174 h 183"/>
                <a:gd name="T36" fmla="*/ 47 w 237"/>
                <a:gd name="T37" fmla="*/ 179 h 183"/>
                <a:gd name="T38" fmla="*/ 51 w 237"/>
                <a:gd name="T39" fmla="*/ 182 h 183"/>
                <a:gd name="T40" fmla="*/ 54 w 237"/>
                <a:gd name="T41" fmla="*/ 171 h 183"/>
                <a:gd name="T42" fmla="*/ 69 w 237"/>
                <a:gd name="T43" fmla="*/ 159 h 183"/>
                <a:gd name="T44" fmla="*/ 89 w 237"/>
                <a:gd name="T45" fmla="*/ 158 h 183"/>
                <a:gd name="T46" fmla="*/ 128 w 237"/>
                <a:gd name="T47" fmla="*/ 167 h 183"/>
                <a:gd name="T48" fmla="*/ 146 w 237"/>
                <a:gd name="T49" fmla="*/ 162 h 183"/>
                <a:gd name="T50" fmla="*/ 162 w 237"/>
                <a:gd name="T51" fmla="*/ 164 h 183"/>
                <a:gd name="T52" fmla="*/ 173 w 237"/>
                <a:gd name="T53" fmla="*/ 159 h 183"/>
                <a:gd name="T54" fmla="*/ 177 w 237"/>
                <a:gd name="T55" fmla="*/ 161 h 183"/>
                <a:gd name="T56" fmla="*/ 192 w 237"/>
                <a:gd name="T57" fmla="*/ 164 h 183"/>
                <a:gd name="T58" fmla="*/ 200 w 237"/>
                <a:gd name="T59" fmla="*/ 143 h 183"/>
                <a:gd name="T60" fmla="*/ 209 w 237"/>
                <a:gd name="T61" fmla="*/ 132 h 183"/>
                <a:gd name="T62" fmla="*/ 215 w 237"/>
                <a:gd name="T63" fmla="*/ 122 h 183"/>
                <a:gd name="T64" fmla="*/ 224 w 237"/>
                <a:gd name="T65" fmla="*/ 116 h 183"/>
                <a:gd name="T66" fmla="*/ 230 w 237"/>
                <a:gd name="T67" fmla="*/ 98 h 183"/>
                <a:gd name="T68" fmla="*/ 237 w 237"/>
                <a:gd name="T69" fmla="*/ 78 h 183"/>
                <a:gd name="T70" fmla="*/ 233 w 237"/>
                <a:gd name="T71" fmla="*/ 51 h 183"/>
                <a:gd name="T72" fmla="*/ 222 w 237"/>
                <a:gd name="T73" fmla="*/ 26 h 183"/>
                <a:gd name="T74" fmla="*/ 219 w 237"/>
                <a:gd name="T75" fmla="*/ 20 h 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183">
                  <a:moveTo>
                    <a:pt x="219" y="20"/>
                  </a:moveTo>
                  <a:cubicBezTo>
                    <a:pt x="215" y="17"/>
                    <a:pt x="207" y="11"/>
                    <a:pt x="201" y="8"/>
                  </a:cubicBezTo>
                  <a:cubicBezTo>
                    <a:pt x="195" y="5"/>
                    <a:pt x="190" y="2"/>
                    <a:pt x="183" y="3"/>
                  </a:cubicBezTo>
                  <a:cubicBezTo>
                    <a:pt x="175" y="0"/>
                    <a:pt x="156" y="14"/>
                    <a:pt x="156" y="14"/>
                  </a:cubicBezTo>
                  <a:cubicBezTo>
                    <a:pt x="148" y="17"/>
                    <a:pt x="140" y="21"/>
                    <a:pt x="134" y="24"/>
                  </a:cubicBezTo>
                  <a:cubicBezTo>
                    <a:pt x="128" y="27"/>
                    <a:pt x="124" y="30"/>
                    <a:pt x="120" y="33"/>
                  </a:cubicBezTo>
                  <a:cubicBezTo>
                    <a:pt x="116" y="39"/>
                    <a:pt x="119" y="43"/>
                    <a:pt x="111" y="45"/>
                  </a:cubicBezTo>
                  <a:cubicBezTo>
                    <a:pt x="109" y="53"/>
                    <a:pt x="111" y="52"/>
                    <a:pt x="102" y="53"/>
                  </a:cubicBezTo>
                  <a:cubicBezTo>
                    <a:pt x="96" y="56"/>
                    <a:pt x="84" y="69"/>
                    <a:pt x="77" y="72"/>
                  </a:cubicBezTo>
                  <a:cubicBezTo>
                    <a:pt x="70" y="75"/>
                    <a:pt x="60" y="68"/>
                    <a:pt x="57" y="69"/>
                  </a:cubicBezTo>
                  <a:cubicBezTo>
                    <a:pt x="54" y="71"/>
                    <a:pt x="59" y="72"/>
                    <a:pt x="59" y="80"/>
                  </a:cubicBezTo>
                  <a:cubicBezTo>
                    <a:pt x="59" y="88"/>
                    <a:pt x="63" y="111"/>
                    <a:pt x="60" y="119"/>
                  </a:cubicBezTo>
                  <a:cubicBezTo>
                    <a:pt x="57" y="127"/>
                    <a:pt x="50" y="127"/>
                    <a:pt x="44" y="128"/>
                  </a:cubicBezTo>
                  <a:cubicBezTo>
                    <a:pt x="38" y="139"/>
                    <a:pt x="33" y="127"/>
                    <a:pt x="26" y="128"/>
                  </a:cubicBezTo>
                  <a:cubicBezTo>
                    <a:pt x="19" y="129"/>
                    <a:pt x="3" y="135"/>
                    <a:pt x="0" y="137"/>
                  </a:cubicBezTo>
                  <a:cubicBezTo>
                    <a:pt x="1" y="140"/>
                    <a:pt x="5" y="140"/>
                    <a:pt x="6" y="143"/>
                  </a:cubicBezTo>
                  <a:cubicBezTo>
                    <a:pt x="8" y="146"/>
                    <a:pt x="7" y="154"/>
                    <a:pt x="11" y="159"/>
                  </a:cubicBezTo>
                  <a:cubicBezTo>
                    <a:pt x="15" y="164"/>
                    <a:pt x="23" y="171"/>
                    <a:pt x="29" y="174"/>
                  </a:cubicBezTo>
                  <a:cubicBezTo>
                    <a:pt x="35" y="177"/>
                    <a:pt x="41" y="177"/>
                    <a:pt x="47" y="179"/>
                  </a:cubicBezTo>
                  <a:cubicBezTo>
                    <a:pt x="48" y="180"/>
                    <a:pt x="49" y="183"/>
                    <a:pt x="51" y="182"/>
                  </a:cubicBezTo>
                  <a:cubicBezTo>
                    <a:pt x="53" y="181"/>
                    <a:pt x="54" y="172"/>
                    <a:pt x="54" y="171"/>
                  </a:cubicBezTo>
                  <a:cubicBezTo>
                    <a:pt x="56" y="165"/>
                    <a:pt x="63" y="160"/>
                    <a:pt x="69" y="159"/>
                  </a:cubicBezTo>
                  <a:cubicBezTo>
                    <a:pt x="76" y="157"/>
                    <a:pt x="82" y="159"/>
                    <a:pt x="89" y="158"/>
                  </a:cubicBezTo>
                  <a:cubicBezTo>
                    <a:pt x="102" y="160"/>
                    <a:pt x="114" y="166"/>
                    <a:pt x="128" y="167"/>
                  </a:cubicBezTo>
                  <a:cubicBezTo>
                    <a:pt x="137" y="169"/>
                    <a:pt x="139" y="162"/>
                    <a:pt x="146" y="162"/>
                  </a:cubicBezTo>
                  <a:cubicBezTo>
                    <a:pt x="152" y="162"/>
                    <a:pt x="158" y="164"/>
                    <a:pt x="162" y="164"/>
                  </a:cubicBezTo>
                  <a:cubicBezTo>
                    <a:pt x="166" y="164"/>
                    <a:pt x="171" y="159"/>
                    <a:pt x="173" y="159"/>
                  </a:cubicBezTo>
                  <a:cubicBezTo>
                    <a:pt x="174" y="158"/>
                    <a:pt x="175" y="161"/>
                    <a:pt x="177" y="161"/>
                  </a:cubicBezTo>
                  <a:cubicBezTo>
                    <a:pt x="183" y="160"/>
                    <a:pt x="187" y="167"/>
                    <a:pt x="192" y="164"/>
                  </a:cubicBezTo>
                  <a:cubicBezTo>
                    <a:pt x="197" y="161"/>
                    <a:pt x="197" y="147"/>
                    <a:pt x="200" y="143"/>
                  </a:cubicBezTo>
                  <a:cubicBezTo>
                    <a:pt x="202" y="135"/>
                    <a:pt x="205" y="139"/>
                    <a:pt x="209" y="132"/>
                  </a:cubicBezTo>
                  <a:cubicBezTo>
                    <a:pt x="211" y="128"/>
                    <a:pt x="213" y="125"/>
                    <a:pt x="215" y="122"/>
                  </a:cubicBezTo>
                  <a:cubicBezTo>
                    <a:pt x="217" y="119"/>
                    <a:pt x="221" y="120"/>
                    <a:pt x="224" y="116"/>
                  </a:cubicBezTo>
                  <a:cubicBezTo>
                    <a:pt x="225" y="110"/>
                    <a:pt x="227" y="104"/>
                    <a:pt x="230" y="98"/>
                  </a:cubicBezTo>
                  <a:cubicBezTo>
                    <a:pt x="231" y="92"/>
                    <a:pt x="237" y="86"/>
                    <a:pt x="237" y="78"/>
                  </a:cubicBezTo>
                  <a:cubicBezTo>
                    <a:pt x="237" y="70"/>
                    <a:pt x="235" y="60"/>
                    <a:pt x="233" y="51"/>
                  </a:cubicBezTo>
                  <a:cubicBezTo>
                    <a:pt x="231" y="42"/>
                    <a:pt x="224" y="31"/>
                    <a:pt x="222" y="26"/>
                  </a:cubicBezTo>
                  <a:cubicBezTo>
                    <a:pt x="221" y="21"/>
                    <a:pt x="205" y="6"/>
                    <a:pt x="219" y="2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2" name="Freeform 33"/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4428645" y="3976475"/>
              <a:ext cx="90711" cy="158735"/>
            </a:xfrm>
            <a:custGeom>
              <a:avLst/>
              <a:gdLst>
                <a:gd name="T0" fmla="*/ 32 w 55"/>
                <a:gd name="T1" fmla="*/ 4 h 98"/>
                <a:gd name="T2" fmla="*/ 26 w 55"/>
                <a:gd name="T3" fmla="*/ 12 h 98"/>
                <a:gd name="T4" fmla="*/ 18 w 55"/>
                <a:gd name="T5" fmla="*/ 18 h 98"/>
                <a:gd name="T6" fmla="*/ 18 w 55"/>
                <a:gd name="T7" fmla="*/ 34 h 98"/>
                <a:gd name="T8" fmla="*/ 34 w 55"/>
                <a:gd name="T9" fmla="*/ 92 h 98"/>
                <a:gd name="T10" fmla="*/ 52 w 55"/>
                <a:gd name="T11" fmla="*/ 36 h 98"/>
                <a:gd name="T12" fmla="*/ 50 w 55"/>
                <a:gd name="T13" fmla="*/ 18 h 98"/>
                <a:gd name="T14" fmla="*/ 43 w 55"/>
                <a:gd name="T15" fmla="*/ 7 h 98"/>
                <a:gd name="T16" fmla="*/ 32 w 55"/>
                <a:gd name="T17" fmla="*/ 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" h="98">
                  <a:moveTo>
                    <a:pt x="32" y="4"/>
                  </a:moveTo>
                  <a:cubicBezTo>
                    <a:pt x="28" y="0"/>
                    <a:pt x="28" y="10"/>
                    <a:pt x="26" y="12"/>
                  </a:cubicBezTo>
                  <a:cubicBezTo>
                    <a:pt x="24" y="14"/>
                    <a:pt x="19" y="14"/>
                    <a:pt x="18" y="18"/>
                  </a:cubicBezTo>
                  <a:cubicBezTo>
                    <a:pt x="13" y="26"/>
                    <a:pt x="9" y="28"/>
                    <a:pt x="18" y="34"/>
                  </a:cubicBezTo>
                  <a:cubicBezTo>
                    <a:pt x="27" y="60"/>
                    <a:pt x="0" y="98"/>
                    <a:pt x="34" y="92"/>
                  </a:cubicBezTo>
                  <a:cubicBezTo>
                    <a:pt x="45" y="60"/>
                    <a:pt x="34" y="63"/>
                    <a:pt x="52" y="36"/>
                  </a:cubicBezTo>
                  <a:cubicBezTo>
                    <a:pt x="55" y="24"/>
                    <a:pt x="51" y="23"/>
                    <a:pt x="50" y="18"/>
                  </a:cubicBezTo>
                  <a:cubicBezTo>
                    <a:pt x="49" y="13"/>
                    <a:pt x="46" y="9"/>
                    <a:pt x="43" y="7"/>
                  </a:cubicBezTo>
                  <a:cubicBezTo>
                    <a:pt x="40" y="5"/>
                    <a:pt x="35" y="3"/>
                    <a:pt x="32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3" name="Freeform 34"/>
            <p:cNvSpPr>
              <a:spLocks/>
            </p:cNvSpPr>
            <p:nvPr>
              <p:custDataLst>
                <p:tags r:id="rId29"/>
              </p:custDataLst>
            </p:nvPr>
          </p:nvSpPr>
          <p:spPr bwMode="gray">
            <a:xfrm>
              <a:off x="4415686" y="4008870"/>
              <a:ext cx="46976" cy="126340"/>
            </a:xfrm>
            <a:custGeom>
              <a:avLst/>
              <a:gdLst>
                <a:gd name="T0" fmla="*/ 18 w 28"/>
                <a:gd name="T1" fmla="*/ 0 h 78"/>
                <a:gd name="T2" fmla="*/ 0 w 28"/>
                <a:gd name="T3" fmla="*/ 21 h 78"/>
                <a:gd name="T4" fmla="*/ 10 w 28"/>
                <a:gd name="T5" fmla="*/ 50 h 78"/>
                <a:gd name="T6" fmla="*/ 10 w 28"/>
                <a:gd name="T7" fmla="*/ 63 h 78"/>
                <a:gd name="T8" fmla="*/ 16 w 28"/>
                <a:gd name="T9" fmla="*/ 76 h 78"/>
                <a:gd name="T10" fmla="*/ 24 w 28"/>
                <a:gd name="T11" fmla="*/ 74 h 78"/>
                <a:gd name="T12" fmla="*/ 27 w 28"/>
                <a:gd name="T13" fmla="*/ 24 h 78"/>
                <a:gd name="T14" fmla="*/ 18 w 28"/>
                <a:gd name="T15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8" h="78">
                  <a:moveTo>
                    <a:pt x="18" y="0"/>
                  </a:moveTo>
                  <a:cubicBezTo>
                    <a:pt x="7" y="4"/>
                    <a:pt x="3" y="11"/>
                    <a:pt x="0" y="21"/>
                  </a:cubicBezTo>
                  <a:cubicBezTo>
                    <a:pt x="1" y="30"/>
                    <a:pt x="8" y="41"/>
                    <a:pt x="10" y="50"/>
                  </a:cubicBezTo>
                  <a:cubicBezTo>
                    <a:pt x="11" y="54"/>
                    <a:pt x="10" y="63"/>
                    <a:pt x="10" y="63"/>
                  </a:cubicBezTo>
                  <a:cubicBezTo>
                    <a:pt x="11" y="68"/>
                    <a:pt x="13" y="72"/>
                    <a:pt x="16" y="76"/>
                  </a:cubicBezTo>
                  <a:cubicBezTo>
                    <a:pt x="18" y="78"/>
                    <a:pt x="24" y="77"/>
                    <a:pt x="24" y="74"/>
                  </a:cubicBezTo>
                  <a:cubicBezTo>
                    <a:pt x="24" y="65"/>
                    <a:pt x="28" y="36"/>
                    <a:pt x="27" y="24"/>
                  </a:cubicBezTo>
                  <a:cubicBezTo>
                    <a:pt x="26" y="12"/>
                    <a:pt x="20" y="5"/>
                    <a:pt x="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4" name="Freeform 35"/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4086858" y="4015349"/>
              <a:ext cx="77752" cy="87466"/>
            </a:xfrm>
            <a:custGeom>
              <a:avLst/>
              <a:gdLst>
                <a:gd name="T0" fmla="*/ 16 w 47"/>
                <a:gd name="T1" fmla="*/ 18 h 54"/>
                <a:gd name="T2" fmla="*/ 12 w 47"/>
                <a:gd name="T3" fmla="*/ 50 h 54"/>
                <a:gd name="T4" fmla="*/ 26 w 47"/>
                <a:gd name="T5" fmla="*/ 54 h 54"/>
                <a:gd name="T6" fmla="*/ 44 w 47"/>
                <a:gd name="T7" fmla="*/ 46 h 54"/>
                <a:gd name="T8" fmla="*/ 44 w 47"/>
                <a:gd name="T9" fmla="*/ 30 h 54"/>
                <a:gd name="T10" fmla="*/ 39 w 47"/>
                <a:gd name="T11" fmla="*/ 9 h 54"/>
                <a:gd name="T12" fmla="*/ 16 w 47"/>
                <a:gd name="T13" fmla="*/ 18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54">
                  <a:moveTo>
                    <a:pt x="16" y="18"/>
                  </a:moveTo>
                  <a:cubicBezTo>
                    <a:pt x="3" y="22"/>
                    <a:pt x="0" y="42"/>
                    <a:pt x="12" y="50"/>
                  </a:cubicBezTo>
                  <a:cubicBezTo>
                    <a:pt x="16" y="53"/>
                    <a:pt x="21" y="52"/>
                    <a:pt x="26" y="54"/>
                  </a:cubicBezTo>
                  <a:cubicBezTo>
                    <a:pt x="40" y="49"/>
                    <a:pt x="34" y="52"/>
                    <a:pt x="44" y="46"/>
                  </a:cubicBezTo>
                  <a:cubicBezTo>
                    <a:pt x="47" y="42"/>
                    <a:pt x="45" y="36"/>
                    <a:pt x="44" y="30"/>
                  </a:cubicBezTo>
                  <a:cubicBezTo>
                    <a:pt x="43" y="24"/>
                    <a:pt x="44" y="11"/>
                    <a:pt x="39" y="9"/>
                  </a:cubicBezTo>
                  <a:cubicBezTo>
                    <a:pt x="36" y="0"/>
                    <a:pt x="25" y="15"/>
                    <a:pt x="16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5" name="Freeform 36"/>
            <p:cNvSpPr>
              <a:spLocks/>
            </p:cNvSpPr>
            <p:nvPr>
              <p:custDataLst>
                <p:tags r:id="rId31"/>
              </p:custDataLst>
            </p:nvPr>
          </p:nvSpPr>
          <p:spPr bwMode="gray">
            <a:xfrm>
              <a:off x="4043123" y="3969996"/>
              <a:ext cx="191141" cy="127960"/>
            </a:xfrm>
            <a:custGeom>
              <a:avLst/>
              <a:gdLst>
                <a:gd name="T0" fmla="*/ 28 w 116"/>
                <a:gd name="T1" fmla="*/ 48 h 79"/>
                <a:gd name="T2" fmla="*/ 6 w 116"/>
                <a:gd name="T3" fmla="*/ 30 h 79"/>
                <a:gd name="T4" fmla="*/ 6 w 116"/>
                <a:gd name="T5" fmla="*/ 24 h 79"/>
                <a:gd name="T6" fmla="*/ 17 w 116"/>
                <a:gd name="T7" fmla="*/ 15 h 79"/>
                <a:gd name="T8" fmla="*/ 30 w 116"/>
                <a:gd name="T9" fmla="*/ 2 h 79"/>
                <a:gd name="T10" fmla="*/ 49 w 116"/>
                <a:gd name="T11" fmla="*/ 7 h 79"/>
                <a:gd name="T12" fmla="*/ 76 w 116"/>
                <a:gd name="T13" fmla="*/ 10 h 79"/>
                <a:gd name="T14" fmla="*/ 102 w 116"/>
                <a:gd name="T15" fmla="*/ 26 h 79"/>
                <a:gd name="T16" fmla="*/ 110 w 116"/>
                <a:gd name="T17" fmla="*/ 38 h 79"/>
                <a:gd name="T18" fmla="*/ 112 w 116"/>
                <a:gd name="T19" fmla="*/ 56 h 79"/>
                <a:gd name="T20" fmla="*/ 113 w 116"/>
                <a:gd name="T21" fmla="*/ 76 h 79"/>
                <a:gd name="T22" fmla="*/ 91 w 116"/>
                <a:gd name="T23" fmla="*/ 79 h 79"/>
                <a:gd name="T24" fmla="*/ 72 w 116"/>
                <a:gd name="T25" fmla="*/ 68 h 79"/>
                <a:gd name="T26" fmla="*/ 69 w 116"/>
                <a:gd name="T27" fmla="*/ 58 h 79"/>
                <a:gd name="T28" fmla="*/ 68 w 116"/>
                <a:gd name="T29" fmla="*/ 49 h 79"/>
                <a:gd name="T30" fmla="*/ 65 w 116"/>
                <a:gd name="T31" fmla="*/ 39 h 79"/>
                <a:gd name="T32" fmla="*/ 46 w 116"/>
                <a:gd name="T33" fmla="*/ 40 h 79"/>
                <a:gd name="T34" fmla="*/ 38 w 116"/>
                <a:gd name="T35" fmla="*/ 46 h 79"/>
                <a:gd name="T36" fmla="*/ 28 w 116"/>
                <a:gd name="T37" fmla="*/ 4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6" h="79">
                  <a:moveTo>
                    <a:pt x="28" y="48"/>
                  </a:moveTo>
                  <a:cubicBezTo>
                    <a:pt x="25" y="31"/>
                    <a:pt x="23" y="32"/>
                    <a:pt x="6" y="30"/>
                  </a:cubicBezTo>
                  <a:cubicBezTo>
                    <a:pt x="0" y="24"/>
                    <a:pt x="11" y="31"/>
                    <a:pt x="6" y="24"/>
                  </a:cubicBezTo>
                  <a:cubicBezTo>
                    <a:pt x="7" y="21"/>
                    <a:pt x="13" y="19"/>
                    <a:pt x="17" y="15"/>
                  </a:cubicBezTo>
                  <a:cubicBezTo>
                    <a:pt x="21" y="11"/>
                    <a:pt x="25" y="3"/>
                    <a:pt x="30" y="2"/>
                  </a:cubicBezTo>
                  <a:cubicBezTo>
                    <a:pt x="35" y="0"/>
                    <a:pt x="41" y="6"/>
                    <a:pt x="49" y="7"/>
                  </a:cubicBezTo>
                  <a:cubicBezTo>
                    <a:pt x="57" y="8"/>
                    <a:pt x="67" y="7"/>
                    <a:pt x="76" y="10"/>
                  </a:cubicBezTo>
                  <a:cubicBezTo>
                    <a:pt x="85" y="13"/>
                    <a:pt x="96" y="21"/>
                    <a:pt x="102" y="26"/>
                  </a:cubicBezTo>
                  <a:cubicBezTo>
                    <a:pt x="104" y="30"/>
                    <a:pt x="110" y="38"/>
                    <a:pt x="110" y="38"/>
                  </a:cubicBezTo>
                  <a:cubicBezTo>
                    <a:pt x="108" y="44"/>
                    <a:pt x="112" y="56"/>
                    <a:pt x="112" y="56"/>
                  </a:cubicBezTo>
                  <a:cubicBezTo>
                    <a:pt x="111" y="61"/>
                    <a:pt x="116" y="72"/>
                    <a:pt x="113" y="76"/>
                  </a:cubicBezTo>
                  <a:cubicBezTo>
                    <a:pt x="111" y="79"/>
                    <a:pt x="91" y="79"/>
                    <a:pt x="91" y="79"/>
                  </a:cubicBezTo>
                  <a:cubicBezTo>
                    <a:pt x="79" y="77"/>
                    <a:pt x="82" y="71"/>
                    <a:pt x="72" y="68"/>
                  </a:cubicBezTo>
                  <a:cubicBezTo>
                    <a:pt x="68" y="65"/>
                    <a:pt x="71" y="63"/>
                    <a:pt x="69" y="58"/>
                  </a:cubicBezTo>
                  <a:cubicBezTo>
                    <a:pt x="68" y="55"/>
                    <a:pt x="69" y="52"/>
                    <a:pt x="68" y="49"/>
                  </a:cubicBezTo>
                  <a:cubicBezTo>
                    <a:pt x="67" y="46"/>
                    <a:pt x="69" y="41"/>
                    <a:pt x="65" y="39"/>
                  </a:cubicBezTo>
                  <a:cubicBezTo>
                    <a:pt x="61" y="35"/>
                    <a:pt x="50" y="39"/>
                    <a:pt x="46" y="40"/>
                  </a:cubicBezTo>
                  <a:cubicBezTo>
                    <a:pt x="42" y="41"/>
                    <a:pt x="41" y="45"/>
                    <a:pt x="38" y="46"/>
                  </a:cubicBezTo>
                  <a:cubicBezTo>
                    <a:pt x="33" y="53"/>
                    <a:pt x="32" y="52"/>
                    <a:pt x="28" y="4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6" name="Freeform 37"/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290958" y="3913304"/>
              <a:ext cx="187901" cy="129580"/>
            </a:xfrm>
            <a:custGeom>
              <a:avLst/>
              <a:gdLst>
                <a:gd name="T0" fmla="*/ 77 w 114"/>
                <a:gd name="T1" fmla="*/ 0 h 80"/>
                <a:gd name="T2" fmla="*/ 34 w 114"/>
                <a:gd name="T3" fmla="*/ 13 h 80"/>
                <a:gd name="T4" fmla="*/ 18 w 114"/>
                <a:gd name="T5" fmla="*/ 27 h 80"/>
                <a:gd name="T6" fmla="*/ 0 w 114"/>
                <a:gd name="T7" fmla="*/ 55 h 80"/>
                <a:gd name="T8" fmla="*/ 12 w 114"/>
                <a:gd name="T9" fmla="*/ 77 h 80"/>
                <a:gd name="T10" fmla="*/ 24 w 114"/>
                <a:gd name="T11" fmla="*/ 75 h 80"/>
                <a:gd name="T12" fmla="*/ 40 w 114"/>
                <a:gd name="T13" fmla="*/ 63 h 80"/>
                <a:gd name="T14" fmla="*/ 80 w 114"/>
                <a:gd name="T15" fmla="*/ 61 h 80"/>
                <a:gd name="T16" fmla="*/ 110 w 114"/>
                <a:gd name="T17" fmla="*/ 55 h 80"/>
                <a:gd name="T18" fmla="*/ 100 w 114"/>
                <a:gd name="T19" fmla="*/ 31 h 80"/>
                <a:gd name="T20" fmla="*/ 86 w 114"/>
                <a:gd name="T21" fmla="*/ 9 h 80"/>
                <a:gd name="T22" fmla="*/ 77 w 114"/>
                <a:gd name="T23" fmla="*/ 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4" h="80">
                  <a:moveTo>
                    <a:pt x="77" y="0"/>
                  </a:moveTo>
                  <a:cubicBezTo>
                    <a:pt x="58" y="2"/>
                    <a:pt x="54" y="11"/>
                    <a:pt x="34" y="13"/>
                  </a:cubicBezTo>
                  <a:cubicBezTo>
                    <a:pt x="31" y="26"/>
                    <a:pt x="30" y="24"/>
                    <a:pt x="18" y="27"/>
                  </a:cubicBezTo>
                  <a:cubicBezTo>
                    <a:pt x="7" y="35"/>
                    <a:pt x="12" y="51"/>
                    <a:pt x="0" y="55"/>
                  </a:cubicBezTo>
                  <a:cubicBezTo>
                    <a:pt x="2" y="67"/>
                    <a:pt x="0" y="73"/>
                    <a:pt x="12" y="77"/>
                  </a:cubicBezTo>
                  <a:cubicBezTo>
                    <a:pt x="15" y="80"/>
                    <a:pt x="19" y="77"/>
                    <a:pt x="24" y="75"/>
                  </a:cubicBezTo>
                  <a:cubicBezTo>
                    <a:pt x="29" y="73"/>
                    <a:pt x="31" y="65"/>
                    <a:pt x="40" y="63"/>
                  </a:cubicBezTo>
                  <a:cubicBezTo>
                    <a:pt x="53" y="62"/>
                    <a:pt x="67" y="62"/>
                    <a:pt x="80" y="61"/>
                  </a:cubicBezTo>
                  <a:cubicBezTo>
                    <a:pt x="98" y="55"/>
                    <a:pt x="88" y="57"/>
                    <a:pt x="110" y="55"/>
                  </a:cubicBezTo>
                  <a:cubicBezTo>
                    <a:pt x="114" y="44"/>
                    <a:pt x="111" y="35"/>
                    <a:pt x="100" y="31"/>
                  </a:cubicBezTo>
                  <a:cubicBezTo>
                    <a:pt x="94" y="22"/>
                    <a:pt x="95" y="15"/>
                    <a:pt x="86" y="9"/>
                  </a:cubicBezTo>
                  <a:cubicBezTo>
                    <a:pt x="81" y="2"/>
                    <a:pt x="71" y="0"/>
                    <a:pt x="7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7" name="Freeform 38"/>
            <p:cNvSpPr>
              <a:spLocks/>
            </p:cNvSpPr>
            <p:nvPr>
              <p:custDataLst>
                <p:tags r:id="rId33"/>
              </p:custDataLst>
            </p:nvPr>
          </p:nvSpPr>
          <p:spPr bwMode="gray">
            <a:xfrm>
              <a:off x="5466963" y="3825838"/>
              <a:ext cx="249455" cy="147397"/>
            </a:xfrm>
            <a:custGeom>
              <a:avLst/>
              <a:gdLst>
                <a:gd name="T0" fmla="*/ 3 w 151"/>
                <a:gd name="T1" fmla="*/ 27 h 91"/>
                <a:gd name="T2" fmla="*/ 17 w 151"/>
                <a:gd name="T3" fmla="*/ 69 h 91"/>
                <a:gd name="T4" fmla="*/ 39 w 151"/>
                <a:gd name="T5" fmla="*/ 89 h 91"/>
                <a:gd name="T6" fmla="*/ 52 w 151"/>
                <a:gd name="T7" fmla="*/ 84 h 91"/>
                <a:gd name="T8" fmla="*/ 84 w 151"/>
                <a:gd name="T9" fmla="*/ 71 h 91"/>
                <a:gd name="T10" fmla="*/ 108 w 151"/>
                <a:gd name="T11" fmla="*/ 60 h 91"/>
                <a:gd name="T12" fmla="*/ 129 w 151"/>
                <a:gd name="T13" fmla="*/ 53 h 91"/>
                <a:gd name="T14" fmla="*/ 138 w 151"/>
                <a:gd name="T15" fmla="*/ 41 h 91"/>
                <a:gd name="T16" fmla="*/ 148 w 151"/>
                <a:gd name="T17" fmla="*/ 24 h 91"/>
                <a:gd name="T18" fmla="*/ 129 w 151"/>
                <a:gd name="T19" fmla="*/ 0 h 91"/>
                <a:gd name="T20" fmla="*/ 115 w 151"/>
                <a:gd name="T21" fmla="*/ 2 h 91"/>
                <a:gd name="T22" fmla="*/ 88 w 151"/>
                <a:gd name="T23" fmla="*/ 3 h 91"/>
                <a:gd name="T24" fmla="*/ 73 w 151"/>
                <a:gd name="T25" fmla="*/ 6 h 91"/>
                <a:gd name="T26" fmla="*/ 54 w 151"/>
                <a:gd name="T27" fmla="*/ 41 h 91"/>
                <a:gd name="T28" fmla="*/ 40 w 151"/>
                <a:gd name="T29" fmla="*/ 33 h 91"/>
                <a:gd name="T30" fmla="*/ 22 w 151"/>
                <a:gd name="T31" fmla="*/ 26 h 91"/>
                <a:gd name="T32" fmla="*/ 10 w 151"/>
                <a:gd name="T33" fmla="*/ 24 h 91"/>
                <a:gd name="T34" fmla="*/ 3 w 151"/>
                <a:gd name="T35" fmla="*/ 27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1" h="91">
                  <a:moveTo>
                    <a:pt x="3" y="27"/>
                  </a:moveTo>
                  <a:cubicBezTo>
                    <a:pt x="0" y="42"/>
                    <a:pt x="12" y="55"/>
                    <a:pt x="17" y="69"/>
                  </a:cubicBezTo>
                  <a:cubicBezTo>
                    <a:pt x="17" y="79"/>
                    <a:pt x="33" y="87"/>
                    <a:pt x="39" y="89"/>
                  </a:cubicBezTo>
                  <a:cubicBezTo>
                    <a:pt x="45" y="91"/>
                    <a:pt x="45" y="87"/>
                    <a:pt x="52" y="84"/>
                  </a:cubicBezTo>
                  <a:cubicBezTo>
                    <a:pt x="68" y="74"/>
                    <a:pt x="60" y="76"/>
                    <a:pt x="84" y="71"/>
                  </a:cubicBezTo>
                  <a:cubicBezTo>
                    <a:pt x="90" y="61"/>
                    <a:pt x="97" y="62"/>
                    <a:pt x="108" y="60"/>
                  </a:cubicBezTo>
                  <a:cubicBezTo>
                    <a:pt x="114" y="56"/>
                    <a:pt x="122" y="54"/>
                    <a:pt x="129" y="53"/>
                  </a:cubicBezTo>
                  <a:cubicBezTo>
                    <a:pt x="134" y="49"/>
                    <a:pt x="135" y="46"/>
                    <a:pt x="138" y="41"/>
                  </a:cubicBezTo>
                  <a:cubicBezTo>
                    <a:pt x="140" y="31"/>
                    <a:pt x="151" y="35"/>
                    <a:pt x="148" y="24"/>
                  </a:cubicBezTo>
                  <a:cubicBezTo>
                    <a:pt x="147" y="14"/>
                    <a:pt x="139" y="5"/>
                    <a:pt x="129" y="0"/>
                  </a:cubicBezTo>
                  <a:cubicBezTo>
                    <a:pt x="124" y="1"/>
                    <a:pt x="120" y="2"/>
                    <a:pt x="115" y="2"/>
                  </a:cubicBezTo>
                  <a:cubicBezTo>
                    <a:pt x="106" y="3"/>
                    <a:pt x="97" y="2"/>
                    <a:pt x="88" y="3"/>
                  </a:cubicBezTo>
                  <a:cubicBezTo>
                    <a:pt x="83" y="3"/>
                    <a:pt x="73" y="6"/>
                    <a:pt x="73" y="6"/>
                  </a:cubicBezTo>
                  <a:cubicBezTo>
                    <a:pt x="67" y="16"/>
                    <a:pt x="64" y="33"/>
                    <a:pt x="54" y="41"/>
                  </a:cubicBezTo>
                  <a:cubicBezTo>
                    <a:pt x="48" y="40"/>
                    <a:pt x="45" y="35"/>
                    <a:pt x="40" y="33"/>
                  </a:cubicBezTo>
                  <a:cubicBezTo>
                    <a:pt x="36" y="32"/>
                    <a:pt x="22" y="26"/>
                    <a:pt x="22" y="26"/>
                  </a:cubicBezTo>
                  <a:cubicBezTo>
                    <a:pt x="17" y="17"/>
                    <a:pt x="19" y="22"/>
                    <a:pt x="10" y="24"/>
                  </a:cubicBezTo>
                  <a:cubicBezTo>
                    <a:pt x="5" y="26"/>
                    <a:pt x="7" y="26"/>
                    <a:pt x="3" y="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8" name="Freeform 39"/>
            <p:cNvSpPr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5304979" y="3838796"/>
              <a:ext cx="171703" cy="168453"/>
            </a:xfrm>
            <a:custGeom>
              <a:avLst/>
              <a:gdLst>
                <a:gd name="T0" fmla="*/ 31 w 106"/>
                <a:gd name="T1" fmla="*/ 0 h 104"/>
                <a:gd name="T2" fmla="*/ 55 w 106"/>
                <a:gd name="T3" fmla="*/ 18 h 104"/>
                <a:gd name="T4" fmla="*/ 87 w 106"/>
                <a:gd name="T5" fmla="*/ 46 h 104"/>
                <a:gd name="T6" fmla="*/ 105 w 106"/>
                <a:gd name="T7" fmla="*/ 96 h 104"/>
                <a:gd name="T8" fmla="*/ 90 w 106"/>
                <a:gd name="T9" fmla="*/ 100 h 104"/>
                <a:gd name="T10" fmla="*/ 80 w 106"/>
                <a:gd name="T11" fmla="*/ 91 h 104"/>
                <a:gd name="T12" fmla="*/ 83 w 106"/>
                <a:gd name="T13" fmla="*/ 78 h 104"/>
                <a:gd name="T14" fmla="*/ 77 w 106"/>
                <a:gd name="T15" fmla="*/ 54 h 104"/>
                <a:gd name="T16" fmla="*/ 12 w 106"/>
                <a:gd name="T17" fmla="*/ 54 h 104"/>
                <a:gd name="T18" fmla="*/ 7 w 106"/>
                <a:gd name="T19" fmla="*/ 30 h 104"/>
                <a:gd name="T20" fmla="*/ 31 w 106"/>
                <a:gd name="T21" fmla="*/ 0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6" h="104">
                  <a:moveTo>
                    <a:pt x="31" y="0"/>
                  </a:moveTo>
                  <a:cubicBezTo>
                    <a:pt x="52" y="2"/>
                    <a:pt x="35" y="13"/>
                    <a:pt x="55" y="18"/>
                  </a:cubicBezTo>
                  <a:cubicBezTo>
                    <a:pt x="62" y="26"/>
                    <a:pt x="80" y="36"/>
                    <a:pt x="87" y="46"/>
                  </a:cubicBezTo>
                  <a:cubicBezTo>
                    <a:pt x="95" y="59"/>
                    <a:pt x="104" y="87"/>
                    <a:pt x="105" y="96"/>
                  </a:cubicBezTo>
                  <a:cubicBezTo>
                    <a:pt x="106" y="104"/>
                    <a:pt x="94" y="101"/>
                    <a:pt x="90" y="100"/>
                  </a:cubicBezTo>
                  <a:cubicBezTo>
                    <a:pt x="86" y="99"/>
                    <a:pt x="81" y="95"/>
                    <a:pt x="80" y="91"/>
                  </a:cubicBezTo>
                  <a:cubicBezTo>
                    <a:pt x="79" y="87"/>
                    <a:pt x="83" y="84"/>
                    <a:pt x="83" y="78"/>
                  </a:cubicBezTo>
                  <a:cubicBezTo>
                    <a:pt x="83" y="72"/>
                    <a:pt x="89" y="58"/>
                    <a:pt x="77" y="54"/>
                  </a:cubicBezTo>
                  <a:cubicBezTo>
                    <a:pt x="56" y="65"/>
                    <a:pt x="36" y="59"/>
                    <a:pt x="12" y="54"/>
                  </a:cubicBezTo>
                  <a:cubicBezTo>
                    <a:pt x="0" y="51"/>
                    <a:pt x="4" y="39"/>
                    <a:pt x="7" y="30"/>
                  </a:cubicBezTo>
                  <a:cubicBezTo>
                    <a:pt x="10" y="21"/>
                    <a:pt x="26" y="6"/>
                    <a:pt x="3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9" name="Freeform 40"/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013966" y="3616891"/>
              <a:ext cx="299671" cy="307752"/>
            </a:xfrm>
            <a:custGeom>
              <a:avLst/>
              <a:gdLst>
                <a:gd name="T0" fmla="*/ 176 w 182"/>
                <a:gd name="T1" fmla="*/ 26 h 190"/>
                <a:gd name="T2" fmla="*/ 156 w 182"/>
                <a:gd name="T3" fmla="*/ 28 h 190"/>
                <a:gd name="T4" fmla="*/ 156 w 182"/>
                <a:gd name="T5" fmla="*/ 82 h 190"/>
                <a:gd name="T6" fmla="*/ 166 w 182"/>
                <a:gd name="T7" fmla="*/ 174 h 190"/>
                <a:gd name="T8" fmla="*/ 62 w 182"/>
                <a:gd name="T9" fmla="*/ 178 h 190"/>
                <a:gd name="T10" fmla="*/ 29 w 182"/>
                <a:gd name="T11" fmla="*/ 161 h 190"/>
                <a:gd name="T12" fmla="*/ 6 w 182"/>
                <a:gd name="T13" fmla="*/ 160 h 190"/>
                <a:gd name="T14" fmla="*/ 6 w 182"/>
                <a:gd name="T15" fmla="*/ 128 h 190"/>
                <a:gd name="T16" fmla="*/ 0 w 182"/>
                <a:gd name="T17" fmla="*/ 104 h 190"/>
                <a:gd name="T18" fmla="*/ 56 w 182"/>
                <a:gd name="T19" fmla="*/ 84 h 190"/>
                <a:gd name="T20" fmla="*/ 54 w 182"/>
                <a:gd name="T21" fmla="*/ 62 h 190"/>
                <a:gd name="T22" fmla="*/ 72 w 182"/>
                <a:gd name="T23" fmla="*/ 48 h 190"/>
                <a:gd name="T24" fmla="*/ 74 w 182"/>
                <a:gd name="T25" fmla="*/ 12 h 190"/>
                <a:gd name="T26" fmla="*/ 118 w 182"/>
                <a:gd name="T27" fmla="*/ 12 h 190"/>
                <a:gd name="T28" fmla="*/ 134 w 182"/>
                <a:gd name="T29" fmla="*/ 0 h 190"/>
                <a:gd name="T30" fmla="*/ 158 w 182"/>
                <a:gd name="T31" fmla="*/ 14 h 190"/>
                <a:gd name="T32" fmla="*/ 176 w 182"/>
                <a:gd name="T33" fmla="*/ 26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82" h="190">
                  <a:moveTo>
                    <a:pt x="176" y="26"/>
                  </a:moveTo>
                  <a:cubicBezTo>
                    <a:pt x="169" y="27"/>
                    <a:pt x="162" y="26"/>
                    <a:pt x="156" y="28"/>
                  </a:cubicBezTo>
                  <a:cubicBezTo>
                    <a:pt x="139" y="34"/>
                    <a:pt x="155" y="64"/>
                    <a:pt x="156" y="82"/>
                  </a:cubicBezTo>
                  <a:cubicBezTo>
                    <a:pt x="150" y="98"/>
                    <a:pt x="182" y="158"/>
                    <a:pt x="166" y="174"/>
                  </a:cubicBezTo>
                  <a:cubicBezTo>
                    <a:pt x="150" y="190"/>
                    <a:pt x="85" y="180"/>
                    <a:pt x="62" y="178"/>
                  </a:cubicBezTo>
                  <a:cubicBezTo>
                    <a:pt x="52" y="175"/>
                    <a:pt x="41" y="162"/>
                    <a:pt x="29" y="161"/>
                  </a:cubicBezTo>
                  <a:cubicBezTo>
                    <a:pt x="20" y="160"/>
                    <a:pt x="15" y="161"/>
                    <a:pt x="6" y="160"/>
                  </a:cubicBezTo>
                  <a:cubicBezTo>
                    <a:pt x="8" y="144"/>
                    <a:pt x="11" y="143"/>
                    <a:pt x="6" y="128"/>
                  </a:cubicBezTo>
                  <a:cubicBezTo>
                    <a:pt x="3" y="120"/>
                    <a:pt x="0" y="104"/>
                    <a:pt x="0" y="104"/>
                  </a:cubicBezTo>
                  <a:cubicBezTo>
                    <a:pt x="4" y="75"/>
                    <a:pt x="19" y="87"/>
                    <a:pt x="56" y="84"/>
                  </a:cubicBezTo>
                  <a:cubicBezTo>
                    <a:pt x="61" y="74"/>
                    <a:pt x="60" y="71"/>
                    <a:pt x="54" y="62"/>
                  </a:cubicBezTo>
                  <a:cubicBezTo>
                    <a:pt x="57" y="50"/>
                    <a:pt x="60" y="50"/>
                    <a:pt x="72" y="48"/>
                  </a:cubicBezTo>
                  <a:cubicBezTo>
                    <a:pt x="73" y="36"/>
                    <a:pt x="65" y="19"/>
                    <a:pt x="74" y="12"/>
                  </a:cubicBezTo>
                  <a:cubicBezTo>
                    <a:pt x="81" y="4"/>
                    <a:pt x="104" y="12"/>
                    <a:pt x="118" y="12"/>
                  </a:cubicBezTo>
                  <a:cubicBezTo>
                    <a:pt x="128" y="10"/>
                    <a:pt x="127" y="0"/>
                    <a:pt x="134" y="0"/>
                  </a:cubicBezTo>
                  <a:cubicBezTo>
                    <a:pt x="141" y="0"/>
                    <a:pt x="151" y="10"/>
                    <a:pt x="158" y="14"/>
                  </a:cubicBezTo>
                  <a:cubicBezTo>
                    <a:pt x="163" y="22"/>
                    <a:pt x="167" y="24"/>
                    <a:pt x="176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0" name="Freeform 41"/>
            <p:cNvSpPr>
              <a:spLocks/>
            </p:cNvSpPr>
            <p:nvPr>
              <p:custDataLst>
                <p:tags r:id="rId36"/>
              </p:custDataLst>
            </p:nvPr>
          </p:nvSpPr>
          <p:spPr bwMode="gray">
            <a:xfrm>
              <a:off x="5685641" y="3663864"/>
              <a:ext cx="194381" cy="212187"/>
            </a:xfrm>
            <a:custGeom>
              <a:avLst/>
              <a:gdLst>
                <a:gd name="T0" fmla="*/ 53 w 120"/>
                <a:gd name="T1" fmla="*/ 37 h 131"/>
                <a:gd name="T2" fmla="*/ 69 w 120"/>
                <a:gd name="T3" fmla="*/ 0 h 131"/>
                <a:gd name="T4" fmla="*/ 113 w 120"/>
                <a:gd name="T5" fmla="*/ 22 h 131"/>
                <a:gd name="T6" fmla="*/ 120 w 120"/>
                <a:gd name="T7" fmla="*/ 40 h 131"/>
                <a:gd name="T8" fmla="*/ 111 w 120"/>
                <a:gd name="T9" fmla="*/ 64 h 131"/>
                <a:gd name="T10" fmla="*/ 90 w 120"/>
                <a:gd name="T11" fmla="*/ 75 h 131"/>
                <a:gd name="T12" fmla="*/ 75 w 120"/>
                <a:gd name="T13" fmla="*/ 99 h 131"/>
                <a:gd name="T14" fmla="*/ 51 w 120"/>
                <a:gd name="T15" fmla="*/ 118 h 131"/>
                <a:gd name="T16" fmla="*/ 30 w 120"/>
                <a:gd name="T17" fmla="*/ 127 h 131"/>
                <a:gd name="T18" fmla="*/ 14 w 120"/>
                <a:gd name="T19" fmla="*/ 120 h 131"/>
                <a:gd name="T20" fmla="*/ 3 w 120"/>
                <a:gd name="T21" fmla="*/ 102 h 131"/>
                <a:gd name="T22" fmla="*/ 26 w 120"/>
                <a:gd name="T23" fmla="*/ 88 h 131"/>
                <a:gd name="T24" fmla="*/ 41 w 120"/>
                <a:gd name="T25" fmla="*/ 75 h 131"/>
                <a:gd name="T26" fmla="*/ 53 w 120"/>
                <a:gd name="T27" fmla="*/ 37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0" h="131">
                  <a:moveTo>
                    <a:pt x="53" y="37"/>
                  </a:moveTo>
                  <a:cubicBezTo>
                    <a:pt x="55" y="24"/>
                    <a:pt x="58" y="9"/>
                    <a:pt x="69" y="0"/>
                  </a:cubicBezTo>
                  <a:cubicBezTo>
                    <a:pt x="76" y="20"/>
                    <a:pt x="95" y="19"/>
                    <a:pt x="113" y="22"/>
                  </a:cubicBezTo>
                  <a:cubicBezTo>
                    <a:pt x="114" y="31"/>
                    <a:pt x="115" y="33"/>
                    <a:pt x="120" y="40"/>
                  </a:cubicBezTo>
                  <a:cubicBezTo>
                    <a:pt x="119" y="51"/>
                    <a:pt x="117" y="55"/>
                    <a:pt x="111" y="64"/>
                  </a:cubicBezTo>
                  <a:cubicBezTo>
                    <a:pt x="109" y="74"/>
                    <a:pt x="99" y="73"/>
                    <a:pt x="90" y="75"/>
                  </a:cubicBezTo>
                  <a:cubicBezTo>
                    <a:pt x="87" y="91"/>
                    <a:pt x="93" y="96"/>
                    <a:pt x="75" y="99"/>
                  </a:cubicBezTo>
                  <a:cubicBezTo>
                    <a:pt x="74" y="108"/>
                    <a:pt x="61" y="116"/>
                    <a:pt x="51" y="118"/>
                  </a:cubicBezTo>
                  <a:cubicBezTo>
                    <a:pt x="43" y="122"/>
                    <a:pt x="39" y="126"/>
                    <a:pt x="30" y="127"/>
                  </a:cubicBezTo>
                  <a:cubicBezTo>
                    <a:pt x="22" y="131"/>
                    <a:pt x="20" y="124"/>
                    <a:pt x="14" y="120"/>
                  </a:cubicBezTo>
                  <a:cubicBezTo>
                    <a:pt x="10" y="113"/>
                    <a:pt x="7" y="109"/>
                    <a:pt x="3" y="102"/>
                  </a:cubicBezTo>
                  <a:cubicBezTo>
                    <a:pt x="0" y="88"/>
                    <a:pt x="16" y="89"/>
                    <a:pt x="26" y="88"/>
                  </a:cubicBezTo>
                  <a:cubicBezTo>
                    <a:pt x="32" y="83"/>
                    <a:pt x="33" y="77"/>
                    <a:pt x="41" y="75"/>
                  </a:cubicBezTo>
                  <a:cubicBezTo>
                    <a:pt x="56" y="64"/>
                    <a:pt x="54" y="59"/>
                    <a:pt x="53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1" name="Freeform 42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5674302" y="3612031"/>
              <a:ext cx="127968" cy="118242"/>
            </a:xfrm>
            <a:custGeom>
              <a:avLst/>
              <a:gdLst>
                <a:gd name="T0" fmla="*/ 7 w 78"/>
                <a:gd name="T1" fmla="*/ 44 h 73"/>
                <a:gd name="T2" fmla="*/ 43 w 78"/>
                <a:gd name="T3" fmla="*/ 39 h 73"/>
                <a:gd name="T4" fmla="*/ 59 w 78"/>
                <a:gd name="T5" fmla="*/ 18 h 73"/>
                <a:gd name="T6" fmla="*/ 74 w 78"/>
                <a:gd name="T7" fmla="*/ 0 h 73"/>
                <a:gd name="T8" fmla="*/ 76 w 78"/>
                <a:gd name="T9" fmla="*/ 32 h 73"/>
                <a:gd name="T10" fmla="*/ 67 w 78"/>
                <a:gd name="T11" fmla="*/ 38 h 73"/>
                <a:gd name="T12" fmla="*/ 64 w 78"/>
                <a:gd name="T13" fmla="*/ 54 h 73"/>
                <a:gd name="T14" fmla="*/ 53 w 78"/>
                <a:gd name="T15" fmla="*/ 69 h 73"/>
                <a:gd name="T16" fmla="*/ 14 w 78"/>
                <a:gd name="T17" fmla="*/ 66 h 73"/>
                <a:gd name="T18" fmla="*/ 5 w 78"/>
                <a:gd name="T19" fmla="*/ 57 h 73"/>
                <a:gd name="T20" fmla="*/ 4 w 78"/>
                <a:gd name="T21" fmla="*/ 47 h 73"/>
                <a:gd name="T22" fmla="*/ 7 w 78"/>
                <a:gd name="T23" fmla="*/ 44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8" h="73">
                  <a:moveTo>
                    <a:pt x="7" y="44"/>
                  </a:moveTo>
                  <a:cubicBezTo>
                    <a:pt x="21" y="34"/>
                    <a:pt x="3" y="46"/>
                    <a:pt x="43" y="39"/>
                  </a:cubicBezTo>
                  <a:cubicBezTo>
                    <a:pt x="47" y="38"/>
                    <a:pt x="55" y="21"/>
                    <a:pt x="59" y="18"/>
                  </a:cubicBezTo>
                  <a:cubicBezTo>
                    <a:pt x="65" y="19"/>
                    <a:pt x="76" y="3"/>
                    <a:pt x="74" y="0"/>
                  </a:cubicBezTo>
                  <a:cubicBezTo>
                    <a:pt x="75" y="1"/>
                    <a:pt x="76" y="31"/>
                    <a:pt x="76" y="32"/>
                  </a:cubicBezTo>
                  <a:cubicBezTo>
                    <a:pt x="72" y="48"/>
                    <a:pt x="78" y="36"/>
                    <a:pt x="67" y="38"/>
                  </a:cubicBezTo>
                  <a:cubicBezTo>
                    <a:pt x="65" y="42"/>
                    <a:pt x="66" y="49"/>
                    <a:pt x="64" y="54"/>
                  </a:cubicBezTo>
                  <a:cubicBezTo>
                    <a:pt x="62" y="59"/>
                    <a:pt x="61" y="67"/>
                    <a:pt x="53" y="69"/>
                  </a:cubicBezTo>
                  <a:cubicBezTo>
                    <a:pt x="45" y="73"/>
                    <a:pt x="22" y="68"/>
                    <a:pt x="14" y="66"/>
                  </a:cubicBezTo>
                  <a:cubicBezTo>
                    <a:pt x="6" y="64"/>
                    <a:pt x="7" y="60"/>
                    <a:pt x="5" y="57"/>
                  </a:cubicBezTo>
                  <a:cubicBezTo>
                    <a:pt x="3" y="53"/>
                    <a:pt x="0" y="51"/>
                    <a:pt x="4" y="47"/>
                  </a:cubicBezTo>
                  <a:cubicBezTo>
                    <a:pt x="7" y="44"/>
                    <a:pt x="9" y="46"/>
                    <a:pt x="7" y="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2" name="Freeform 43"/>
            <p:cNvSpPr>
              <a:spLocks/>
            </p:cNvSpPr>
            <p:nvPr>
              <p:custDataLst>
                <p:tags r:id="rId38"/>
              </p:custDataLst>
            </p:nvPr>
          </p:nvSpPr>
          <p:spPr bwMode="gray">
            <a:xfrm>
              <a:off x="5641905" y="3626609"/>
              <a:ext cx="50216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3" name="Freeform 232"/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4712117" y="4417045"/>
              <a:ext cx="301290" cy="307752"/>
            </a:xfrm>
            <a:custGeom>
              <a:avLst/>
              <a:gdLst>
                <a:gd name="T0" fmla="*/ 0 w 183"/>
                <a:gd name="T1" fmla="*/ 174 h 190"/>
                <a:gd name="T2" fmla="*/ 10 w 183"/>
                <a:gd name="T3" fmla="*/ 129 h 190"/>
                <a:gd name="T4" fmla="*/ 15 w 183"/>
                <a:gd name="T5" fmla="*/ 112 h 190"/>
                <a:gd name="T6" fmla="*/ 28 w 183"/>
                <a:gd name="T7" fmla="*/ 97 h 190"/>
                <a:gd name="T8" fmla="*/ 22 w 183"/>
                <a:gd name="T9" fmla="*/ 69 h 190"/>
                <a:gd name="T10" fmla="*/ 22 w 183"/>
                <a:gd name="T11" fmla="*/ 34 h 190"/>
                <a:gd name="T12" fmla="*/ 12 w 183"/>
                <a:gd name="T13" fmla="*/ 16 h 190"/>
                <a:gd name="T14" fmla="*/ 30 w 183"/>
                <a:gd name="T15" fmla="*/ 4 h 190"/>
                <a:gd name="T16" fmla="*/ 60 w 183"/>
                <a:gd name="T17" fmla="*/ 1 h 190"/>
                <a:gd name="T18" fmla="*/ 70 w 183"/>
                <a:gd name="T19" fmla="*/ 3 h 190"/>
                <a:gd name="T20" fmla="*/ 79 w 183"/>
                <a:gd name="T21" fmla="*/ 28 h 190"/>
                <a:gd name="T22" fmla="*/ 103 w 183"/>
                <a:gd name="T23" fmla="*/ 31 h 190"/>
                <a:gd name="T24" fmla="*/ 123 w 183"/>
                <a:gd name="T25" fmla="*/ 25 h 190"/>
                <a:gd name="T26" fmla="*/ 144 w 183"/>
                <a:gd name="T27" fmla="*/ 30 h 190"/>
                <a:gd name="T28" fmla="*/ 151 w 183"/>
                <a:gd name="T29" fmla="*/ 42 h 190"/>
                <a:gd name="T30" fmla="*/ 150 w 183"/>
                <a:gd name="T31" fmla="*/ 58 h 190"/>
                <a:gd name="T32" fmla="*/ 157 w 183"/>
                <a:gd name="T33" fmla="*/ 78 h 190"/>
                <a:gd name="T34" fmla="*/ 180 w 183"/>
                <a:gd name="T35" fmla="*/ 81 h 190"/>
                <a:gd name="T36" fmla="*/ 175 w 183"/>
                <a:gd name="T37" fmla="*/ 103 h 190"/>
                <a:gd name="T38" fmla="*/ 151 w 183"/>
                <a:gd name="T39" fmla="*/ 109 h 190"/>
                <a:gd name="T40" fmla="*/ 145 w 183"/>
                <a:gd name="T41" fmla="*/ 139 h 190"/>
                <a:gd name="T42" fmla="*/ 151 w 183"/>
                <a:gd name="T43" fmla="*/ 178 h 190"/>
                <a:gd name="T44" fmla="*/ 97 w 183"/>
                <a:gd name="T45" fmla="*/ 180 h 190"/>
                <a:gd name="T46" fmla="*/ 37 w 183"/>
                <a:gd name="T47" fmla="*/ 183 h 190"/>
                <a:gd name="T48" fmla="*/ 0 w 183"/>
                <a:gd name="T49" fmla="*/ 174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83" h="190">
                  <a:moveTo>
                    <a:pt x="0" y="174"/>
                  </a:moveTo>
                  <a:cubicBezTo>
                    <a:pt x="1" y="156"/>
                    <a:pt x="0" y="143"/>
                    <a:pt x="10" y="129"/>
                  </a:cubicBezTo>
                  <a:cubicBezTo>
                    <a:pt x="8" y="120"/>
                    <a:pt x="6" y="118"/>
                    <a:pt x="15" y="112"/>
                  </a:cubicBezTo>
                  <a:cubicBezTo>
                    <a:pt x="19" y="107"/>
                    <a:pt x="23" y="101"/>
                    <a:pt x="28" y="97"/>
                  </a:cubicBezTo>
                  <a:cubicBezTo>
                    <a:pt x="26" y="87"/>
                    <a:pt x="28" y="77"/>
                    <a:pt x="22" y="69"/>
                  </a:cubicBezTo>
                  <a:cubicBezTo>
                    <a:pt x="20" y="57"/>
                    <a:pt x="20" y="47"/>
                    <a:pt x="22" y="34"/>
                  </a:cubicBezTo>
                  <a:cubicBezTo>
                    <a:pt x="17" y="28"/>
                    <a:pt x="19" y="21"/>
                    <a:pt x="12" y="16"/>
                  </a:cubicBezTo>
                  <a:cubicBezTo>
                    <a:pt x="13" y="10"/>
                    <a:pt x="22" y="6"/>
                    <a:pt x="30" y="4"/>
                  </a:cubicBezTo>
                  <a:cubicBezTo>
                    <a:pt x="38" y="2"/>
                    <a:pt x="53" y="1"/>
                    <a:pt x="60" y="1"/>
                  </a:cubicBezTo>
                  <a:cubicBezTo>
                    <a:pt x="63" y="2"/>
                    <a:pt x="68" y="0"/>
                    <a:pt x="70" y="3"/>
                  </a:cubicBezTo>
                  <a:cubicBezTo>
                    <a:pt x="73" y="6"/>
                    <a:pt x="74" y="23"/>
                    <a:pt x="79" y="28"/>
                  </a:cubicBezTo>
                  <a:cubicBezTo>
                    <a:pt x="84" y="33"/>
                    <a:pt x="96" y="32"/>
                    <a:pt x="103" y="31"/>
                  </a:cubicBezTo>
                  <a:cubicBezTo>
                    <a:pt x="118" y="29"/>
                    <a:pt x="112" y="33"/>
                    <a:pt x="123" y="25"/>
                  </a:cubicBezTo>
                  <a:cubicBezTo>
                    <a:pt x="133" y="26"/>
                    <a:pt x="139" y="21"/>
                    <a:pt x="144" y="30"/>
                  </a:cubicBezTo>
                  <a:cubicBezTo>
                    <a:pt x="149" y="34"/>
                    <a:pt x="150" y="37"/>
                    <a:pt x="151" y="42"/>
                  </a:cubicBezTo>
                  <a:cubicBezTo>
                    <a:pt x="152" y="47"/>
                    <a:pt x="149" y="52"/>
                    <a:pt x="150" y="58"/>
                  </a:cubicBezTo>
                  <a:cubicBezTo>
                    <a:pt x="153" y="65"/>
                    <a:pt x="152" y="74"/>
                    <a:pt x="157" y="78"/>
                  </a:cubicBezTo>
                  <a:cubicBezTo>
                    <a:pt x="162" y="82"/>
                    <a:pt x="177" y="77"/>
                    <a:pt x="180" y="81"/>
                  </a:cubicBezTo>
                  <a:cubicBezTo>
                    <a:pt x="183" y="85"/>
                    <a:pt x="180" y="98"/>
                    <a:pt x="175" y="103"/>
                  </a:cubicBezTo>
                  <a:cubicBezTo>
                    <a:pt x="168" y="107"/>
                    <a:pt x="159" y="108"/>
                    <a:pt x="151" y="109"/>
                  </a:cubicBezTo>
                  <a:cubicBezTo>
                    <a:pt x="146" y="115"/>
                    <a:pt x="145" y="128"/>
                    <a:pt x="145" y="139"/>
                  </a:cubicBezTo>
                  <a:cubicBezTo>
                    <a:pt x="145" y="150"/>
                    <a:pt x="159" y="171"/>
                    <a:pt x="151" y="178"/>
                  </a:cubicBezTo>
                  <a:cubicBezTo>
                    <a:pt x="143" y="190"/>
                    <a:pt x="118" y="179"/>
                    <a:pt x="97" y="180"/>
                  </a:cubicBezTo>
                  <a:cubicBezTo>
                    <a:pt x="77" y="170"/>
                    <a:pt x="59" y="185"/>
                    <a:pt x="37" y="183"/>
                  </a:cubicBezTo>
                  <a:cubicBezTo>
                    <a:pt x="19" y="176"/>
                    <a:pt x="31" y="167"/>
                    <a:pt x="0" y="17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4" name="Freeform 233"/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639224" y="4000770"/>
              <a:ext cx="174943" cy="236483"/>
            </a:xfrm>
            <a:custGeom>
              <a:avLst/>
              <a:gdLst>
                <a:gd name="T0" fmla="*/ 17 w 106"/>
                <a:gd name="T1" fmla="*/ 143 h 146"/>
                <a:gd name="T2" fmla="*/ 6 w 106"/>
                <a:gd name="T3" fmla="*/ 119 h 146"/>
                <a:gd name="T4" fmla="*/ 0 w 106"/>
                <a:gd name="T5" fmla="*/ 96 h 146"/>
                <a:gd name="T6" fmla="*/ 17 w 106"/>
                <a:gd name="T7" fmla="*/ 77 h 146"/>
                <a:gd name="T8" fmla="*/ 30 w 106"/>
                <a:gd name="T9" fmla="*/ 68 h 146"/>
                <a:gd name="T10" fmla="*/ 42 w 106"/>
                <a:gd name="T11" fmla="*/ 72 h 146"/>
                <a:gd name="T12" fmla="*/ 54 w 106"/>
                <a:gd name="T13" fmla="*/ 47 h 146"/>
                <a:gd name="T14" fmla="*/ 62 w 106"/>
                <a:gd name="T15" fmla="*/ 33 h 146"/>
                <a:gd name="T16" fmla="*/ 68 w 106"/>
                <a:gd name="T17" fmla="*/ 18 h 146"/>
                <a:gd name="T18" fmla="*/ 80 w 106"/>
                <a:gd name="T19" fmla="*/ 2 h 146"/>
                <a:gd name="T20" fmla="*/ 89 w 106"/>
                <a:gd name="T21" fmla="*/ 6 h 146"/>
                <a:gd name="T22" fmla="*/ 96 w 106"/>
                <a:gd name="T23" fmla="*/ 18 h 146"/>
                <a:gd name="T24" fmla="*/ 83 w 106"/>
                <a:gd name="T25" fmla="*/ 27 h 146"/>
                <a:gd name="T26" fmla="*/ 98 w 106"/>
                <a:gd name="T27" fmla="*/ 60 h 146"/>
                <a:gd name="T28" fmla="*/ 89 w 106"/>
                <a:gd name="T29" fmla="*/ 72 h 146"/>
                <a:gd name="T30" fmla="*/ 92 w 106"/>
                <a:gd name="T31" fmla="*/ 98 h 146"/>
                <a:gd name="T32" fmla="*/ 96 w 106"/>
                <a:gd name="T33" fmla="*/ 113 h 146"/>
                <a:gd name="T34" fmla="*/ 95 w 106"/>
                <a:gd name="T35" fmla="*/ 120 h 146"/>
                <a:gd name="T36" fmla="*/ 104 w 106"/>
                <a:gd name="T37" fmla="*/ 126 h 146"/>
                <a:gd name="T38" fmla="*/ 80 w 106"/>
                <a:gd name="T39" fmla="*/ 140 h 146"/>
                <a:gd name="T40" fmla="*/ 17 w 106"/>
                <a:gd name="T41" fmla="*/ 143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6" h="146">
                  <a:moveTo>
                    <a:pt x="17" y="143"/>
                  </a:moveTo>
                  <a:cubicBezTo>
                    <a:pt x="15" y="127"/>
                    <a:pt x="20" y="122"/>
                    <a:pt x="6" y="119"/>
                  </a:cubicBezTo>
                  <a:cubicBezTo>
                    <a:pt x="2" y="112"/>
                    <a:pt x="0" y="96"/>
                    <a:pt x="0" y="96"/>
                  </a:cubicBezTo>
                  <a:cubicBezTo>
                    <a:pt x="2" y="78"/>
                    <a:pt x="0" y="79"/>
                    <a:pt x="17" y="77"/>
                  </a:cubicBezTo>
                  <a:cubicBezTo>
                    <a:pt x="21" y="70"/>
                    <a:pt x="22" y="69"/>
                    <a:pt x="30" y="68"/>
                  </a:cubicBezTo>
                  <a:cubicBezTo>
                    <a:pt x="36" y="72"/>
                    <a:pt x="36" y="77"/>
                    <a:pt x="42" y="72"/>
                  </a:cubicBezTo>
                  <a:cubicBezTo>
                    <a:pt x="47" y="57"/>
                    <a:pt x="42" y="56"/>
                    <a:pt x="54" y="47"/>
                  </a:cubicBezTo>
                  <a:cubicBezTo>
                    <a:pt x="57" y="40"/>
                    <a:pt x="55" y="37"/>
                    <a:pt x="62" y="33"/>
                  </a:cubicBezTo>
                  <a:cubicBezTo>
                    <a:pt x="63" y="27"/>
                    <a:pt x="66" y="24"/>
                    <a:pt x="68" y="18"/>
                  </a:cubicBezTo>
                  <a:cubicBezTo>
                    <a:pt x="69" y="1"/>
                    <a:pt x="69" y="9"/>
                    <a:pt x="80" y="2"/>
                  </a:cubicBezTo>
                  <a:cubicBezTo>
                    <a:pt x="84" y="0"/>
                    <a:pt x="86" y="3"/>
                    <a:pt x="89" y="6"/>
                  </a:cubicBezTo>
                  <a:cubicBezTo>
                    <a:pt x="92" y="9"/>
                    <a:pt x="97" y="15"/>
                    <a:pt x="96" y="18"/>
                  </a:cubicBezTo>
                  <a:cubicBezTo>
                    <a:pt x="90" y="21"/>
                    <a:pt x="90" y="26"/>
                    <a:pt x="83" y="27"/>
                  </a:cubicBezTo>
                  <a:cubicBezTo>
                    <a:pt x="83" y="34"/>
                    <a:pt x="97" y="53"/>
                    <a:pt x="98" y="60"/>
                  </a:cubicBezTo>
                  <a:cubicBezTo>
                    <a:pt x="99" y="67"/>
                    <a:pt x="90" y="66"/>
                    <a:pt x="89" y="72"/>
                  </a:cubicBezTo>
                  <a:cubicBezTo>
                    <a:pt x="87" y="80"/>
                    <a:pt x="92" y="92"/>
                    <a:pt x="92" y="98"/>
                  </a:cubicBezTo>
                  <a:cubicBezTo>
                    <a:pt x="93" y="105"/>
                    <a:pt x="96" y="109"/>
                    <a:pt x="96" y="113"/>
                  </a:cubicBezTo>
                  <a:cubicBezTo>
                    <a:pt x="97" y="121"/>
                    <a:pt x="94" y="118"/>
                    <a:pt x="95" y="120"/>
                  </a:cubicBezTo>
                  <a:cubicBezTo>
                    <a:pt x="96" y="122"/>
                    <a:pt x="106" y="123"/>
                    <a:pt x="104" y="126"/>
                  </a:cubicBezTo>
                  <a:cubicBezTo>
                    <a:pt x="101" y="146"/>
                    <a:pt x="100" y="141"/>
                    <a:pt x="80" y="140"/>
                  </a:cubicBezTo>
                  <a:cubicBezTo>
                    <a:pt x="57" y="131"/>
                    <a:pt x="77" y="138"/>
                    <a:pt x="17" y="1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5" name="Freeform 234"/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4485339" y="3950559"/>
              <a:ext cx="293192" cy="218666"/>
            </a:xfrm>
            <a:custGeom>
              <a:avLst/>
              <a:gdLst>
                <a:gd name="T0" fmla="*/ 88 w 178"/>
                <a:gd name="T1" fmla="*/ 130 h 135"/>
                <a:gd name="T2" fmla="*/ 48 w 178"/>
                <a:gd name="T3" fmla="*/ 132 h 135"/>
                <a:gd name="T4" fmla="*/ 33 w 178"/>
                <a:gd name="T5" fmla="*/ 109 h 135"/>
                <a:gd name="T6" fmla="*/ 6 w 178"/>
                <a:gd name="T7" fmla="*/ 102 h 135"/>
                <a:gd name="T8" fmla="*/ 15 w 178"/>
                <a:gd name="T9" fmla="*/ 61 h 135"/>
                <a:gd name="T10" fmla="*/ 19 w 178"/>
                <a:gd name="T11" fmla="*/ 24 h 135"/>
                <a:gd name="T12" fmla="*/ 25 w 178"/>
                <a:gd name="T13" fmla="*/ 6 h 135"/>
                <a:gd name="T14" fmla="*/ 31 w 178"/>
                <a:gd name="T15" fmla="*/ 3 h 135"/>
                <a:gd name="T16" fmla="*/ 45 w 178"/>
                <a:gd name="T17" fmla="*/ 0 h 135"/>
                <a:gd name="T18" fmla="*/ 70 w 178"/>
                <a:gd name="T19" fmla="*/ 4 h 135"/>
                <a:gd name="T20" fmla="*/ 90 w 178"/>
                <a:gd name="T21" fmla="*/ 9 h 135"/>
                <a:gd name="T22" fmla="*/ 99 w 178"/>
                <a:gd name="T23" fmla="*/ 9 h 135"/>
                <a:gd name="T24" fmla="*/ 115 w 178"/>
                <a:gd name="T25" fmla="*/ 4 h 135"/>
                <a:gd name="T26" fmla="*/ 133 w 178"/>
                <a:gd name="T27" fmla="*/ 3 h 135"/>
                <a:gd name="T28" fmla="*/ 148 w 178"/>
                <a:gd name="T29" fmla="*/ 6 h 135"/>
                <a:gd name="T30" fmla="*/ 160 w 178"/>
                <a:gd name="T31" fmla="*/ 4 h 135"/>
                <a:gd name="T32" fmla="*/ 171 w 178"/>
                <a:gd name="T33" fmla="*/ 13 h 135"/>
                <a:gd name="T34" fmla="*/ 178 w 178"/>
                <a:gd name="T35" fmla="*/ 27 h 135"/>
                <a:gd name="T36" fmla="*/ 166 w 178"/>
                <a:gd name="T37" fmla="*/ 37 h 135"/>
                <a:gd name="T38" fmla="*/ 160 w 178"/>
                <a:gd name="T39" fmla="*/ 52 h 135"/>
                <a:gd name="T40" fmla="*/ 156 w 178"/>
                <a:gd name="T41" fmla="*/ 63 h 135"/>
                <a:gd name="T42" fmla="*/ 151 w 178"/>
                <a:gd name="T43" fmla="*/ 78 h 135"/>
                <a:gd name="T44" fmla="*/ 141 w 178"/>
                <a:gd name="T45" fmla="*/ 85 h 135"/>
                <a:gd name="T46" fmla="*/ 136 w 178"/>
                <a:gd name="T47" fmla="*/ 100 h 135"/>
                <a:gd name="T48" fmla="*/ 121 w 178"/>
                <a:gd name="T49" fmla="*/ 103 h 135"/>
                <a:gd name="T50" fmla="*/ 109 w 178"/>
                <a:gd name="T51" fmla="*/ 105 h 135"/>
                <a:gd name="T52" fmla="*/ 94 w 178"/>
                <a:gd name="T53" fmla="*/ 112 h 135"/>
                <a:gd name="T54" fmla="*/ 88 w 178"/>
                <a:gd name="T55" fmla="*/ 130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78" h="135">
                  <a:moveTo>
                    <a:pt x="88" y="130"/>
                  </a:moveTo>
                  <a:cubicBezTo>
                    <a:pt x="65" y="135"/>
                    <a:pt x="78" y="133"/>
                    <a:pt x="48" y="132"/>
                  </a:cubicBezTo>
                  <a:cubicBezTo>
                    <a:pt x="46" y="113"/>
                    <a:pt x="49" y="113"/>
                    <a:pt x="33" y="109"/>
                  </a:cubicBezTo>
                  <a:cubicBezTo>
                    <a:pt x="26" y="100"/>
                    <a:pt x="18" y="103"/>
                    <a:pt x="6" y="102"/>
                  </a:cubicBezTo>
                  <a:cubicBezTo>
                    <a:pt x="7" y="82"/>
                    <a:pt x="0" y="70"/>
                    <a:pt x="15" y="61"/>
                  </a:cubicBezTo>
                  <a:cubicBezTo>
                    <a:pt x="24" y="50"/>
                    <a:pt x="14" y="37"/>
                    <a:pt x="19" y="24"/>
                  </a:cubicBezTo>
                  <a:cubicBezTo>
                    <a:pt x="21" y="15"/>
                    <a:pt x="21" y="10"/>
                    <a:pt x="25" y="6"/>
                  </a:cubicBezTo>
                  <a:cubicBezTo>
                    <a:pt x="27" y="3"/>
                    <a:pt x="28" y="4"/>
                    <a:pt x="31" y="3"/>
                  </a:cubicBezTo>
                  <a:cubicBezTo>
                    <a:pt x="34" y="2"/>
                    <a:pt x="39" y="0"/>
                    <a:pt x="45" y="0"/>
                  </a:cubicBezTo>
                  <a:cubicBezTo>
                    <a:pt x="52" y="0"/>
                    <a:pt x="63" y="3"/>
                    <a:pt x="70" y="4"/>
                  </a:cubicBezTo>
                  <a:cubicBezTo>
                    <a:pt x="77" y="6"/>
                    <a:pt x="85" y="8"/>
                    <a:pt x="90" y="9"/>
                  </a:cubicBezTo>
                  <a:cubicBezTo>
                    <a:pt x="95" y="10"/>
                    <a:pt x="95" y="10"/>
                    <a:pt x="99" y="9"/>
                  </a:cubicBezTo>
                  <a:cubicBezTo>
                    <a:pt x="103" y="9"/>
                    <a:pt x="109" y="4"/>
                    <a:pt x="115" y="4"/>
                  </a:cubicBezTo>
                  <a:cubicBezTo>
                    <a:pt x="121" y="3"/>
                    <a:pt x="128" y="3"/>
                    <a:pt x="133" y="3"/>
                  </a:cubicBezTo>
                  <a:cubicBezTo>
                    <a:pt x="141" y="2"/>
                    <a:pt x="144" y="6"/>
                    <a:pt x="148" y="6"/>
                  </a:cubicBezTo>
                  <a:cubicBezTo>
                    <a:pt x="152" y="6"/>
                    <a:pt x="156" y="3"/>
                    <a:pt x="160" y="4"/>
                  </a:cubicBezTo>
                  <a:cubicBezTo>
                    <a:pt x="164" y="5"/>
                    <a:pt x="168" y="9"/>
                    <a:pt x="171" y="13"/>
                  </a:cubicBezTo>
                  <a:cubicBezTo>
                    <a:pt x="172" y="20"/>
                    <a:pt x="172" y="23"/>
                    <a:pt x="178" y="27"/>
                  </a:cubicBezTo>
                  <a:cubicBezTo>
                    <a:pt x="174" y="32"/>
                    <a:pt x="171" y="34"/>
                    <a:pt x="166" y="37"/>
                  </a:cubicBezTo>
                  <a:cubicBezTo>
                    <a:pt x="165" y="43"/>
                    <a:pt x="164" y="47"/>
                    <a:pt x="160" y="52"/>
                  </a:cubicBezTo>
                  <a:cubicBezTo>
                    <a:pt x="159" y="59"/>
                    <a:pt x="162" y="59"/>
                    <a:pt x="156" y="63"/>
                  </a:cubicBezTo>
                  <a:cubicBezTo>
                    <a:pt x="155" y="69"/>
                    <a:pt x="153" y="73"/>
                    <a:pt x="151" y="78"/>
                  </a:cubicBezTo>
                  <a:cubicBezTo>
                    <a:pt x="149" y="83"/>
                    <a:pt x="143" y="81"/>
                    <a:pt x="141" y="85"/>
                  </a:cubicBezTo>
                  <a:cubicBezTo>
                    <a:pt x="139" y="89"/>
                    <a:pt x="139" y="97"/>
                    <a:pt x="136" y="100"/>
                  </a:cubicBezTo>
                  <a:cubicBezTo>
                    <a:pt x="131" y="110"/>
                    <a:pt x="136" y="106"/>
                    <a:pt x="121" y="103"/>
                  </a:cubicBezTo>
                  <a:cubicBezTo>
                    <a:pt x="115" y="99"/>
                    <a:pt x="116" y="104"/>
                    <a:pt x="109" y="105"/>
                  </a:cubicBezTo>
                  <a:cubicBezTo>
                    <a:pt x="108" y="112"/>
                    <a:pt x="101" y="111"/>
                    <a:pt x="94" y="112"/>
                  </a:cubicBezTo>
                  <a:cubicBezTo>
                    <a:pt x="93" y="125"/>
                    <a:pt x="92" y="124"/>
                    <a:pt x="88" y="13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6" name="Freeform 50"/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33075" y="4005630"/>
              <a:ext cx="106909" cy="152256"/>
            </a:xfrm>
            <a:custGeom>
              <a:avLst/>
              <a:gdLst>
                <a:gd name="T0" fmla="*/ 65 w 65"/>
                <a:gd name="T1" fmla="*/ 0 h 94"/>
                <a:gd name="T2" fmla="*/ 14 w 65"/>
                <a:gd name="T3" fmla="*/ 6 h 94"/>
                <a:gd name="T4" fmla="*/ 18 w 65"/>
                <a:gd name="T5" fmla="*/ 48 h 94"/>
                <a:gd name="T6" fmla="*/ 10 w 65"/>
                <a:gd name="T7" fmla="*/ 70 h 94"/>
                <a:gd name="T8" fmla="*/ 28 w 65"/>
                <a:gd name="T9" fmla="*/ 94 h 94"/>
                <a:gd name="T10" fmla="*/ 58 w 65"/>
                <a:gd name="T11" fmla="*/ 86 h 94"/>
                <a:gd name="T12" fmla="*/ 57 w 65"/>
                <a:gd name="T13" fmla="*/ 50 h 94"/>
                <a:gd name="T14" fmla="*/ 51 w 65"/>
                <a:gd name="T15" fmla="*/ 23 h 94"/>
                <a:gd name="T16" fmla="*/ 65 w 65"/>
                <a:gd name="T17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" h="94">
                  <a:moveTo>
                    <a:pt x="65" y="0"/>
                  </a:moveTo>
                  <a:cubicBezTo>
                    <a:pt x="48" y="1"/>
                    <a:pt x="31" y="3"/>
                    <a:pt x="14" y="6"/>
                  </a:cubicBezTo>
                  <a:cubicBezTo>
                    <a:pt x="0" y="8"/>
                    <a:pt x="18" y="48"/>
                    <a:pt x="18" y="48"/>
                  </a:cubicBezTo>
                  <a:cubicBezTo>
                    <a:pt x="15" y="56"/>
                    <a:pt x="12" y="61"/>
                    <a:pt x="10" y="70"/>
                  </a:cubicBezTo>
                  <a:cubicBezTo>
                    <a:pt x="12" y="83"/>
                    <a:pt x="16" y="90"/>
                    <a:pt x="28" y="94"/>
                  </a:cubicBezTo>
                  <a:cubicBezTo>
                    <a:pt x="44" y="92"/>
                    <a:pt x="45" y="90"/>
                    <a:pt x="58" y="86"/>
                  </a:cubicBezTo>
                  <a:cubicBezTo>
                    <a:pt x="63" y="79"/>
                    <a:pt x="58" y="60"/>
                    <a:pt x="57" y="50"/>
                  </a:cubicBezTo>
                  <a:cubicBezTo>
                    <a:pt x="56" y="40"/>
                    <a:pt x="50" y="31"/>
                    <a:pt x="51" y="23"/>
                  </a:cubicBezTo>
                  <a:cubicBezTo>
                    <a:pt x="53" y="16"/>
                    <a:pt x="62" y="6"/>
                    <a:pt x="6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7" name="Freeform 51"/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4214826" y="4025067"/>
              <a:ext cx="157125" cy="145777"/>
            </a:xfrm>
            <a:custGeom>
              <a:avLst/>
              <a:gdLst>
                <a:gd name="T0" fmla="*/ 75 w 95"/>
                <a:gd name="T1" fmla="*/ 0 h 90"/>
                <a:gd name="T2" fmla="*/ 62 w 95"/>
                <a:gd name="T3" fmla="*/ 11 h 90"/>
                <a:gd name="T4" fmla="*/ 51 w 95"/>
                <a:gd name="T5" fmla="*/ 2 h 90"/>
                <a:gd name="T6" fmla="*/ 18 w 95"/>
                <a:gd name="T7" fmla="*/ 2 h 90"/>
                <a:gd name="T8" fmla="*/ 6 w 95"/>
                <a:gd name="T9" fmla="*/ 4 h 90"/>
                <a:gd name="T10" fmla="*/ 9 w 95"/>
                <a:gd name="T11" fmla="*/ 36 h 90"/>
                <a:gd name="T12" fmla="*/ 0 w 95"/>
                <a:gd name="T13" fmla="*/ 50 h 90"/>
                <a:gd name="T14" fmla="*/ 12 w 95"/>
                <a:gd name="T15" fmla="*/ 70 h 90"/>
                <a:gd name="T16" fmla="*/ 24 w 95"/>
                <a:gd name="T17" fmla="*/ 90 h 90"/>
                <a:gd name="T18" fmla="*/ 64 w 95"/>
                <a:gd name="T19" fmla="*/ 76 h 90"/>
                <a:gd name="T20" fmla="*/ 82 w 95"/>
                <a:gd name="T21" fmla="*/ 58 h 90"/>
                <a:gd name="T22" fmla="*/ 89 w 95"/>
                <a:gd name="T23" fmla="*/ 41 h 90"/>
                <a:gd name="T24" fmla="*/ 90 w 95"/>
                <a:gd name="T25" fmla="*/ 30 h 90"/>
                <a:gd name="T26" fmla="*/ 83 w 95"/>
                <a:gd name="T27" fmla="*/ 15 h 90"/>
                <a:gd name="T28" fmla="*/ 75 w 95"/>
                <a:gd name="T29" fmla="*/ 0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90">
                  <a:moveTo>
                    <a:pt x="75" y="0"/>
                  </a:moveTo>
                  <a:cubicBezTo>
                    <a:pt x="67" y="11"/>
                    <a:pt x="78" y="3"/>
                    <a:pt x="62" y="11"/>
                  </a:cubicBezTo>
                  <a:cubicBezTo>
                    <a:pt x="58" y="10"/>
                    <a:pt x="58" y="3"/>
                    <a:pt x="51" y="2"/>
                  </a:cubicBezTo>
                  <a:cubicBezTo>
                    <a:pt x="44" y="1"/>
                    <a:pt x="25" y="2"/>
                    <a:pt x="18" y="2"/>
                  </a:cubicBezTo>
                  <a:cubicBezTo>
                    <a:pt x="14" y="3"/>
                    <a:pt x="9" y="1"/>
                    <a:pt x="6" y="4"/>
                  </a:cubicBezTo>
                  <a:cubicBezTo>
                    <a:pt x="5" y="5"/>
                    <a:pt x="7" y="30"/>
                    <a:pt x="9" y="36"/>
                  </a:cubicBezTo>
                  <a:cubicBezTo>
                    <a:pt x="6" y="44"/>
                    <a:pt x="4" y="43"/>
                    <a:pt x="0" y="50"/>
                  </a:cubicBezTo>
                  <a:cubicBezTo>
                    <a:pt x="4" y="61"/>
                    <a:pt x="0" y="67"/>
                    <a:pt x="12" y="70"/>
                  </a:cubicBezTo>
                  <a:cubicBezTo>
                    <a:pt x="18" y="78"/>
                    <a:pt x="14" y="87"/>
                    <a:pt x="24" y="90"/>
                  </a:cubicBezTo>
                  <a:cubicBezTo>
                    <a:pt x="42" y="72"/>
                    <a:pt x="18" y="79"/>
                    <a:pt x="64" y="76"/>
                  </a:cubicBezTo>
                  <a:cubicBezTo>
                    <a:pt x="82" y="80"/>
                    <a:pt x="95" y="78"/>
                    <a:pt x="82" y="58"/>
                  </a:cubicBezTo>
                  <a:cubicBezTo>
                    <a:pt x="85" y="53"/>
                    <a:pt x="88" y="46"/>
                    <a:pt x="89" y="41"/>
                  </a:cubicBezTo>
                  <a:cubicBezTo>
                    <a:pt x="90" y="36"/>
                    <a:pt x="91" y="34"/>
                    <a:pt x="90" y="30"/>
                  </a:cubicBezTo>
                  <a:cubicBezTo>
                    <a:pt x="90" y="23"/>
                    <a:pt x="85" y="19"/>
                    <a:pt x="83" y="15"/>
                  </a:cubicBezTo>
                  <a:cubicBezTo>
                    <a:pt x="80" y="10"/>
                    <a:pt x="81" y="5"/>
                    <a:pt x="7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8" name="Freeform 52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4815786" y="4823601"/>
              <a:ext cx="401720" cy="359583"/>
            </a:xfrm>
            <a:custGeom>
              <a:avLst/>
              <a:gdLst>
                <a:gd name="T0" fmla="*/ 15 w 244"/>
                <a:gd name="T1" fmla="*/ 100 h 222"/>
                <a:gd name="T2" fmla="*/ 16 w 244"/>
                <a:gd name="T3" fmla="*/ 128 h 222"/>
                <a:gd name="T4" fmla="*/ 30 w 244"/>
                <a:gd name="T5" fmla="*/ 149 h 222"/>
                <a:gd name="T6" fmla="*/ 37 w 244"/>
                <a:gd name="T7" fmla="*/ 193 h 222"/>
                <a:gd name="T8" fmla="*/ 51 w 244"/>
                <a:gd name="T9" fmla="*/ 205 h 222"/>
                <a:gd name="T10" fmla="*/ 84 w 244"/>
                <a:gd name="T11" fmla="*/ 206 h 222"/>
                <a:gd name="T12" fmla="*/ 144 w 244"/>
                <a:gd name="T13" fmla="*/ 199 h 222"/>
                <a:gd name="T14" fmla="*/ 166 w 244"/>
                <a:gd name="T15" fmla="*/ 194 h 222"/>
                <a:gd name="T16" fmla="*/ 177 w 244"/>
                <a:gd name="T17" fmla="*/ 182 h 222"/>
                <a:gd name="T18" fmla="*/ 192 w 244"/>
                <a:gd name="T19" fmla="*/ 167 h 222"/>
                <a:gd name="T20" fmla="*/ 207 w 244"/>
                <a:gd name="T21" fmla="*/ 152 h 222"/>
                <a:gd name="T22" fmla="*/ 216 w 244"/>
                <a:gd name="T23" fmla="*/ 139 h 222"/>
                <a:gd name="T24" fmla="*/ 243 w 244"/>
                <a:gd name="T25" fmla="*/ 112 h 222"/>
                <a:gd name="T26" fmla="*/ 244 w 244"/>
                <a:gd name="T27" fmla="*/ 83 h 222"/>
                <a:gd name="T28" fmla="*/ 235 w 244"/>
                <a:gd name="T29" fmla="*/ 71 h 222"/>
                <a:gd name="T30" fmla="*/ 241 w 244"/>
                <a:gd name="T31" fmla="*/ 52 h 222"/>
                <a:gd name="T32" fmla="*/ 231 w 244"/>
                <a:gd name="T33" fmla="*/ 41 h 222"/>
                <a:gd name="T34" fmla="*/ 231 w 244"/>
                <a:gd name="T35" fmla="*/ 22 h 222"/>
                <a:gd name="T36" fmla="*/ 223 w 244"/>
                <a:gd name="T37" fmla="*/ 14 h 222"/>
                <a:gd name="T38" fmla="*/ 213 w 244"/>
                <a:gd name="T39" fmla="*/ 2 h 222"/>
                <a:gd name="T40" fmla="*/ 191 w 244"/>
                <a:gd name="T41" fmla="*/ 3 h 222"/>
                <a:gd name="T42" fmla="*/ 169 w 244"/>
                <a:gd name="T43" fmla="*/ 11 h 222"/>
                <a:gd name="T44" fmla="*/ 163 w 244"/>
                <a:gd name="T45" fmla="*/ 26 h 222"/>
                <a:gd name="T46" fmla="*/ 156 w 244"/>
                <a:gd name="T47" fmla="*/ 37 h 222"/>
                <a:gd name="T48" fmla="*/ 157 w 244"/>
                <a:gd name="T49" fmla="*/ 40 h 222"/>
                <a:gd name="T50" fmla="*/ 145 w 244"/>
                <a:gd name="T51" fmla="*/ 47 h 222"/>
                <a:gd name="T52" fmla="*/ 132 w 244"/>
                <a:gd name="T53" fmla="*/ 50 h 222"/>
                <a:gd name="T54" fmla="*/ 115 w 244"/>
                <a:gd name="T55" fmla="*/ 56 h 222"/>
                <a:gd name="T56" fmla="*/ 91 w 244"/>
                <a:gd name="T57" fmla="*/ 64 h 222"/>
                <a:gd name="T58" fmla="*/ 70 w 244"/>
                <a:gd name="T59" fmla="*/ 77 h 222"/>
                <a:gd name="T60" fmla="*/ 64 w 244"/>
                <a:gd name="T61" fmla="*/ 89 h 222"/>
                <a:gd name="T62" fmla="*/ 52 w 244"/>
                <a:gd name="T63" fmla="*/ 106 h 222"/>
                <a:gd name="T64" fmla="*/ 36 w 244"/>
                <a:gd name="T65" fmla="*/ 111 h 222"/>
                <a:gd name="T66" fmla="*/ 24 w 244"/>
                <a:gd name="T67" fmla="*/ 110 h 222"/>
                <a:gd name="T68" fmla="*/ 15 w 244"/>
                <a:gd name="T69" fmla="*/ 10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44" h="222">
                  <a:moveTo>
                    <a:pt x="15" y="100"/>
                  </a:moveTo>
                  <a:cubicBezTo>
                    <a:pt x="0" y="102"/>
                    <a:pt x="7" y="122"/>
                    <a:pt x="16" y="128"/>
                  </a:cubicBezTo>
                  <a:cubicBezTo>
                    <a:pt x="22" y="138"/>
                    <a:pt x="20" y="143"/>
                    <a:pt x="30" y="149"/>
                  </a:cubicBezTo>
                  <a:cubicBezTo>
                    <a:pt x="33" y="164"/>
                    <a:pt x="22" y="185"/>
                    <a:pt x="37" y="193"/>
                  </a:cubicBezTo>
                  <a:cubicBezTo>
                    <a:pt x="40" y="203"/>
                    <a:pt x="41" y="203"/>
                    <a:pt x="51" y="205"/>
                  </a:cubicBezTo>
                  <a:cubicBezTo>
                    <a:pt x="53" y="222"/>
                    <a:pt x="73" y="208"/>
                    <a:pt x="84" y="206"/>
                  </a:cubicBezTo>
                  <a:cubicBezTo>
                    <a:pt x="103" y="197"/>
                    <a:pt x="167" y="216"/>
                    <a:pt x="144" y="199"/>
                  </a:cubicBezTo>
                  <a:cubicBezTo>
                    <a:pt x="155" y="191"/>
                    <a:pt x="138" y="202"/>
                    <a:pt x="166" y="194"/>
                  </a:cubicBezTo>
                  <a:cubicBezTo>
                    <a:pt x="168" y="193"/>
                    <a:pt x="174" y="184"/>
                    <a:pt x="177" y="182"/>
                  </a:cubicBezTo>
                  <a:cubicBezTo>
                    <a:pt x="181" y="176"/>
                    <a:pt x="186" y="171"/>
                    <a:pt x="192" y="167"/>
                  </a:cubicBezTo>
                  <a:cubicBezTo>
                    <a:pt x="198" y="160"/>
                    <a:pt x="199" y="155"/>
                    <a:pt x="207" y="152"/>
                  </a:cubicBezTo>
                  <a:cubicBezTo>
                    <a:pt x="210" y="148"/>
                    <a:pt x="213" y="143"/>
                    <a:pt x="216" y="139"/>
                  </a:cubicBezTo>
                  <a:cubicBezTo>
                    <a:pt x="217" y="125"/>
                    <a:pt x="229" y="113"/>
                    <a:pt x="243" y="112"/>
                  </a:cubicBezTo>
                  <a:cubicBezTo>
                    <a:pt x="239" y="102"/>
                    <a:pt x="242" y="93"/>
                    <a:pt x="244" y="83"/>
                  </a:cubicBezTo>
                  <a:cubicBezTo>
                    <a:pt x="240" y="78"/>
                    <a:pt x="237" y="77"/>
                    <a:pt x="235" y="71"/>
                  </a:cubicBezTo>
                  <a:cubicBezTo>
                    <a:pt x="234" y="66"/>
                    <a:pt x="243" y="61"/>
                    <a:pt x="241" y="52"/>
                  </a:cubicBezTo>
                  <a:cubicBezTo>
                    <a:pt x="240" y="47"/>
                    <a:pt x="233" y="46"/>
                    <a:pt x="231" y="41"/>
                  </a:cubicBezTo>
                  <a:cubicBezTo>
                    <a:pt x="229" y="36"/>
                    <a:pt x="232" y="26"/>
                    <a:pt x="231" y="22"/>
                  </a:cubicBezTo>
                  <a:cubicBezTo>
                    <a:pt x="230" y="18"/>
                    <a:pt x="226" y="17"/>
                    <a:pt x="223" y="14"/>
                  </a:cubicBezTo>
                  <a:cubicBezTo>
                    <a:pt x="222" y="6"/>
                    <a:pt x="221" y="5"/>
                    <a:pt x="213" y="2"/>
                  </a:cubicBezTo>
                  <a:cubicBezTo>
                    <a:pt x="208" y="0"/>
                    <a:pt x="198" y="2"/>
                    <a:pt x="191" y="3"/>
                  </a:cubicBezTo>
                  <a:cubicBezTo>
                    <a:pt x="184" y="4"/>
                    <a:pt x="174" y="7"/>
                    <a:pt x="169" y="11"/>
                  </a:cubicBezTo>
                  <a:cubicBezTo>
                    <a:pt x="166" y="16"/>
                    <a:pt x="166" y="21"/>
                    <a:pt x="163" y="26"/>
                  </a:cubicBezTo>
                  <a:cubicBezTo>
                    <a:pt x="161" y="30"/>
                    <a:pt x="157" y="35"/>
                    <a:pt x="156" y="37"/>
                  </a:cubicBezTo>
                  <a:cubicBezTo>
                    <a:pt x="155" y="39"/>
                    <a:pt x="159" y="38"/>
                    <a:pt x="157" y="40"/>
                  </a:cubicBezTo>
                  <a:cubicBezTo>
                    <a:pt x="155" y="42"/>
                    <a:pt x="149" y="45"/>
                    <a:pt x="145" y="47"/>
                  </a:cubicBezTo>
                  <a:cubicBezTo>
                    <a:pt x="141" y="53"/>
                    <a:pt x="139" y="49"/>
                    <a:pt x="132" y="50"/>
                  </a:cubicBezTo>
                  <a:cubicBezTo>
                    <a:pt x="126" y="55"/>
                    <a:pt x="122" y="59"/>
                    <a:pt x="115" y="56"/>
                  </a:cubicBezTo>
                  <a:cubicBezTo>
                    <a:pt x="108" y="49"/>
                    <a:pt x="99" y="59"/>
                    <a:pt x="91" y="64"/>
                  </a:cubicBezTo>
                  <a:cubicBezTo>
                    <a:pt x="86" y="70"/>
                    <a:pt x="76" y="73"/>
                    <a:pt x="70" y="77"/>
                  </a:cubicBezTo>
                  <a:cubicBezTo>
                    <a:pt x="64" y="81"/>
                    <a:pt x="67" y="84"/>
                    <a:pt x="64" y="89"/>
                  </a:cubicBezTo>
                  <a:cubicBezTo>
                    <a:pt x="61" y="94"/>
                    <a:pt x="55" y="102"/>
                    <a:pt x="52" y="106"/>
                  </a:cubicBezTo>
                  <a:cubicBezTo>
                    <a:pt x="47" y="110"/>
                    <a:pt x="41" y="110"/>
                    <a:pt x="36" y="111"/>
                  </a:cubicBezTo>
                  <a:cubicBezTo>
                    <a:pt x="31" y="112"/>
                    <a:pt x="27" y="112"/>
                    <a:pt x="24" y="110"/>
                  </a:cubicBezTo>
                  <a:cubicBezTo>
                    <a:pt x="20" y="107"/>
                    <a:pt x="19" y="104"/>
                    <a:pt x="15" y="10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39" name="Freeform 53"/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5073342" y="4992054"/>
              <a:ext cx="69654" cy="82608"/>
            </a:xfrm>
            <a:custGeom>
              <a:avLst/>
              <a:gdLst>
                <a:gd name="T0" fmla="*/ 21 w 43"/>
                <a:gd name="T1" fmla="*/ 5 h 51"/>
                <a:gd name="T2" fmla="*/ 7 w 43"/>
                <a:gd name="T3" fmla="*/ 12 h 51"/>
                <a:gd name="T4" fmla="*/ 9 w 43"/>
                <a:gd name="T5" fmla="*/ 23 h 51"/>
                <a:gd name="T6" fmla="*/ 10 w 43"/>
                <a:gd name="T7" fmla="*/ 39 h 51"/>
                <a:gd name="T8" fmla="*/ 36 w 43"/>
                <a:gd name="T9" fmla="*/ 27 h 51"/>
                <a:gd name="T10" fmla="*/ 25 w 43"/>
                <a:gd name="T11" fmla="*/ 0 h 51"/>
                <a:gd name="T12" fmla="*/ 21 w 43"/>
                <a:gd name="T13" fmla="*/ 5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" h="51">
                  <a:moveTo>
                    <a:pt x="21" y="5"/>
                  </a:moveTo>
                  <a:cubicBezTo>
                    <a:pt x="12" y="7"/>
                    <a:pt x="16" y="10"/>
                    <a:pt x="7" y="12"/>
                  </a:cubicBezTo>
                  <a:cubicBezTo>
                    <a:pt x="0" y="16"/>
                    <a:pt x="3" y="20"/>
                    <a:pt x="9" y="23"/>
                  </a:cubicBezTo>
                  <a:cubicBezTo>
                    <a:pt x="9" y="28"/>
                    <a:pt x="6" y="36"/>
                    <a:pt x="10" y="39"/>
                  </a:cubicBezTo>
                  <a:cubicBezTo>
                    <a:pt x="24" y="51"/>
                    <a:pt x="28" y="30"/>
                    <a:pt x="36" y="27"/>
                  </a:cubicBezTo>
                  <a:cubicBezTo>
                    <a:pt x="43" y="13"/>
                    <a:pt x="39" y="6"/>
                    <a:pt x="25" y="0"/>
                  </a:cubicBezTo>
                  <a:cubicBezTo>
                    <a:pt x="23" y="1"/>
                    <a:pt x="8" y="8"/>
                    <a:pt x="21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0" name="Freeform 54"/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704018" y="4690782"/>
              <a:ext cx="252695" cy="314231"/>
            </a:xfrm>
            <a:custGeom>
              <a:avLst/>
              <a:gdLst>
                <a:gd name="T0" fmla="*/ 75 w 154"/>
                <a:gd name="T1" fmla="*/ 191 h 194"/>
                <a:gd name="T2" fmla="*/ 60 w 154"/>
                <a:gd name="T3" fmla="*/ 179 h 194"/>
                <a:gd name="T4" fmla="*/ 53 w 154"/>
                <a:gd name="T5" fmla="*/ 165 h 194"/>
                <a:gd name="T6" fmla="*/ 47 w 154"/>
                <a:gd name="T7" fmla="*/ 120 h 194"/>
                <a:gd name="T8" fmla="*/ 24 w 154"/>
                <a:gd name="T9" fmla="*/ 51 h 194"/>
                <a:gd name="T10" fmla="*/ 8 w 154"/>
                <a:gd name="T11" fmla="*/ 24 h 194"/>
                <a:gd name="T12" fmla="*/ 0 w 154"/>
                <a:gd name="T13" fmla="*/ 11 h 194"/>
                <a:gd name="T14" fmla="*/ 24 w 154"/>
                <a:gd name="T15" fmla="*/ 0 h 194"/>
                <a:gd name="T16" fmla="*/ 39 w 154"/>
                <a:gd name="T17" fmla="*/ 11 h 194"/>
                <a:gd name="T18" fmla="*/ 101 w 154"/>
                <a:gd name="T19" fmla="*/ 8 h 194"/>
                <a:gd name="T20" fmla="*/ 107 w 154"/>
                <a:gd name="T21" fmla="*/ 12 h 194"/>
                <a:gd name="T22" fmla="*/ 141 w 154"/>
                <a:gd name="T23" fmla="*/ 20 h 194"/>
                <a:gd name="T24" fmla="*/ 125 w 154"/>
                <a:gd name="T25" fmla="*/ 84 h 194"/>
                <a:gd name="T26" fmla="*/ 128 w 154"/>
                <a:gd name="T27" fmla="*/ 131 h 194"/>
                <a:gd name="T28" fmla="*/ 137 w 154"/>
                <a:gd name="T29" fmla="*/ 156 h 194"/>
                <a:gd name="T30" fmla="*/ 131 w 154"/>
                <a:gd name="T31" fmla="*/ 167 h 194"/>
                <a:gd name="T32" fmla="*/ 111 w 154"/>
                <a:gd name="T33" fmla="*/ 192 h 194"/>
                <a:gd name="T34" fmla="*/ 81 w 154"/>
                <a:gd name="T35" fmla="*/ 185 h 194"/>
                <a:gd name="T36" fmla="*/ 75 w 154"/>
                <a:gd name="T37" fmla="*/ 191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4" h="194">
                  <a:moveTo>
                    <a:pt x="75" y="191"/>
                  </a:moveTo>
                  <a:cubicBezTo>
                    <a:pt x="70" y="184"/>
                    <a:pt x="69" y="181"/>
                    <a:pt x="60" y="179"/>
                  </a:cubicBezTo>
                  <a:cubicBezTo>
                    <a:pt x="59" y="173"/>
                    <a:pt x="56" y="170"/>
                    <a:pt x="53" y="165"/>
                  </a:cubicBezTo>
                  <a:cubicBezTo>
                    <a:pt x="51" y="150"/>
                    <a:pt x="55" y="133"/>
                    <a:pt x="47" y="120"/>
                  </a:cubicBezTo>
                  <a:cubicBezTo>
                    <a:pt x="45" y="82"/>
                    <a:pt x="41" y="80"/>
                    <a:pt x="24" y="51"/>
                  </a:cubicBezTo>
                  <a:cubicBezTo>
                    <a:pt x="22" y="38"/>
                    <a:pt x="18" y="32"/>
                    <a:pt x="8" y="24"/>
                  </a:cubicBezTo>
                  <a:cubicBezTo>
                    <a:pt x="6" y="19"/>
                    <a:pt x="3" y="15"/>
                    <a:pt x="0" y="11"/>
                  </a:cubicBezTo>
                  <a:cubicBezTo>
                    <a:pt x="3" y="3"/>
                    <a:pt x="16" y="4"/>
                    <a:pt x="24" y="0"/>
                  </a:cubicBezTo>
                  <a:cubicBezTo>
                    <a:pt x="29" y="2"/>
                    <a:pt x="34" y="9"/>
                    <a:pt x="39" y="11"/>
                  </a:cubicBezTo>
                  <a:cubicBezTo>
                    <a:pt x="52" y="13"/>
                    <a:pt x="84" y="7"/>
                    <a:pt x="101" y="8"/>
                  </a:cubicBezTo>
                  <a:cubicBezTo>
                    <a:pt x="112" y="8"/>
                    <a:pt x="100" y="10"/>
                    <a:pt x="107" y="12"/>
                  </a:cubicBezTo>
                  <a:cubicBezTo>
                    <a:pt x="114" y="14"/>
                    <a:pt x="138" y="8"/>
                    <a:pt x="141" y="20"/>
                  </a:cubicBezTo>
                  <a:cubicBezTo>
                    <a:pt x="140" y="43"/>
                    <a:pt x="154" y="81"/>
                    <a:pt x="125" y="84"/>
                  </a:cubicBezTo>
                  <a:cubicBezTo>
                    <a:pt x="123" y="103"/>
                    <a:pt x="127" y="117"/>
                    <a:pt x="128" y="131"/>
                  </a:cubicBezTo>
                  <a:cubicBezTo>
                    <a:pt x="130" y="143"/>
                    <a:pt x="137" y="150"/>
                    <a:pt x="137" y="156"/>
                  </a:cubicBezTo>
                  <a:cubicBezTo>
                    <a:pt x="137" y="162"/>
                    <a:pt x="135" y="161"/>
                    <a:pt x="131" y="167"/>
                  </a:cubicBezTo>
                  <a:cubicBezTo>
                    <a:pt x="127" y="173"/>
                    <a:pt x="119" y="189"/>
                    <a:pt x="111" y="192"/>
                  </a:cubicBezTo>
                  <a:cubicBezTo>
                    <a:pt x="93" y="191"/>
                    <a:pt x="92" y="194"/>
                    <a:pt x="81" y="185"/>
                  </a:cubicBezTo>
                  <a:cubicBezTo>
                    <a:pt x="77" y="186"/>
                    <a:pt x="66" y="187"/>
                    <a:pt x="75" y="19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1" name="Freeform 55"/>
            <p:cNvSpPr>
              <a:spLocks/>
            </p:cNvSpPr>
            <p:nvPr>
              <p:custDataLst>
                <p:tags r:id="rId47"/>
              </p:custDataLst>
            </p:nvPr>
          </p:nvSpPr>
          <p:spPr bwMode="gray">
            <a:xfrm>
              <a:off x="4906498" y="4700500"/>
              <a:ext cx="244596" cy="260779"/>
            </a:xfrm>
            <a:custGeom>
              <a:avLst/>
              <a:gdLst>
                <a:gd name="T0" fmla="*/ 20 w 149"/>
                <a:gd name="T1" fmla="*/ 11 h 161"/>
                <a:gd name="T2" fmla="*/ 20 w 149"/>
                <a:gd name="T3" fmla="*/ 21 h 161"/>
                <a:gd name="T4" fmla="*/ 20 w 149"/>
                <a:gd name="T5" fmla="*/ 35 h 161"/>
                <a:gd name="T6" fmla="*/ 20 w 149"/>
                <a:gd name="T7" fmla="*/ 48 h 161"/>
                <a:gd name="T8" fmla="*/ 18 w 149"/>
                <a:gd name="T9" fmla="*/ 69 h 161"/>
                <a:gd name="T10" fmla="*/ 3 w 149"/>
                <a:gd name="T11" fmla="*/ 84 h 161"/>
                <a:gd name="T12" fmla="*/ 2 w 149"/>
                <a:gd name="T13" fmla="*/ 94 h 161"/>
                <a:gd name="T14" fmla="*/ 3 w 149"/>
                <a:gd name="T15" fmla="*/ 123 h 161"/>
                <a:gd name="T16" fmla="*/ 14 w 149"/>
                <a:gd name="T17" fmla="*/ 147 h 161"/>
                <a:gd name="T18" fmla="*/ 32 w 149"/>
                <a:gd name="T19" fmla="*/ 144 h 161"/>
                <a:gd name="T20" fmla="*/ 47 w 149"/>
                <a:gd name="T21" fmla="*/ 129 h 161"/>
                <a:gd name="T22" fmla="*/ 66 w 149"/>
                <a:gd name="T23" fmla="*/ 131 h 161"/>
                <a:gd name="T24" fmla="*/ 80 w 149"/>
                <a:gd name="T25" fmla="*/ 128 h 161"/>
                <a:gd name="T26" fmla="*/ 98 w 149"/>
                <a:gd name="T27" fmla="*/ 117 h 161"/>
                <a:gd name="T28" fmla="*/ 107 w 149"/>
                <a:gd name="T29" fmla="*/ 104 h 161"/>
                <a:gd name="T30" fmla="*/ 116 w 149"/>
                <a:gd name="T31" fmla="*/ 89 h 161"/>
                <a:gd name="T32" fmla="*/ 134 w 149"/>
                <a:gd name="T33" fmla="*/ 81 h 161"/>
                <a:gd name="T34" fmla="*/ 138 w 149"/>
                <a:gd name="T35" fmla="*/ 78 h 161"/>
                <a:gd name="T36" fmla="*/ 137 w 149"/>
                <a:gd name="T37" fmla="*/ 68 h 161"/>
                <a:gd name="T38" fmla="*/ 114 w 149"/>
                <a:gd name="T39" fmla="*/ 63 h 161"/>
                <a:gd name="T40" fmla="*/ 99 w 149"/>
                <a:gd name="T41" fmla="*/ 42 h 161"/>
                <a:gd name="T42" fmla="*/ 84 w 149"/>
                <a:gd name="T43" fmla="*/ 24 h 161"/>
                <a:gd name="T44" fmla="*/ 74 w 149"/>
                <a:gd name="T45" fmla="*/ 9 h 161"/>
                <a:gd name="T46" fmla="*/ 36 w 149"/>
                <a:gd name="T47" fmla="*/ 3 h 161"/>
                <a:gd name="T48" fmla="*/ 24 w 149"/>
                <a:gd name="T49" fmla="*/ 9 h 161"/>
                <a:gd name="T50" fmla="*/ 20 w 149"/>
                <a:gd name="T51" fmla="*/ 11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9" h="161">
                  <a:moveTo>
                    <a:pt x="20" y="11"/>
                  </a:moveTo>
                  <a:cubicBezTo>
                    <a:pt x="19" y="13"/>
                    <a:pt x="20" y="15"/>
                    <a:pt x="20" y="21"/>
                  </a:cubicBezTo>
                  <a:cubicBezTo>
                    <a:pt x="20" y="25"/>
                    <a:pt x="20" y="31"/>
                    <a:pt x="20" y="35"/>
                  </a:cubicBezTo>
                  <a:cubicBezTo>
                    <a:pt x="20" y="39"/>
                    <a:pt x="20" y="42"/>
                    <a:pt x="20" y="48"/>
                  </a:cubicBezTo>
                  <a:cubicBezTo>
                    <a:pt x="20" y="54"/>
                    <a:pt x="21" y="63"/>
                    <a:pt x="18" y="69"/>
                  </a:cubicBezTo>
                  <a:cubicBezTo>
                    <a:pt x="16" y="74"/>
                    <a:pt x="5" y="79"/>
                    <a:pt x="3" y="84"/>
                  </a:cubicBezTo>
                  <a:cubicBezTo>
                    <a:pt x="2" y="88"/>
                    <a:pt x="0" y="86"/>
                    <a:pt x="2" y="94"/>
                  </a:cubicBezTo>
                  <a:cubicBezTo>
                    <a:pt x="2" y="100"/>
                    <a:pt x="1" y="114"/>
                    <a:pt x="3" y="123"/>
                  </a:cubicBezTo>
                  <a:cubicBezTo>
                    <a:pt x="5" y="132"/>
                    <a:pt x="9" y="144"/>
                    <a:pt x="14" y="147"/>
                  </a:cubicBezTo>
                  <a:cubicBezTo>
                    <a:pt x="16" y="161"/>
                    <a:pt x="22" y="150"/>
                    <a:pt x="32" y="144"/>
                  </a:cubicBezTo>
                  <a:cubicBezTo>
                    <a:pt x="38" y="143"/>
                    <a:pt x="41" y="131"/>
                    <a:pt x="47" y="129"/>
                  </a:cubicBezTo>
                  <a:cubicBezTo>
                    <a:pt x="53" y="127"/>
                    <a:pt x="61" y="131"/>
                    <a:pt x="66" y="131"/>
                  </a:cubicBezTo>
                  <a:cubicBezTo>
                    <a:pt x="71" y="131"/>
                    <a:pt x="75" y="130"/>
                    <a:pt x="80" y="128"/>
                  </a:cubicBezTo>
                  <a:cubicBezTo>
                    <a:pt x="90" y="126"/>
                    <a:pt x="90" y="122"/>
                    <a:pt x="98" y="117"/>
                  </a:cubicBezTo>
                  <a:cubicBezTo>
                    <a:pt x="101" y="113"/>
                    <a:pt x="105" y="109"/>
                    <a:pt x="107" y="104"/>
                  </a:cubicBezTo>
                  <a:cubicBezTo>
                    <a:pt x="108" y="95"/>
                    <a:pt x="108" y="94"/>
                    <a:pt x="116" y="89"/>
                  </a:cubicBezTo>
                  <a:cubicBezTo>
                    <a:pt x="120" y="82"/>
                    <a:pt x="126" y="83"/>
                    <a:pt x="134" y="81"/>
                  </a:cubicBezTo>
                  <a:cubicBezTo>
                    <a:pt x="135" y="80"/>
                    <a:pt x="136" y="79"/>
                    <a:pt x="138" y="78"/>
                  </a:cubicBezTo>
                  <a:cubicBezTo>
                    <a:pt x="147" y="74"/>
                    <a:pt x="149" y="70"/>
                    <a:pt x="137" y="68"/>
                  </a:cubicBezTo>
                  <a:cubicBezTo>
                    <a:pt x="129" y="65"/>
                    <a:pt x="122" y="66"/>
                    <a:pt x="114" y="63"/>
                  </a:cubicBezTo>
                  <a:cubicBezTo>
                    <a:pt x="113" y="45"/>
                    <a:pt x="114" y="47"/>
                    <a:pt x="99" y="42"/>
                  </a:cubicBezTo>
                  <a:cubicBezTo>
                    <a:pt x="91" y="36"/>
                    <a:pt x="94" y="28"/>
                    <a:pt x="84" y="24"/>
                  </a:cubicBezTo>
                  <a:cubicBezTo>
                    <a:pt x="80" y="18"/>
                    <a:pt x="81" y="12"/>
                    <a:pt x="74" y="9"/>
                  </a:cubicBezTo>
                  <a:cubicBezTo>
                    <a:pt x="62" y="11"/>
                    <a:pt x="48" y="5"/>
                    <a:pt x="36" y="3"/>
                  </a:cubicBezTo>
                  <a:cubicBezTo>
                    <a:pt x="31" y="0"/>
                    <a:pt x="24" y="9"/>
                    <a:pt x="24" y="9"/>
                  </a:cubicBezTo>
                  <a:cubicBezTo>
                    <a:pt x="23" y="10"/>
                    <a:pt x="20" y="11"/>
                    <a:pt x="20" y="1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2" name="Freeform 56"/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5475062" y="4564441"/>
              <a:ext cx="183042" cy="345006"/>
            </a:xfrm>
            <a:custGeom>
              <a:avLst/>
              <a:gdLst>
                <a:gd name="T0" fmla="*/ 15 w 112"/>
                <a:gd name="T1" fmla="*/ 204 h 213"/>
                <a:gd name="T2" fmla="*/ 3 w 112"/>
                <a:gd name="T3" fmla="*/ 179 h 213"/>
                <a:gd name="T4" fmla="*/ 14 w 112"/>
                <a:gd name="T5" fmla="*/ 140 h 213"/>
                <a:gd name="T6" fmla="*/ 12 w 112"/>
                <a:gd name="T7" fmla="*/ 98 h 213"/>
                <a:gd name="T8" fmla="*/ 47 w 112"/>
                <a:gd name="T9" fmla="*/ 56 h 213"/>
                <a:gd name="T10" fmla="*/ 59 w 112"/>
                <a:gd name="T11" fmla="*/ 44 h 213"/>
                <a:gd name="T12" fmla="*/ 69 w 112"/>
                <a:gd name="T13" fmla="*/ 32 h 213"/>
                <a:gd name="T14" fmla="*/ 80 w 112"/>
                <a:gd name="T15" fmla="*/ 18 h 213"/>
                <a:gd name="T16" fmla="*/ 90 w 112"/>
                <a:gd name="T17" fmla="*/ 0 h 213"/>
                <a:gd name="T18" fmla="*/ 101 w 112"/>
                <a:gd name="T19" fmla="*/ 17 h 213"/>
                <a:gd name="T20" fmla="*/ 110 w 112"/>
                <a:gd name="T21" fmla="*/ 56 h 213"/>
                <a:gd name="T22" fmla="*/ 102 w 112"/>
                <a:gd name="T23" fmla="*/ 68 h 213"/>
                <a:gd name="T24" fmla="*/ 95 w 112"/>
                <a:gd name="T25" fmla="*/ 90 h 213"/>
                <a:gd name="T26" fmla="*/ 80 w 112"/>
                <a:gd name="T27" fmla="*/ 129 h 213"/>
                <a:gd name="T28" fmla="*/ 74 w 112"/>
                <a:gd name="T29" fmla="*/ 159 h 213"/>
                <a:gd name="T30" fmla="*/ 66 w 112"/>
                <a:gd name="T31" fmla="*/ 186 h 213"/>
                <a:gd name="T32" fmla="*/ 33 w 112"/>
                <a:gd name="T33" fmla="*/ 210 h 213"/>
                <a:gd name="T34" fmla="*/ 15 w 112"/>
                <a:gd name="T35" fmla="*/ 204 h 2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2" h="213">
                  <a:moveTo>
                    <a:pt x="15" y="204"/>
                  </a:moveTo>
                  <a:cubicBezTo>
                    <a:pt x="9" y="195"/>
                    <a:pt x="12" y="181"/>
                    <a:pt x="3" y="179"/>
                  </a:cubicBezTo>
                  <a:cubicBezTo>
                    <a:pt x="0" y="163"/>
                    <a:pt x="0" y="148"/>
                    <a:pt x="14" y="140"/>
                  </a:cubicBezTo>
                  <a:cubicBezTo>
                    <a:pt x="21" y="128"/>
                    <a:pt x="18" y="110"/>
                    <a:pt x="12" y="98"/>
                  </a:cubicBezTo>
                  <a:cubicBezTo>
                    <a:pt x="16" y="66"/>
                    <a:pt x="15" y="61"/>
                    <a:pt x="47" y="56"/>
                  </a:cubicBezTo>
                  <a:cubicBezTo>
                    <a:pt x="52" y="52"/>
                    <a:pt x="54" y="48"/>
                    <a:pt x="59" y="44"/>
                  </a:cubicBezTo>
                  <a:cubicBezTo>
                    <a:pt x="62" y="39"/>
                    <a:pt x="64" y="36"/>
                    <a:pt x="69" y="32"/>
                  </a:cubicBezTo>
                  <a:cubicBezTo>
                    <a:pt x="73" y="25"/>
                    <a:pt x="72" y="21"/>
                    <a:pt x="80" y="18"/>
                  </a:cubicBezTo>
                  <a:cubicBezTo>
                    <a:pt x="85" y="12"/>
                    <a:pt x="83" y="5"/>
                    <a:pt x="90" y="0"/>
                  </a:cubicBezTo>
                  <a:cubicBezTo>
                    <a:pt x="99" y="3"/>
                    <a:pt x="96" y="9"/>
                    <a:pt x="101" y="17"/>
                  </a:cubicBezTo>
                  <a:cubicBezTo>
                    <a:pt x="103" y="31"/>
                    <a:pt x="105" y="43"/>
                    <a:pt x="110" y="56"/>
                  </a:cubicBezTo>
                  <a:cubicBezTo>
                    <a:pt x="112" y="66"/>
                    <a:pt x="107" y="60"/>
                    <a:pt x="102" y="68"/>
                  </a:cubicBezTo>
                  <a:cubicBezTo>
                    <a:pt x="105" y="78"/>
                    <a:pt x="103" y="84"/>
                    <a:pt x="95" y="90"/>
                  </a:cubicBezTo>
                  <a:cubicBezTo>
                    <a:pt x="94" y="103"/>
                    <a:pt x="91" y="120"/>
                    <a:pt x="80" y="129"/>
                  </a:cubicBezTo>
                  <a:cubicBezTo>
                    <a:pt x="79" y="140"/>
                    <a:pt x="81" y="150"/>
                    <a:pt x="74" y="159"/>
                  </a:cubicBezTo>
                  <a:cubicBezTo>
                    <a:pt x="72" y="169"/>
                    <a:pt x="71" y="177"/>
                    <a:pt x="66" y="186"/>
                  </a:cubicBezTo>
                  <a:cubicBezTo>
                    <a:pt x="64" y="211"/>
                    <a:pt x="57" y="206"/>
                    <a:pt x="33" y="210"/>
                  </a:cubicBezTo>
                  <a:cubicBezTo>
                    <a:pt x="25" y="213"/>
                    <a:pt x="20" y="209"/>
                    <a:pt x="15" y="20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3" name="Freeform 57"/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5173772" y="4919166"/>
              <a:ext cx="48595" cy="40494"/>
            </a:xfrm>
            <a:custGeom>
              <a:avLst/>
              <a:gdLst>
                <a:gd name="T0" fmla="*/ 18 w 30"/>
                <a:gd name="T1" fmla="*/ 0 h 25"/>
                <a:gd name="T2" fmla="*/ 5 w 30"/>
                <a:gd name="T3" fmla="*/ 23 h 25"/>
                <a:gd name="T4" fmla="*/ 20 w 30"/>
                <a:gd name="T5" fmla="*/ 21 h 25"/>
                <a:gd name="T6" fmla="*/ 18 w 30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5">
                  <a:moveTo>
                    <a:pt x="18" y="0"/>
                  </a:moveTo>
                  <a:cubicBezTo>
                    <a:pt x="0" y="3"/>
                    <a:pt x="3" y="3"/>
                    <a:pt x="5" y="23"/>
                  </a:cubicBezTo>
                  <a:cubicBezTo>
                    <a:pt x="10" y="22"/>
                    <a:pt x="17" y="25"/>
                    <a:pt x="20" y="21"/>
                  </a:cubicBezTo>
                  <a:cubicBezTo>
                    <a:pt x="30" y="7"/>
                    <a:pt x="9" y="6"/>
                    <a:pt x="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4" name="Freeform 58"/>
            <p:cNvSpPr>
              <a:spLocks/>
            </p:cNvSpPr>
            <p:nvPr>
              <p:custDataLst>
                <p:tags r:id="rId50"/>
              </p:custDataLst>
            </p:nvPr>
          </p:nvSpPr>
          <p:spPr bwMode="gray">
            <a:xfrm>
              <a:off x="5026366" y="3459775"/>
              <a:ext cx="288332" cy="298033"/>
            </a:xfrm>
            <a:custGeom>
              <a:avLst/>
              <a:gdLst>
                <a:gd name="T0" fmla="*/ 8 w 175"/>
                <a:gd name="T1" fmla="*/ 178 h 184"/>
                <a:gd name="T2" fmla="*/ 151 w 175"/>
                <a:gd name="T3" fmla="*/ 174 h 184"/>
                <a:gd name="T4" fmla="*/ 157 w 175"/>
                <a:gd name="T5" fmla="*/ 145 h 184"/>
                <a:gd name="T6" fmla="*/ 149 w 175"/>
                <a:gd name="T7" fmla="*/ 111 h 184"/>
                <a:gd name="T8" fmla="*/ 131 w 175"/>
                <a:gd name="T9" fmla="*/ 79 h 184"/>
                <a:gd name="T10" fmla="*/ 119 w 175"/>
                <a:gd name="T11" fmla="*/ 51 h 184"/>
                <a:gd name="T12" fmla="*/ 122 w 175"/>
                <a:gd name="T13" fmla="*/ 43 h 184"/>
                <a:gd name="T14" fmla="*/ 127 w 175"/>
                <a:gd name="T15" fmla="*/ 61 h 184"/>
                <a:gd name="T16" fmla="*/ 136 w 175"/>
                <a:gd name="T17" fmla="*/ 79 h 184"/>
                <a:gd name="T18" fmla="*/ 145 w 175"/>
                <a:gd name="T19" fmla="*/ 28 h 184"/>
                <a:gd name="T20" fmla="*/ 115 w 175"/>
                <a:gd name="T21" fmla="*/ 24 h 184"/>
                <a:gd name="T22" fmla="*/ 100 w 175"/>
                <a:gd name="T23" fmla="*/ 10 h 184"/>
                <a:gd name="T24" fmla="*/ 70 w 175"/>
                <a:gd name="T25" fmla="*/ 27 h 184"/>
                <a:gd name="T26" fmla="*/ 41 w 175"/>
                <a:gd name="T27" fmla="*/ 15 h 184"/>
                <a:gd name="T28" fmla="*/ 7 w 175"/>
                <a:gd name="T29" fmla="*/ 13 h 184"/>
                <a:gd name="T30" fmla="*/ 1 w 175"/>
                <a:gd name="T31" fmla="*/ 27 h 184"/>
                <a:gd name="T32" fmla="*/ 5 w 175"/>
                <a:gd name="T33" fmla="*/ 106 h 184"/>
                <a:gd name="T34" fmla="*/ 4 w 175"/>
                <a:gd name="T35" fmla="*/ 177 h 184"/>
                <a:gd name="T36" fmla="*/ 8 w 175"/>
                <a:gd name="T37" fmla="*/ 17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5" h="184">
                  <a:moveTo>
                    <a:pt x="8" y="178"/>
                  </a:moveTo>
                  <a:cubicBezTo>
                    <a:pt x="34" y="173"/>
                    <a:pt x="127" y="184"/>
                    <a:pt x="151" y="174"/>
                  </a:cubicBezTo>
                  <a:cubicBezTo>
                    <a:pt x="175" y="169"/>
                    <a:pt x="157" y="155"/>
                    <a:pt x="157" y="145"/>
                  </a:cubicBezTo>
                  <a:cubicBezTo>
                    <a:pt x="157" y="135"/>
                    <a:pt x="153" y="122"/>
                    <a:pt x="149" y="111"/>
                  </a:cubicBezTo>
                  <a:cubicBezTo>
                    <a:pt x="147" y="99"/>
                    <a:pt x="137" y="89"/>
                    <a:pt x="131" y="79"/>
                  </a:cubicBezTo>
                  <a:cubicBezTo>
                    <a:pt x="130" y="67"/>
                    <a:pt x="129" y="57"/>
                    <a:pt x="119" y="51"/>
                  </a:cubicBezTo>
                  <a:cubicBezTo>
                    <a:pt x="118" y="48"/>
                    <a:pt x="119" y="42"/>
                    <a:pt x="122" y="43"/>
                  </a:cubicBezTo>
                  <a:cubicBezTo>
                    <a:pt x="124" y="44"/>
                    <a:pt x="126" y="58"/>
                    <a:pt x="127" y="61"/>
                  </a:cubicBezTo>
                  <a:cubicBezTo>
                    <a:pt x="128" y="68"/>
                    <a:pt x="128" y="77"/>
                    <a:pt x="136" y="79"/>
                  </a:cubicBezTo>
                  <a:cubicBezTo>
                    <a:pt x="162" y="76"/>
                    <a:pt x="151" y="81"/>
                    <a:pt x="145" y="28"/>
                  </a:cubicBezTo>
                  <a:cubicBezTo>
                    <a:pt x="144" y="18"/>
                    <a:pt x="125" y="24"/>
                    <a:pt x="115" y="24"/>
                  </a:cubicBezTo>
                  <a:cubicBezTo>
                    <a:pt x="109" y="20"/>
                    <a:pt x="106" y="15"/>
                    <a:pt x="100" y="10"/>
                  </a:cubicBezTo>
                  <a:cubicBezTo>
                    <a:pt x="87" y="13"/>
                    <a:pt x="82" y="21"/>
                    <a:pt x="70" y="27"/>
                  </a:cubicBezTo>
                  <a:cubicBezTo>
                    <a:pt x="60" y="24"/>
                    <a:pt x="51" y="17"/>
                    <a:pt x="41" y="15"/>
                  </a:cubicBezTo>
                  <a:cubicBezTo>
                    <a:pt x="30" y="9"/>
                    <a:pt x="21" y="12"/>
                    <a:pt x="7" y="13"/>
                  </a:cubicBezTo>
                  <a:cubicBezTo>
                    <a:pt x="0" y="15"/>
                    <a:pt x="1" y="0"/>
                    <a:pt x="1" y="27"/>
                  </a:cubicBezTo>
                  <a:cubicBezTo>
                    <a:pt x="0" y="42"/>
                    <a:pt x="5" y="81"/>
                    <a:pt x="5" y="106"/>
                  </a:cubicBezTo>
                  <a:cubicBezTo>
                    <a:pt x="5" y="131"/>
                    <a:pt x="3" y="165"/>
                    <a:pt x="4" y="177"/>
                  </a:cubicBezTo>
                  <a:cubicBezTo>
                    <a:pt x="9" y="174"/>
                    <a:pt x="13" y="179"/>
                    <a:pt x="8" y="17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5" name="Freeform 59"/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010726" y="3581256"/>
              <a:ext cx="239736" cy="189511"/>
            </a:xfrm>
            <a:custGeom>
              <a:avLst/>
              <a:gdLst>
                <a:gd name="T0" fmla="*/ 118 w 146"/>
                <a:gd name="T1" fmla="*/ 0 h 117"/>
                <a:gd name="T2" fmla="*/ 62 w 146"/>
                <a:gd name="T3" fmla="*/ 2 h 117"/>
                <a:gd name="T4" fmla="*/ 54 w 146"/>
                <a:gd name="T5" fmla="*/ 4 h 117"/>
                <a:gd name="T6" fmla="*/ 50 w 146"/>
                <a:gd name="T7" fmla="*/ 24 h 117"/>
                <a:gd name="T8" fmla="*/ 32 w 146"/>
                <a:gd name="T9" fmla="*/ 30 h 117"/>
                <a:gd name="T10" fmla="*/ 22 w 146"/>
                <a:gd name="T11" fmla="*/ 60 h 117"/>
                <a:gd name="T12" fmla="*/ 4 w 146"/>
                <a:gd name="T13" fmla="*/ 92 h 117"/>
                <a:gd name="T14" fmla="*/ 3 w 146"/>
                <a:gd name="T15" fmla="*/ 114 h 117"/>
                <a:gd name="T16" fmla="*/ 19 w 146"/>
                <a:gd name="T17" fmla="*/ 108 h 117"/>
                <a:gd name="T18" fmla="*/ 43 w 146"/>
                <a:gd name="T19" fmla="*/ 106 h 117"/>
                <a:gd name="T20" fmla="*/ 58 w 146"/>
                <a:gd name="T21" fmla="*/ 108 h 117"/>
                <a:gd name="T22" fmla="*/ 60 w 146"/>
                <a:gd name="T23" fmla="*/ 90 h 117"/>
                <a:gd name="T24" fmla="*/ 60 w 146"/>
                <a:gd name="T25" fmla="*/ 76 h 117"/>
                <a:gd name="T26" fmla="*/ 72 w 146"/>
                <a:gd name="T27" fmla="*/ 72 h 117"/>
                <a:gd name="T28" fmla="*/ 76 w 146"/>
                <a:gd name="T29" fmla="*/ 66 h 117"/>
                <a:gd name="T30" fmla="*/ 75 w 146"/>
                <a:gd name="T31" fmla="*/ 52 h 117"/>
                <a:gd name="T32" fmla="*/ 75 w 146"/>
                <a:gd name="T33" fmla="*/ 46 h 117"/>
                <a:gd name="T34" fmla="*/ 78 w 146"/>
                <a:gd name="T35" fmla="*/ 33 h 117"/>
                <a:gd name="T36" fmla="*/ 88 w 146"/>
                <a:gd name="T37" fmla="*/ 30 h 117"/>
                <a:gd name="T38" fmla="*/ 106 w 146"/>
                <a:gd name="T39" fmla="*/ 34 h 117"/>
                <a:gd name="T40" fmla="*/ 130 w 146"/>
                <a:gd name="T41" fmla="*/ 30 h 117"/>
                <a:gd name="T42" fmla="*/ 138 w 146"/>
                <a:gd name="T43" fmla="*/ 21 h 117"/>
                <a:gd name="T44" fmla="*/ 118 w 146"/>
                <a:gd name="T45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6" h="117">
                  <a:moveTo>
                    <a:pt x="118" y="0"/>
                  </a:moveTo>
                  <a:cubicBezTo>
                    <a:pt x="99" y="1"/>
                    <a:pt x="81" y="1"/>
                    <a:pt x="62" y="2"/>
                  </a:cubicBezTo>
                  <a:cubicBezTo>
                    <a:pt x="59" y="2"/>
                    <a:pt x="56" y="2"/>
                    <a:pt x="54" y="4"/>
                  </a:cubicBezTo>
                  <a:cubicBezTo>
                    <a:pt x="50" y="10"/>
                    <a:pt x="55" y="20"/>
                    <a:pt x="50" y="24"/>
                  </a:cubicBezTo>
                  <a:cubicBezTo>
                    <a:pt x="45" y="28"/>
                    <a:pt x="32" y="30"/>
                    <a:pt x="32" y="30"/>
                  </a:cubicBezTo>
                  <a:cubicBezTo>
                    <a:pt x="28" y="42"/>
                    <a:pt x="35" y="56"/>
                    <a:pt x="22" y="60"/>
                  </a:cubicBezTo>
                  <a:cubicBezTo>
                    <a:pt x="15" y="71"/>
                    <a:pt x="11" y="81"/>
                    <a:pt x="4" y="92"/>
                  </a:cubicBezTo>
                  <a:cubicBezTo>
                    <a:pt x="0" y="98"/>
                    <a:pt x="3" y="114"/>
                    <a:pt x="3" y="114"/>
                  </a:cubicBezTo>
                  <a:cubicBezTo>
                    <a:pt x="6" y="117"/>
                    <a:pt x="12" y="109"/>
                    <a:pt x="19" y="108"/>
                  </a:cubicBezTo>
                  <a:cubicBezTo>
                    <a:pt x="26" y="107"/>
                    <a:pt x="37" y="106"/>
                    <a:pt x="43" y="106"/>
                  </a:cubicBezTo>
                  <a:cubicBezTo>
                    <a:pt x="49" y="106"/>
                    <a:pt x="55" y="111"/>
                    <a:pt x="58" y="108"/>
                  </a:cubicBezTo>
                  <a:cubicBezTo>
                    <a:pt x="63" y="94"/>
                    <a:pt x="63" y="100"/>
                    <a:pt x="60" y="90"/>
                  </a:cubicBezTo>
                  <a:cubicBezTo>
                    <a:pt x="61" y="85"/>
                    <a:pt x="57" y="80"/>
                    <a:pt x="60" y="76"/>
                  </a:cubicBezTo>
                  <a:cubicBezTo>
                    <a:pt x="62" y="73"/>
                    <a:pt x="68" y="74"/>
                    <a:pt x="72" y="72"/>
                  </a:cubicBezTo>
                  <a:cubicBezTo>
                    <a:pt x="73" y="67"/>
                    <a:pt x="75" y="68"/>
                    <a:pt x="76" y="66"/>
                  </a:cubicBezTo>
                  <a:cubicBezTo>
                    <a:pt x="76" y="62"/>
                    <a:pt x="75" y="57"/>
                    <a:pt x="75" y="52"/>
                  </a:cubicBezTo>
                  <a:cubicBezTo>
                    <a:pt x="75" y="49"/>
                    <a:pt x="75" y="49"/>
                    <a:pt x="75" y="46"/>
                  </a:cubicBezTo>
                  <a:cubicBezTo>
                    <a:pt x="75" y="43"/>
                    <a:pt x="76" y="36"/>
                    <a:pt x="78" y="33"/>
                  </a:cubicBezTo>
                  <a:cubicBezTo>
                    <a:pt x="80" y="30"/>
                    <a:pt x="83" y="30"/>
                    <a:pt x="88" y="30"/>
                  </a:cubicBezTo>
                  <a:cubicBezTo>
                    <a:pt x="93" y="30"/>
                    <a:pt x="99" y="34"/>
                    <a:pt x="106" y="34"/>
                  </a:cubicBezTo>
                  <a:cubicBezTo>
                    <a:pt x="113" y="34"/>
                    <a:pt x="125" y="32"/>
                    <a:pt x="130" y="30"/>
                  </a:cubicBezTo>
                  <a:cubicBezTo>
                    <a:pt x="133" y="21"/>
                    <a:pt x="146" y="27"/>
                    <a:pt x="138" y="21"/>
                  </a:cubicBezTo>
                  <a:cubicBezTo>
                    <a:pt x="133" y="13"/>
                    <a:pt x="121" y="8"/>
                    <a:pt x="118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6" name="Freeform 60"/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104677" y="3362591"/>
              <a:ext cx="285092" cy="223525"/>
            </a:xfrm>
            <a:custGeom>
              <a:avLst/>
              <a:gdLst>
                <a:gd name="T0" fmla="*/ 0 w 173"/>
                <a:gd name="T1" fmla="*/ 138 h 138"/>
                <a:gd name="T2" fmla="*/ 27 w 173"/>
                <a:gd name="T3" fmla="*/ 124 h 138"/>
                <a:gd name="T4" fmla="*/ 39 w 173"/>
                <a:gd name="T5" fmla="*/ 114 h 138"/>
                <a:gd name="T6" fmla="*/ 54 w 173"/>
                <a:gd name="T7" fmla="*/ 63 h 138"/>
                <a:gd name="T8" fmla="*/ 72 w 173"/>
                <a:gd name="T9" fmla="*/ 42 h 138"/>
                <a:gd name="T10" fmla="*/ 90 w 173"/>
                <a:gd name="T11" fmla="*/ 30 h 138"/>
                <a:gd name="T12" fmla="*/ 102 w 173"/>
                <a:gd name="T13" fmla="*/ 15 h 138"/>
                <a:gd name="T14" fmla="*/ 108 w 173"/>
                <a:gd name="T15" fmla="*/ 0 h 138"/>
                <a:gd name="T16" fmla="*/ 144 w 173"/>
                <a:gd name="T17" fmla="*/ 4 h 138"/>
                <a:gd name="T18" fmla="*/ 168 w 173"/>
                <a:gd name="T19" fmla="*/ 12 h 138"/>
                <a:gd name="T20" fmla="*/ 171 w 173"/>
                <a:gd name="T21" fmla="*/ 57 h 138"/>
                <a:gd name="T22" fmla="*/ 154 w 173"/>
                <a:gd name="T23" fmla="*/ 64 h 138"/>
                <a:gd name="T24" fmla="*/ 145 w 173"/>
                <a:gd name="T25" fmla="*/ 76 h 138"/>
                <a:gd name="T26" fmla="*/ 133 w 173"/>
                <a:gd name="T27" fmla="*/ 85 h 138"/>
                <a:gd name="T28" fmla="*/ 118 w 173"/>
                <a:gd name="T29" fmla="*/ 96 h 138"/>
                <a:gd name="T30" fmla="*/ 104 w 173"/>
                <a:gd name="T31" fmla="*/ 108 h 138"/>
                <a:gd name="T32" fmla="*/ 85 w 173"/>
                <a:gd name="T33" fmla="*/ 109 h 138"/>
                <a:gd name="T34" fmla="*/ 61 w 173"/>
                <a:gd name="T35" fmla="*/ 133 h 138"/>
                <a:gd name="T36" fmla="*/ 0 w 173"/>
                <a:gd name="T37" fmla="*/ 138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73" h="138">
                  <a:moveTo>
                    <a:pt x="0" y="138"/>
                  </a:moveTo>
                  <a:cubicBezTo>
                    <a:pt x="6" y="135"/>
                    <a:pt x="21" y="128"/>
                    <a:pt x="27" y="124"/>
                  </a:cubicBezTo>
                  <a:cubicBezTo>
                    <a:pt x="31" y="118"/>
                    <a:pt x="31" y="115"/>
                    <a:pt x="39" y="114"/>
                  </a:cubicBezTo>
                  <a:cubicBezTo>
                    <a:pt x="60" y="104"/>
                    <a:pt x="42" y="80"/>
                    <a:pt x="54" y="63"/>
                  </a:cubicBezTo>
                  <a:cubicBezTo>
                    <a:pt x="56" y="53"/>
                    <a:pt x="61" y="44"/>
                    <a:pt x="72" y="42"/>
                  </a:cubicBezTo>
                  <a:cubicBezTo>
                    <a:pt x="77" y="36"/>
                    <a:pt x="82" y="32"/>
                    <a:pt x="90" y="30"/>
                  </a:cubicBezTo>
                  <a:cubicBezTo>
                    <a:pt x="97" y="27"/>
                    <a:pt x="98" y="21"/>
                    <a:pt x="102" y="15"/>
                  </a:cubicBezTo>
                  <a:cubicBezTo>
                    <a:pt x="103" y="9"/>
                    <a:pt x="104" y="5"/>
                    <a:pt x="108" y="0"/>
                  </a:cubicBezTo>
                  <a:cubicBezTo>
                    <a:pt x="121" y="1"/>
                    <a:pt x="131" y="3"/>
                    <a:pt x="144" y="4"/>
                  </a:cubicBezTo>
                  <a:cubicBezTo>
                    <a:pt x="154" y="5"/>
                    <a:pt x="163" y="3"/>
                    <a:pt x="168" y="12"/>
                  </a:cubicBezTo>
                  <a:cubicBezTo>
                    <a:pt x="172" y="20"/>
                    <a:pt x="173" y="48"/>
                    <a:pt x="171" y="57"/>
                  </a:cubicBezTo>
                  <a:cubicBezTo>
                    <a:pt x="169" y="66"/>
                    <a:pt x="158" y="61"/>
                    <a:pt x="154" y="64"/>
                  </a:cubicBezTo>
                  <a:cubicBezTo>
                    <a:pt x="149" y="68"/>
                    <a:pt x="148" y="71"/>
                    <a:pt x="145" y="76"/>
                  </a:cubicBezTo>
                  <a:cubicBezTo>
                    <a:pt x="143" y="84"/>
                    <a:pt x="140" y="84"/>
                    <a:pt x="133" y="85"/>
                  </a:cubicBezTo>
                  <a:cubicBezTo>
                    <a:pt x="127" y="89"/>
                    <a:pt x="124" y="92"/>
                    <a:pt x="118" y="96"/>
                  </a:cubicBezTo>
                  <a:cubicBezTo>
                    <a:pt x="113" y="100"/>
                    <a:pt x="109" y="106"/>
                    <a:pt x="104" y="108"/>
                  </a:cubicBezTo>
                  <a:cubicBezTo>
                    <a:pt x="99" y="110"/>
                    <a:pt x="92" y="105"/>
                    <a:pt x="85" y="109"/>
                  </a:cubicBezTo>
                  <a:cubicBezTo>
                    <a:pt x="77" y="113"/>
                    <a:pt x="62" y="133"/>
                    <a:pt x="61" y="133"/>
                  </a:cubicBezTo>
                  <a:cubicBezTo>
                    <a:pt x="44" y="134"/>
                    <a:pt x="17" y="138"/>
                    <a:pt x="0" y="13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7" name="Freeform 61"/>
            <p:cNvSpPr>
              <a:spLocks/>
            </p:cNvSpPr>
            <p:nvPr>
              <p:custDataLst>
                <p:tags r:id="rId53"/>
              </p:custDataLst>
            </p:nvPr>
          </p:nvSpPr>
          <p:spPr bwMode="gray">
            <a:xfrm>
              <a:off x="5274202" y="3464635"/>
              <a:ext cx="503771" cy="424373"/>
            </a:xfrm>
            <a:custGeom>
              <a:avLst/>
              <a:gdLst>
                <a:gd name="T0" fmla="*/ 7 w 306"/>
                <a:gd name="T1" fmla="*/ 45 h 262"/>
                <a:gd name="T2" fmla="*/ 23 w 306"/>
                <a:gd name="T3" fmla="*/ 45 h 262"/>
                <a:gd name="T4" fmla="*/ 37 w 306"/>
                <a:gd name="T5" fmla="*/ 36 h 262"/>
                <a:gd name="T6" fmla="*/ 35 w 306"/>
                <a:gd name="T7" fmla="*/ 15 h 262"/>
                <a:gd name="T8" fmla="*/ 37 w 306"/>
                <a:gd name="T9" fmla="*/ 6 h 262"/>
                <a:gd name="T10" fmla="*/ 59 w 306"/>
                <a:gd name="T11" fmla="*/ 3 h 262"/>
                <a:gd name="T12" fmla="*/ 79 w 306"/>
                <a:gd name="T13" fmla="*/ 1 h 262"/>
                <a:gd name="T14" fmla="*/ 94 w 306"/>
                <a:gd name="T15" fmla="*/ 7 h 262"/>
                <a:gd name="T16" fmla="*/ 106 w 306"/>
                <a:gd name="T17" fmla="*/ 18 h 262"/>
                <a:gd name="T18" fmla="*/ 121 w 306"/>
                <a:gd name="T19" fmla="*/ 24 h 262"/>
                <a:gd name="T20" fmla="*/ 128 w 306"/>
                <a:gd name="T21" fmla="*/ 36 h 262"/>
                <a:gd name="T22" fmla="*/ 128 w 306"/>
                <a:gd name="T23" fmla="*/ 39 h 262"/>
                <a:gd name="T24" fmla="*/ 139 w 306"/>
                <a:gd name="T25" fmla="*/ 43 h 262"/>
                <a:gd name="T26" fmla="*/ 154 w 306"/>
                <a:gd name="T27" fmla="*/ 48 h 262"/>
                <a:gd name="T28" fmla="*/ 185 w 306"/>
                <a:gd name="T29" fmla="*/ 52 h 262"/>
                <a:gd name="T30" fmla="*/ 200 w 306"/>
                <a:gd name="T31" fmla="*/ 58 h 262"/>
                <a:gd name="T32" fmla="*/ 214 w 306"/>
                <a:gd name="T33" fmla="*/ 81 h 262"/>
                <a:gd name="T34" fmla="*/ 223 w 306"/>
                <a:gd name="T35" fmla="*/ 94 h 262"/>
                <a:gd name="T36" fmla="*/ 235 w 306"/>
                <a:gd name="T37" fmla="*/ 111 h 262"/>
                <a:gd name="T38" fmla="*/ 247 w 306"/>
                <a:gd name="T39" fmla="*/ 129 h 262"/>
                <a:gd name="T40" fmla="*/ 254 w 306"/>
                <a:gd name="T41" fmla="*/ 156 h 262"/>
                <a:gd name="T42" fmla="*/ 280 w 306"/>
                <a:gd name="T43" fmla="*/ 162 h 262"/>
                <a:gd name="T44" fmla="*/ 302 w 306"/>
                <a:gd name="T45" fmla="*/ 163 h 262"/>
                <a:gd name="T46" fmla="*/ 304 w 306"/>
                <a:gd name="T47" fmla="*/ 177 h 262"/>
                <a:gd name="T48" fmla="*/ 296 w 306"/>
                <a:gd name="T49" fmla="*/ 193 h 262"/>
                <a:gd name="T50" fmla="*/ 281 w 306"/>
                <a:gd name="T51" fmla="*/ 204 h 262"/>
                <a:gd name="T52" fmla="*/ 274 w 306"/>
                <a:gd name="T53" fmla="*/ 210 h 262"/>
                <a:gd name="T54" fmla="*/ 257 w 306"/>
                <a:gd name="T55" fmla="*/ 214 h 262"/>
                <a:gd name="T56" fmla="*/ 236 w 306"/>
                <a:gd name="T57" fmla="*/ 223 h 262"/>
                <a:gd name="T58" fmla="*/ 208 w 306"/>
                <a:gd name="T59" fmla="*/ 224 h 262"/>
                <a:gd name="T60" fmla="*/ 197 w 306"/>
                <a:gd name="T61" fmla="*/ 228 h 262"/>
                <a:gd name="T62" fmla="*/ 191 w 306"/>
                <a:gd name="T63" fmla="*/ 231 h 262"/>
                <a:gd name="T64" fmla="*/ 182 w 306"/>
                <a:gd name="T65" fmla="*/ 249 h 262"/>
                <a:gd name="T66" fmla="*/ 169 w 306"/>
                <a:gd name="T67" fmla="*/ 262 h 262"/>
                <a:gd name="T68" fmla="*/ 137 w 306"/>
                <a:gd name="T69" fmla="*/ 246 h 262"/>
                <a:gd name="T70" fmla="*/ 113 w 306"/>
                <a:gd name="T71" fmla="*/ 247 h 262"/>
                <a:gd name="T72" fmla="*/ 107 w 306"/>
                <a:gd name="T73" fmla="*/ 238 h 262"/>
                <a:gd name="T74" fmla="*/ 83 w 306"/>
                <a:gd name="T75" fmla="*/ 208 h 262"/>
                <a:gd name="T76" fmla="*/ 68 w 306"/>
                <a:gd name="T77" fmla="*/ 192 h 262"/>
                <a:gd name="T78" fmla="*/ 61 w 306"/>
                <a:gd name="T79" fmla="*/ 154 h 262"/>
                <a:gd name="T80" fmla="*/ 37 w 306"/>
                <a:gd name="T81" fmla="*/ 127 h 262"/>
                <a:gd name="T82" fmla="*/ 31 w 306"/>
                <a:gd name="T83" fmla="*/ 120 h 262"/>
                <a:gd name="T84" fmla="*/ 20 w 306"/>
                <a:gd name="T85" fmla="*/ 96 h 262"/>
                <a:gd name="T86" fmla="*/ 8 w 306"/>
                <a:gd name="T87" fmla="*/ 78 h 262"/>
                <a:gd name="T88" fmla="*/ 1 w 306"/>
                <a:gd name="T89" fmla="*/ 60 h 262"/>
                <a:gd name="T90" fmla="*/ 7 w 306"/>
                <a:gd name="T91" fmla="*/ 4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6" h="262">
                  <a:moveTo>
                    <a:pt x="7" y="45"/>
                  </a:moveTo>
                  <a:cubicBezTo>
                    <a:pt x="14" y="46"/>
                    <a:pt x="17" y="49"/>
                    <a:pt x="23" y="45"/>
                  </a:cubicBezTo>
                  <a:cubicBezTo>
                    <a:pt x="27" y="38"/>
                    <a:pt x="29" y="37"/>
                    <a:pt x="37" y="36"/>
                  </a:cubicBezTo>
                  <a:cubicBezTo>
                    <a:pt x="48" y="30"/>
                    <a:pt x="44" y="20"/>
                    <a:pt x="35" y="15"/>
                  </a:cubicBezTo>
                  <a:cubicBezTo>
                    <a:pt x="34" y="12"/>
                    <a:pt x="32" y="7"/>
                    <a:pt x="37" y="6"/>
                  </a:cubicBezTo>
                  <a:cubicBezTo>
                    <a:pt x="44" y="4"/>
                    <a:pt x="59" y="3"/>
                    <a:pt x="59" y="3"/>
                  </a:cubicBezTo>
                  <a:cubicBezTo>
                    <a:pt x="67" y="0"/>
                    <a:pt x="71" y="0"/>
                    <a:pt x="79" y="1"/>
                  </a:cubicBezTo>
                  <a:cubicBezTo>
                    <a:pt x="84" y="4"/>
                    <a:pt x="88" y="6"/>
                    <a:pt x="94" y="7"/>
                  </a:cubicBezTo>
                  <a:cubicBezTo>
                    <a:pt x="100" y="10"/>
                    <a:pt x="106" y="18"/>
                    <a:pt x="106" y="18"/>
                  </a:cubicBezTo>
                  <a:cubicBezTo>
                    <a:pt x="109" y="24"/>
                    <a:pt x="115" y="20"/>
                    <a:pt x="121" y="24"/>
                  </a:cubicBezTo>
                  <a:cubicBezTo>
                    <a:pt x="122" y="31"/>
                    <a:pt x="122" y="33"/>
                    <a:pt x="128" y="36"/>
                  </a:cubicBezTo>
                  <a:cubicBezTo>
                    <a:pt x="129" y="38"/>
                    <a:pt x="126" y="38"/>
                    <a:pt x="128" y="39"/>
                  </a:cubicBezTo>
                  <a:cubicBezTo>
                    <a:pt x="130" y="40"/>
                    <a:pt x="135" y="42"/>
                    <a:pt x="139" y="43"/>
                  </a:cubicBezTo>
                  <a:cubicBezTo>
                    <a:pt x="144" y="45"/>
                    <a:pt x="149" y="46"/>
                    <a:pt x="154" y="48"/>
                  </a:cubicBezTo>
                  <a:cubicBezTo>
                    <a:pt x="166" y="57"/>
                    <a:pt x="152" y="48"/>
                    <a:pt x="185" y="52"/>
                  </a:cubicBezTo>
                  <a:cubicBezTo>
                    <a:pt x="190" y="53"/>
                    <a:pt x="195" y="57"/>
                    <a:pt x="200" y="58"/>
                  </a:cubicBezTo>
                  <a:cubicBezTo>
                    <a:pt x="202" y="70"/>
                    <a:pt x="203" y="76"/>
                    <a:pt x="214" y="81"/>
                  </a:cubicBezTo>
                  <a:cubicBezTo>
                    <a:pt x="222" y="91"/>
                    <a:pt x="219" y="87"/>
                    <a:pt x="223" y="94"/>
                  </a:cubicBezTo>
                  <a:cubicBezTo>
                    <a:pt x="224" y="107"/>
                    <a:pt x="224" y="106"/>
                    <a:pt x="235" y="111"/>
                  </a:cubicBezTo>
                  <a:cubicBezTo>
                    <a:pt x="239" y="118"/>
                    <a:pt x="241" y="125"/>
                    <a:pt x="247" y="129"/>
                  </a:cubicBezTo>
                  <a:cubicBezTo>
                    <a:pt x="250" y="137"/>
                    <a:pt x="245" y="151"/>
                    <a:pt x="254" y="156"/>
                  </a:cubicBezTo>
                  <a:cubicBezTo>
                    <a:pt x="259" y="161"/>
                    <a:pt x="272" y="161"/>
                    <a:pt x="280" y="162"/>
                  </a:cubicBezTo>
                  <a:cubicBezTo>
                    <a:pt x="288" y="163"/>
                    <a:pt x="298" y="160"/>
                    <a:pt x="302" y="163"/>
                  </a:cubicBezTo>
                  <a:cubicBezTo>
                    <a:pt x="306" y="166"/>
                    <a:pt x="305" y="172"/>
                    <a:pt x="304" y="177"/>
                  </a:cubicBezTo>
                  <a:cubicBezTo>
                    <a:pt x="303" y="182"/>
                    <a:pt x="300" y="188"/>
                    <a:pt x="296" y="193"/>
                  </a:cubicBezTo>
                  <a:cubicBezTo>
                    <a:pt x="293" y="201"/>
                    <a:pt x="286" y="201"/>
                    <a:pt x="281" y="204"/>
                  </a:cubicBezTo>
                  <a:cubicBezTo>
                    <a:pt x="277" y="207"/>
                    <a:pt x="278" y="208"/>
                    <a:pt x="274" y="210"/>
                  </a:cubicBezTo>
                  <a:cubicBezTo>
                    <a:pt x="270" y="212"/>
                    <a:pt x="263" y="212"/>
                    <a:pt x="257" y="214"/>
                  </a:cubicBezTo>
                  <a:cubicBezTo>
                    <a:pt x="245" y="223"/>
                    <a:pt x="254" y="222"/>
                    <a:pt x="236" y="223"/>
                  </a:cubicBezTo>
                  <a:cubicBezTo>
                    <a:pt x="227" y="225"/>
                    <a:pt x="214" y="223"/>
                    <a:pt x="208" y="224"/>
                  </a:cubicBezTo>
                  <a:cubicBezTo>
                    <a:pt x="202" y="225"/>
                    <a:pt x="200" y="227"/>
                    <a:pt x="197" y="228"/>
                  </a:cubicBezTo>
                  <a:cubicBezTo>
                    <a:pt x="194" y="231"/>
                    <a:pt x="193" y="228"/>
                    <a:pt x="191" y="231"/>
                  </a:cubicBezTo>
                  <a:cubicBezTo>
                    <a:pt x="189" y="234"/>
                    <a:pt x="186" y="244"/>
                    <a:pt x="182" y="249"/>
                  </a:cubicBezTo>
                  <a:cubicBezTo>
                    <a:pt x="179" y="254"/>
                    <a:pt x="174" y="259"/>
                    <a:pt x="169" y="262"/>
                  </a:cubicBezTo>
                  <a:cubicBezTo>
                    <a:pt x="154" y="259"/>
                    <a:pt x="149" y="248"/>
                    <a:pt x="137" y="246"/>
                  </a:cubicBezTo>
                  <a:cubicBezTo>
                    <a:pt x="129" y="246"/>
                    <a:pt x="121" y="248"/>
                    <a:pt x="113" y="247"/>
                  </a:cubicBezTo>
                  <a:cubicBezTo>
                    <a:pt x="112" y="247"/>
                    <a:pt x="107" y="238"/>
                    <a:pt x="107" y="238"/>
                  </a:cubicBezTo>
                  <a:cubicBezTo>
                    <a:pt x="101" y="228"/>
                    <a:pt x="93" y="214"/>
                    <a:pt x="83" y="208"/>
                  </a:cubicBezTo>
                  <a:cubicBezTo>
                    <a:pt x="80" y="201"/>
                    <a:pt x="75" y="196"/>
                    <a:pt x="68" y="192"/>
                  </a:cubicBezTo>
                  <a:cubicBezTo>
                    <a:pt x="58" y="175"/>
                    <a:pt x="64" y="186"/>
                    <a:pt x="61" y="154"/>
                  </a:cubicBezTo>
                  <a:cubicBezTo>
                    <a:pt x="60" y="142"/>
                    <a:pt x="45" y="133"/>
                    <a:pt x="37" y="127"/>
                  </a:cubicBezTo>
                  <a:cubicBezTo>
                    <a:pt x="36" y="124"/>
                    <a:pt x="32" y="123"/>
                    <a:pt x="31" y="120"/>
                  </a:cubicBezTo>
                  <a:cubicBezTo>
                    <a:pt x="27" y="107"/>
                    <a:pt x="34" y="98"/>
                    <a:pt x="20" y="96"/>
                  </a:cubicBezTo>
                  <a:cubicBezTo>
                    <a:pt x="18" y="88"/>
                    <a:pt x="14" y="83"/>
                    <a:pt x="8" y="78"/>
                  </a:cubicBezTo>
                  <a:cubicBezTo>
                    <a:pt x="7" y="72"/>
                    <a:pt x="5" y="65"/>
                    <a:pt x="1" y="60"/>
                  </a:cubicBezTo>
                  <a:cubicBezTo>
                    <a:pt x="1" y="55"/>
                    <a:pt x="0" y="45"/>
                    <a:pt x="7" y="4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8" name="Freeform 62"/>
            <p:cNvSpPr>
              <a:spLocks/>
            </p:cNvSpPr>
            <p:nvPr>
              <p:custDataLst>
                <p:tags r:id="rId54"/>
              </p:custDataLst>
            </p:nvPr>
          </p:nvSpPr>
          <p:spPr bwMode="gray">
            <a:xfrm>
              <a:off x="5258003" y="3429000"/>
              <a:ext cx="121489" cy="118242"/>
            </a:xfrm>
            <a:custGeom>
              <a:avLst/>
              <a:gdLst>
                <a:gd name="T0" fmla="*/ 8 w 73"/>
                <a:gd name="T1" fmla="*/ 70 h 73"/>
                <a:gd name="T2" fmla="*/ 31 w 73"/>
                <a:gd name="T3" fmla="*/ 67 h 73"/>
                <a:gd name="T4" fmla="*/ 41 w 73"/>
                <a:gd name="T5" fmla="*/ 56 h 73"/>
                <a:gd name="T6" fmla="*/ 50 w 73"/>
                <a:gd name="T7" fmla="*/ 58 h 73"/>
                <a:gd name="T8" fmla="*/ 46 w 73"/>
                <a:gd name="T9" fmla="*/ 37 h 73"/>
                <a:gd name="T10" fmla="*/ 57 w 73"/>
                <a:gd name="T11" fmla="*/ 26 h 73"/>
                <a:gd name="T12" fmla="*/ 70 w 73"/>
                <a:gd name="T13" fmla="*/ 28 h 73"/>
                <a:gd name="T14" fmla="*/ 64 w 73"/>
                <a:gd name="T15" fmla="*/ 17 h 73"/>
                <a:gd name="T16" fmla="*/ 58 w 73"/>
                <a:gd name="T17" fmla="*/ 2 h 73"/>
                <a:gd name="T18" fmla="*/ 46 w 73"/>
                <a:gd name="T19" fmla="*/ 5 h 73"/>
                <a:gd name="T20" fmla="*/ 38 w 73"/>
                <a:gd name="T21" fmla="*/ 14 h 73"/>
                <a:gd name="T22" fmla="*/ 41 w 73"/>
                <a:gd name="T23" fmla="*/ 14 h 73"/>
                <a:gd name="T24" fmla="*/ 26 w 73"/>
                <a:gd name="T25" fmla="*/ 11 h 73"/>
                <a:gd name="T26" fmla="*/ 16 w 73"/>
                <a:gd name="T27" fmla="*/ 22 h 73"/>
                <a:gd name="T28" fmla="*/ 4 w 73"/>
                <a:gd name="T29" fmla="*/ 44 h 73"/>
                <a:gd name="T30" fmla="*/ 5 w 73"/>
                <a:gd name="T31" fmla="*/ 65 h 73"/>
                <a:gd name="T32" fmla="*/ 8 w 73"/>
                <a:gd name="T33" fmla="*/ 70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3" h="73">
                  <a:moveTo>
                    <a:pt x="8" y="70"/>
                  </a:moveTo>
                  <a:cubicBezTo>
                    <a:pt x="22" y="64"/>
                    <a:pt x="0" y="73"/>
                    <a:pt x="31" y="67"/>
                  </a:cubicBezTo>
                  <a:cubicBezTo>
                    <a:pt x="36" y="66"/>
                    <a:pt x="38" y="57"/>
                    <a:pt x="41" y="56"/>
                  </a:cubicBezTo>
                  <a:cubicBezTo>
                    <a:pt x="44" y="55"/>
                    <a:pt x="49" y="61"/>
                    <a:pt x="50" y="58"/>
                  </a:cubicBezTo>
                  <a:cubicBezTo>
                    <a:pt x="53" y="51"/>
                    <a:pt x="51" y="43"/>
                    <a:pt x="46" y="37"/>
                  </a:cubicBezTo>
                  <a:cubicBezTo>
                    <a:pt x="47" y="32"/>
                    <a:pt x="53" y="27"/>
                    <a:pt x="57" y="26"/>
                  </a:cubicBezTo>
                  <a:cubicBezTo>
                    <a:pt x="61" y="25"/>
                    <a:pt x="69" y="29"/>
                    <a:pt x="70" y="28"/>
                  </a:cubicBezTo>
                  <a:cubicBezTo>
                    <a:pt x="73" y="24"/>
                    <a:pt x="66" y="21"/>
                    <a:pt x="64" y="17"/>
                  </a:cubicBezTo>
                  <a:cubicBezTo>
                    <a:pt x="62" y="13"/>
                    <a:pt x="61" y="4"/>
                    <a:pt x="58" y="2"/>
                  </a:cubicBezTo>
                  <a:cubicBezTo>
                    <a:pt x="55" y="0"/>
                    <a:pt x="49" y="3"/>
                    <a:pt x="46" y="5"/>
                  </a:cubicBezTo>
                  <a:cubicBezTo>
                    <a:pt x="44" y="6"/>
                    <a:pt x="39" y="12"/>
                    <a:pt x="38" y="14"/>
                  </a:cubicBezTo>
                  <a:cubicBezTo>
                    <a:pt x="37" y="17"/>
                    <a:pt x="43" y="11"/>
                    <a:pt x="41" y="14"/>
                  </a:cubicBezTo>
                  <a:cubicBezTo>
                    <a:pt x="41" y="14"/>
                    <a:pt x="27" y="12"/>
                    <a:pt x="26" y="11"/>
                  </a:cubicBezTo>
                  <a:cubicBezTo>
                    <a:pt x="21" y="14"/>
                    <a:pt x="19" y="17"/>
                    <a:pt x="16" y="22"/>
                  </a:cubicBezTo>
                  <a:cubicBezTo>
                    <a:pt x="14" y="38"/>
                    <a:pt x="18" y="42"/>
                    <a:pt x="4" y="44"/>
                  </a:cubicBezTo>
                  <a:cubicBezTo>
                    <a:pt x="4" y="51"/>
                    <a:pt x="4" y="58"/>
                    <a:pt x="5" y="65"/>
                  </a:cubicBezTo>
                  <a:cubicBezTo>
                    <a:pt x="5" y="67"/>
                    <a:pt x="8" y="70"/>
                    <a:pt x="8" y="7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49" name="Freeform 63"/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133834" y="4078518"/>
              <a:ext cx="121489" cy="85847"/>
            </a:xfrm>
            <a:custGeom>
              <a:avLst/>
              <a:gdLst>
                <a:gd name="T0" fmla="*/ 51 w 73"/>
                <a:gd name="T1" fmla="*/ 17 h 53"/>
                <a:gd name="T2" fmla="*/ 47 w 73"/>
                <a:gd name="T3" fmla="*/ 11 h 53"/>
                <a:gd name="T4" fmla="*/ 36 w 73"/>
                <a:gd name="T5" fmla="*/ 11 h 53"/>
                <a:gd name="T6" fmla="*/ 18 w 73"/>
                <a:gd name="T7" fmla="*/ 0 h 53"/>
                <a:gd name="T8" fmla="*/ 7 w 73"/>
                <a:gd name="T9" fmla="*/ 11 h 53"/>
                <a:gd name="T10" fmla="*/ 1 w 73"/>
                <a:gd name="T11" fmla="*/ 23 h 53"/>
                <a:gd name="T12" fmla="*/ 15 w 73"/>
                <a:gd name="T13" fmla="*/ 27 h 53"/>
                <a:gd name="T14" fmla="*/ 27 w 73"/>
                <a:gd name="T15" fmla="*/ 35 h 53"/>
                <a:gd name="T16" fmla="*/ 43 w 73"/>
                <a:gd name="T17" fmla="*/ 49 h 53"/>
                <a:gd name="T18" fmla="*/ 55 w 73"/>
                <a:gd name="T19" fmla="*/ 53 h 53"/>
                <a:gd name="T20" fmla="*/ 55 w 73"/>
                <a:gd name="T21" fmla="*/ 31 h 53"/>
                <a:gd name="T22" fmla="*/ 51 w 73"/>
                <a:gd name="T23" fmla="*/ 17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53">
                  <a:moveTo>
                    <a:pt x="51" y="17"/>
                  </a:moveTo>
                  <a:cubicBezTo>
                    <a:pt x="50" y="15"/>
                    <a:pt x="49" y="11"/>
                    <a:pt x="47" y="11"/>
                  </a:cubicBezTo>
                  <a:cubicBezTo>
                    <a:pt x="44" y="9"/>
                    <a:pt x="41" y="13"/>
                    <a:pt x="36" y="11"/>
                  </a:cubicBezTo>
                  <a:cubicBezTo>
                    <a:pt x="31" y="9"/>
                    <a:pt x="23" y="0"/>
                    <a:pt x="18" y="0"/>
                  </a:cubicBezTo>
                  <a:cubicBezTo>
                    <a:pt x="13" y="0"/>
                    <a:pt x="10" y="7"/>
                    <a:pt x="7" y="11"/>
                  </a:cubicBezTo>
                  <a:cubicBezTo>
                    <a:pt x="7" y="12"/>
                    <a:pt x="0" y="21"/>
                    <a:pt x="1" y="23"/>
                  </a:cubicBezTo>
                  <a:cubicBezTo>
                    <a:pt x="4" y="27"/>
                    <a:pt x="11" y="25"/>
                    <a:pt x="15" y="27"/>
                  </a:cubicBezTo>
                  <a:cubicBezTo>
                    <a:pt x="19" y="29"/>
                    <a:pt x="27" y="35"/>
                    <a:pt x="27" y="35"/>
                  </a:cubicBezTo>
                  <a:cubicBezTo>
                    <a:pt x="29" y="38"/>
                    <a:pt x="40" y="47"/>
                    <a:pt x="43" y="49"/>
                  </a:cubicBezTo>
                  <a:cubicBezTo>
                    <a:pt x="47" y="51"/>
                    <a:pt x="55" y="53"/>
                    <a:pt x="55" y="53"/>
                  </a:cubicBezTo>
                  <a:cubicBezTo>
                    <a:pt x="73" y="49"/>
                    <a:pt x="65" y="38"/>
                    <a:pt x="55" y="31"/>
                  </a:cubicBezTo>
                  <a:cubicBezTo>
                    <a:pt x="52" y="22"/>
                    <a:pt x="54" y="27"/>
                    <a:pt x="51" y="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0" name="Freeform 68"/>
            <p:cNvSpPr>
              <a:spLocks/>
            </p:cNvSpPr>
            <p:nvPr>
              <p:custDataLst>
                <p:tags r:id="rId56"/>
              </p:custDataLst>
            </p:nvPr>
          </p:nvSpPr>
          <p:spPr bwMode="gray">
            <a:xfrm>
              <a:off x="4567951" y="2964133"/>
              <a:ext cx="124728" cy="77748"/>
            </a:xfrm>
            <a:custGeom>
              <a:avLst/>
              <a:gdLst>
                <a:gd name="T0" fmla="*/ 13 w 76"/>
                <a:gd name="T1" fmla="*/ 12 h 48"/>
                <a:gd name="T2" fmla="*/ 47 w 76"/>
                <a:gd name="T3" fmla="*/ 4 h 48"/>
                <a:gd name="T4" fmla="*/ 67 w 76"/>
                <a:gd name="T5" fmla="*/ 7 h 48"/>
                <a:gd name="T6" fmla="*/ 76 w 76"/>
                <a:gd name="T7" fmla="*/ 18 h 48"/>
                <a:gd name="T8" fmla="*/ 64 w 76"/>
                <a:gd name="T9" fmla="*/ 25 h 48"/>
                <a:gd name="T10" fmla="*/ 56 w 76"/>
                <a:gd name="T11" fmla="*/ 31 h 48"/>
                <a:gd name="T12" fmla="*/ 41 w 76"/>
                <a:gd name="T13" fmla="*/ 39 h 48"/>
                <a:gd name="T14" fmla="*/ 29 w 76"/>
                <a:gd name="T15" fmla="*/ 43 h 48"/>
                <a:gd name="T16" fmla="*/ 4 w 76"/>
                <a:gd name="T17" fmla="*/ 34 h 48"/>
                <a:gd name="T18" fmla="*/ 2 w 76"/>
                <a:gd name="T19" fmla="*/ 18 h 48"/>
                <a:gd name="T20" fmla="*/ 13 w 76"/>
                <a:gd name="T21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6" h="48">
                  <a:moveTo>
                    <a:pt x="13" y="12"/>
                  </a:moveTo>
                  <a:cubicBezTo>
                    <a:pt x="37" y="4"/>
                    <a:pt x="23" y="0"/>
                    <a:pt x="47" y="4"/>
                  </a:cubicBezTo>
                  <a:cubicBezTo>
                    <a:pt x="53" y="5"/>
                    <a:pt x="70" y="1"/>
                    <a:pt x="67" y="7"/>
                  </a:cubicBezTo>
                  <a:cubicBezTo>
                    <a:pt x="72" y="9"/>
                    <a:pt x="76" y="15"/>
                    <a:pt x="76" y="18"/>
                  </a:cubicBezTo>
                  <a:cubicBezTo>
                    <a:pt x="76" y="21"/>
                    <a:pt x="67" y="23"/>
                    <a:pt x="64" y="25"/>
                  </a:cubicBezTo>
                  <a:cubicBezTo>
                    <a:pt x="61" y="27"/>
                    <a:pt x="60" y="29"/>
                    <a:pt x="56" y="31"/>
                  </a:cubicBezTo>
                  <a:cubicBezTo>
                    <a:pt x="52" y="33"/>
                    <a:pt x="45" y="37"/>
                    <a:pt x="41" y="39"/>
                  </a:cubicBezTo>
                  <a:cubicBezTo>
                    <a:pt x="37" y="41"/>
                    <a:pt x="35" y="44"/>
                    <a:pt x="29" y="43"/>
                  </a:cubicBezTo>
                  <a:cubicBezTo>
                    <a:pt x="23" y="48"/>
                    <a:pt x="9" y="38"/>
                    <a:pt x="4" y="34"/>
                  </a:cubicBezTo>
                  <a:cubicBezTo>
                    <a:pt x="0" y="30"/>
                    <a:pt x="0" y="22"/>
                    <a:pt x="2" y="18"/>
                  </a:cubicBezTo>
                  <a:cubicBezTo>
                    <a:pt x="7" y="14"/>
                    <a:pt x="18" y="17"/>
                    <a:pt x="13" y="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1" name="Freeform 69"/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4488578" y="2815117"/>
              <a:ext cx="84232" cy="95565"/>
            </a:xfrm>
            <a:custGeom>
              <a:avLst/>
              <a:gdLst>
                <a:gd name="T0" fmla="*/ 20 w 51"/>
                <a:gd name="T1" fmla="*/ 5 h 59"/>
                <a:gd name="T2" fmla="*/ 47 w 51"/>
                <a:gd name="T3" fmla="*/ 17 h 59"/>
                <a:gd name="T4" fmla="*/ 50 w 51"/>
                <a:gd name="T5" fmla="*/ 29 h 59"/>
                <a:gd name="T6" fmla="*/ 48 w 51"/>
                <a:gd name="T7" fmla="*/ 59 h 59"/>
                <a:gd name="T8" fmla="*/ 26 w 51"/>
                <a:gd name="T9" fmla="*/ 39 h 59"/>
                <a:gd name="T10" fmla="*/ 6 w 51"/>
                <a:gd name="T11" fmla="*/ 25 h 59"/>
                <a:gd name="T12" fmla="*/ 10 w 51"/>
                <a:gd name="T13" fmla="*/ 7 h 59"/>
                <a:gd name="T14" fmla="*/ 12 w 51"/>
                <a:gd name="T15" fmla="*/ 1 h 59"/>
                <a:gd name="T16" fmla="*/ 22 w 51"/>
                <a:gd name="T17" fmla="*/ 3 h 59"/>
                <a:gd name="T18" fmla="*/ 28 w 51"/>
                <a:gd name="T19" fmla="*/ 5 h 59"/>
                <a:gd name="T20" fmla="*/ 20 w 51"/>
                <a:gd name="T21" fmla="*/ 5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1" h="59">
                  <a:moveTo>
                    <a:pt x="20" y="5"/>
                  </a:moveTo>
                  <a:cubicBezTo>
                    <a:pt x="27" y="7"/>
                    <a:pt x="40" y="15"/>
                    <a:pt x="47" y="17"/>
                  </a:cubicBezTo>
                  <a:cubicBezTo>
                    <a:pt x="51" y="24"/>
                    <a:pt x="47" y="21"/>
                    <a:pt x="50" y="29"/>
                  </a:cubicBezTo>
                  <a:cubicBezTo>
                    <a:pt x="47" y="38"/>
                    <a:pt x="49" y="50"/>
                    <a:pt x="48" y="59"/>
                  </a:cubicBezTo>
                  <a:cubicBezTo>
                    <a:pt x="26" y="55"/>
                    <a:pt x="42" y="49"/>
                    <a:pt x="26" y="39"/>
                  </a:cubicBezTo>
                  <a:cubicBezTo>
                    <a:pt x="23" y="31"/>
                    <a:pt x="14" y="28"/>
                    <a:pt x="6" y="25"/>
                  </a:cubicBezTo>
                  <a:cubicBezTo>
                    <a:pt x="0" y="16"/>
                    <a:pt x="3" y="14"/>
                    <a:pt x="10" y="7"/>
                  </a:cubicBezTo>
                  <a:cubicBezTo>
                    <a:pt x="11" y="5"/>
                    <a:pt x="10" y="2"/>
                    <a:pt x="12" y="1"/>
                  </a:cubicBezTo>
                  <a:cubicBezTo>
                    <a:pt x="15" y="0"/>
                    <a:pt x="19" y="2"/>
                    <a:pt x="22" y="3"/>
                  </a:cubicBezTo>
                  <a:cubicBezTo>
                    <a:pt x="24" y="4"/>
                    <a:pt x="29" y="4"/>
                    <a:pt x="28" y="5"/>
                  </a:cubicBezTo>
                  <a:cubicBezTo>
                    <a:pt x="26" y="7"/>
                    <a:pt x="23" y="5"/>
                    <a:pt x="2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2" name="Freeform 70"/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5705079" y="3134207"/>
              <a:ext cx="336927" cy="239722"/>
            </a:xfrm>
            <a:custGeom>
              <a:avLst/>
              <a:gdLst>
                <a:gd name="T0" fmla="*/ 16 w 205"/>
                <a:gd name="T1" fmla="*/ 112 h 148"/>
                <a:gd name="T2" fmla="*/ 13 w 205"/>
                <a:gd name="T3" fmla="*/ 72 h 148"/>
                <a:gd name="T4" fmla="*/ 1 w 205"/>
                <a:gd name="T5" fmla="*/ 55 h 148"/>
                <a:gd name="T6" fmla="*/ 10 w 205"/>
                <a:gd name="T7" fmla="*/ 24 h 148"/>
                <a:gd name="T8" fmla="*/ 35 w 205"/>
                <a:gd name="T9" fmla="*/ 28 h 148"/>
                <a:gd name="T10" fmla="*/ 48 w 205"/>
                <a:gd name="T11" fmla="*/ 28 h 148"/>
                <a:gd name="T12" fmla="*/ 61 w 205"/>
                <a:gd name="T13" fmla="*/ 34 h 148"/>
                <a:gd name="T14" fmla="*/ 72 w 205"/>
                <a:gd name="T15" fmla="*/ 27 h 148"/>
                <a:gd name="T16" fmla="*/ 85 w 205"/>
                <a:gd name="T17" fmla="*/ 12 h 148"/>
                <a:gd name="T18" fmla="*/ 108 w 205"/>
                <a:gd name="T19" fmla="*/ 12 h 148"/>
                <a:gd name="T20" fmla="*/ 112 w 205"/>
                <a:gd name="T21" fmla="*/ 30 h 148"/>
                <a:gd name="T22" fmla="*/ 133 w 205"/>
                <a:gd name="T23" fmla="*/ 34 h 148"/>
                <a:gd name="T24" fmla="*/ 144 w 205"/>
                <a:gd name="T25" fmla="*/ 46 h 148"/>
                <a:gd name="T26" fmla="*/ 145 w 205"/>
                <a:gd name="T27" fmla="*/ 60 h 148"/>
                <a:gd name="T28" fmla="*/ 171 w 205"/>
                <a:gd name="T29" fmla="*/ 81 h 148"/>
                <a:gd name="T30" fmla="*/ 195 w 205"/>
                <a:gd name="T31" fmla="*/ 94 h 148"/>
                <a:gd name="T32" fmla="*/ 205 w 205"/>
                <a:gd name="T33" fmla="*/ 105 h 148"/>
                <a:gd name="T34" fmla="*/ 186 w 205"/>
                <a:gd name="T35" fmla="*/ 111 h 148"/>
                <a:gd name="T36" fmla="*/ 177 w 205"/>
                <a:gd name="T37" fmla="*/ 130 h 148"/>
                <a:gd name="T38" fmla="*/ 163 w 205"/>
                <a:gd name="T39" fmla="*/ 139 h 148"/>
                <a:gd name="T40" fmla="*/ 151 w 205"/>
                <a:gd name="T41" fmla="*/ 148 h 148"/>
                <a:gd name="T42" fmla="*/ 130 w 205"/>
                <a:gd name="T43" fmla="*/ 141 h 148"/>
                <a:gd name="T44" fmla="*/ 112 w 205"/>
                <a:gd name="T45" fmla="*/ 123 h 148"/>
                <a:gd name="T46" fmla="*/ 100 w 205"/>
                <a:gd name="T47" fmla="*/ 114 h 148"/>
                <a:gd name="T48" fmla="*/ 82 w 205"/>
                <a:gd name="T49" fmla="*/ 105 h 148"/>
                <a:gd name="T50" fmla="*/ 59 w 205"/>
                <a:gd name="T51" fmla="*/ 100 h 148"/>
                <a:gd name="T52" fmla="*/ 39 w 205"/>
                <a:gd name="T53" fmla="*/ 102 h 148"/>
                <a:gd name="T54" fmla="*/ 24 w 205"/>
                <a:gd name="T55" fmla="*/ 106 h 148"/>
                <a:gd name="T56" fmla="*/ 16 w 205"/>
                <a:gd name="T57" fmla="*/ 112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05" h="148">
                  <a:moveTo>
                    <a:pt x="16" y="112"/>
                  </a:moveTo>
                  <a:cubicBezTo>
                    <a:pt x="22" y="99"/>
                    <a:pt x="21" y="83"/>
                    <a:pt x="13" y="72"/>
                  </a:cubicBezTo>
                  <a:cubicBezTo>
                    <a:pt x="12" y="65"/>
                    <a:pt x="5" y="61"/>
                    <a:pt x="1" y="55"/>
                  </a:cubicBezTo>
                  <a:cubicBezTo>
                    <a:pt x="2" y="44"/>
                    <a:pt x="0" y="31"/>
                    <a:pt x="10" y="24"/>
                  </a:cubicBezTo>
                  <a:cubicBezTo>
                    <a:pt x="16" y="20"/>
                    <a:pt x="29" y="26"/>
                    <a:pt x="35" y="28"/>
                  </a:cubicBezTo>
                  <a:cubicBezTo>
                    <a:pt x="41" y="29"/>
                    <a:pt x="44" y="27"/>
                    <a:pt x="48" y="28"/>
                  </a:cubicBezTo>
                  <a:cubicBezTo>
                    <a:pt x="56" y="30"/>
                    <a:pt x="57" y="34"/>
                    <a:pt x="61" y="34"/>
                  </a:cubicBezTo>
                  <a:cubicBezTo>
                    <a:pt x="65" y="34"/>
                    <a:pt x="68" y="31"/>
                    <a:pt x="72" y="27"/>
                  </a:cubicBezTo>
                  <a:cubicBezTo>
                    <a:pt x="73" y="11"/>
                    <a:pt x="72" y="16"/>
                    <a:pt x="85" y="12"/>
                  </a:cubicBezTo>
                  <a:cubicBezTo>
                    <a:pt x="92" y="14"/>
                    <a:pt x="101" y="9"/>
                    <a:pt x="108" y="12"/>
                  </a:cubicBezTo>
                  <a:cubicBezTo>
                    <a:pt x="118" y="25"/>
                    <a:pt x="100" y="0"/>
                    <a:pt x="112" y="30"/>
                  </a:cubicBezTo>
                  <a:cubicBezTo>
                    <a:pt x="113" y="32"/>
                    <a:pt x="130" y="34"/>
                    <a:pt x="133" y="34"/>
                  </a:cubicBezTo>
                  <a:cubicBezTo>
                    <a:pt x="137" y="38"/>
                    <a:pt x="141" y="41"/>
                    <a:pt x="144" y="46"/>
                  </a:cubicBezTo>
                  <a:cubicBezTo>
                    <a:pt x="144" y="51"/>
                    <a:pt x="143" y="56"/>
                    <a:pt x="145" y="60"/>
                  </a:cubicBezTo>
                  <a:cubicBezTo>
                    <a:pt x="146" y="62"/>
                    <a:pt x="168" y="80"/>
                    <a:pt x="171" y="81"/>
                  </a:cubicBezTo>
                  <a:cubicBezTo>
                    <a:pt x="177" y="89"/>
                    <a:pt x="185" y="92"/>
                    <a:pt x="195" y="94"/>
                  </a:cubicBezTo>
                  <a:cubicBezTo>
                    <a:pt x="200" y="98"/>
                    <a:pt x="204" y="98"/>
                    <a:pt x="205" y="105"/>
                  </a:cubicBezTo>
                  <a:cubicBezTo>
                    <a:pt x="199" y="109"/>
                    <a:pt x="193" y="109"/>
                    <a:pt x="186" y="111"/>
                  </a:cubicBezTo>
                  <a:cubicBezTo>
                    <a:pt x="175" y="118"/>
                    <a:pt x="182" y="117"/>
                    <a:pt x="177" y="130"/>
                  </a:cubicBezTo>
                  <a:cubicBezTo>
                    <a:pt x="175" y="135"/>
                    <a:pt x="163" y="139"/>
                    <a:pt x="163" y="139"/>
                  </a:cubicBezTo>
                  <a:cubicBezTo>
                    <a:pt x="159" y="145"/>
                    <a:pt x="158" y="147"/>
                    <a:pt x="151" y="148"/>
                  </a:cubicBezTo>
                  <a:cubicBezTo>
                    <a:pt x="139" y="147"/>
                    <a:pt x="139" y="146"/>
                    <a:pt x="130" y="141"/>
                  </a:cubicBezTo>
                  <a:cubicBezTo>
                    <a:pt x="128" y="131"/>
                    <a:pt x="120" y="128"/>
                    <a:pt x="112" y="123"/>
                  </a:cubicBezTo>
                  <a:cubicBezTo>
                    <a:pt x="108" y="117"/>
                    <a:pt x="107" y="115"/>
                    <a:pt x="100" y="114"/>
                  </a:cubicBezTo>
                  <a:cubicBezTo>
                    <a:pt x="94" y="110"/>
                    <a:pt x="89" y="106"/>
                    <a:pt x="82" y="105"/>
                  </a:cubicBezTo>
                  <a:cubicBezTo>
                    <a:pt x="75" y="103"/>
                    <a:pt x="66" y="100"/>
                    <a:pt x="59" y="100"/>
                  </a:cubicBezTo>
                  <a:cubicBezTo>
                    <a:pt x="52" y="100"/>
                    <a:pt x="45" y="101"/>
                    <a:pt x="39" y="102"/>
                  </a:cubicBezTo>
                  <a:cubicBezTo>
                    <a:pt x="34" y="103"/>
                    <a:pt x="29" y="105"/>
                    <a:pt x="24" y="106"/>
                  </a:cubicBezTo>
                  <a:cubicBezTo>
                    <a:pt x="17" y="109"/>
                    <a:pt x="20" y="107"/>
                    <a:pt x="16" y="11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3" name="Freeform 71"/>
            <p:cNvSpPr>
              <a:spLocks/>
            </p:cNvSpPr>
            <p:nvPr>
              <p:custDataLst>
                <p:tags r:id="rId59"/>
              </p:custDataLst>
            </p:nvPr>
          </p:nvSpPr>
          <p:spPr bwMode="gray">
            <a:xfrm>
              <a:off x="4943754" y="2554338"/>
              <a:ext cx="181422" cy="116622"/>
            </a:xfrm>
            <a:custGeom>
              <a:avLst/>
              <a:gdLst>
                <a:gd name="T0" fmla="*/ 46 w 110"/>
                <a:gd name="T1" fmla="*/ 8 h 72"/>
                <a:gd name="T2" fmla="*/ 34 w 110"/>
                <a:gd name="T3" fmla="*/ 29 h 72"/>
                <a:gd name="T4" fmla="*/ 13 w 110"/>
                <a:gd name="T5" fmla="*/ 22 h 72"/>
                <a:gd name="T6" fmla="*/ 0 w 110"/>
                <a:gd name="T7" fmla="*/ 50 h 72"/>
                <a:gd name="T8" fmla="*/ 52 w 110"/>
                <a:gd name="T9" fmla="*/ 49 h 72"/>
                <a:gd name="T10" fmla="*/ 81 w 110"/>
                <a:gd name="T11" fmla="*/ 70 h 72"/>
                <a:gd name="T12" fmla="*/ 100 w 110"/>
                <a:gd name="T13" fmla="*/ 61 h 72"/>
                <a:gd name="T14" fmla="*/ 100 w 110"/>
                <a:gd name="T15" fmla="*/ 11 h 72"/>
                <a:gd name="T16" fmla="*/ 87 w 110"/>
                <a:gd name="T17" fmla="*/ 17 h 72"/>
                <a:gd name="T18" fmla="*/ 66 w 110"/>
                <a:gd name="T19" fmla="*/ 10 h 72"/>
                <a:gd name="T20" fmla="*/ 46 w 110"/>
                <a:gd name="T21" fmla="*/ 8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0" h="72">
                  <a:moveTo>
                    <a:pt x="46" y="8"/>
                  </a:moveTo>
                  <a:cubicBezTo>
                    <a:pt x="45" y="21"/>
                    <a:pt x="47" y="26"/>
                    <a:pt x="34" y="29"/>
                  </a:cubicBezTo>
                  <a:cubicBezTo>
                    <a:pt x="26" y="28"/>
                    <a:pt x="21" y="23"/>
                    <a:pt x="13" y="22"/>
                  </a:cubicBezTo>
                  <a:cubicBezTo>
                    <a:pt x="0" y="15"/>
                    <a:pt x="7" y="40"/>
                    <a:pt x="0" y="50"/>
                  </a:cubicBezTo>
                  <a:cubicBezTo>
                    <a:pt x="6" y="56"/>
                    <a:pt x="35" y="47"/>
                    <a:pt x="52" y="49"/>
                  </a:cubicBezTo>
                  <a:cubicBezTo>
                    <a:pt x="65" y="52"/>
                    <a:pt x="73" y="68"/>
                    <a:pt x="81" y="70"/>
                  </a:cubicBezTo>
                  <a:cubicBezTo>
                    <a:pt x="89" y="72"/>
                    <a:pt x="97" y="71"/>
                    <a:pt x="100" y="61"/>
                  </a:cubicBezTo>
                  <a:cubicBezTo>
                    <a:pt x="109" y="46"/>
                    <a:pt x="110" y="27"/>
                    <a:pt x="100" y="11"/>
                  </a:cubicBezTo>
                  <a:cubicBezTo>
                    <a:pt x="95" y="13"/>
                    <a:pt x="91" y="14"/>
                    <a:pt x="87" y="17"/>
                  </a:cubicBezTo>
                  <a:cubicBezTo>
                    <a:pt x="77" y="16"/>
                    <a:pt x="73" y="17"/>
                    <a:pt x="66" y="10"/>
                  </a:cubicBezTo>
                  <a:cubicBezTo>
                    <a:pt x="62" y="0"/>
                    <a:pt x="55" y="5"/>
                    <a:pt x="46" y="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4" name="Freeform 72"/>
            <p:cNvSpPr>
              <a:spLocks/>
            </p:cNvSpPr>
            <p:nvPr>
              <p:custDataLst>
                <p:tags r:id="rId60"/>
              </p:custDataLst>
            </p:nvPr>
          </p:nvSpPr>
          <p:spPr bwMode="gray">
            <a:xfrm>
              <a:off x="4935654" y="2633706"/>
              <a:ext cx="142546" cy="102044"/>
            </a:xfrm>
            <a:custGeom>
              <a:avLst/>
              <a:gdLst>
                <a:gd name="T0" fmla="*/ 8 w 86"/>
                <a:gd name="T1" fmla="*/ 4 h 63"/>
                <a:gd name="T2" fmla="*/ 5 w 86"/>
                <a:gd name="T3" fmla="*/ 25 h 63"/>
                <a:gd name="T4" fmla="*/ 26 w 86"/>
                <a:gd name="T5" fmla="*/ 45 h 63"/>
                <a:gd name="T6" fmla="*/ 30 w 86"/>
                <a:gd name="T7" fmla="*/ 58 h 63"/>
                <a:gd name="T8" fmla="*/ 47 w 86"/>
                <a:gd name="T9" fmla="*/ 63 h 63"/>
                <a:gd name="T10" fmla="*/ 66 w 86"/>
                <a:gd name="T11" fmla="*/ 58 h 63"/>
                <a:gd name="T12" fmla="*/ 72 w 86"/>
                <a:gd name="T13" fmla="*/ 46 h 63"/>
                <a:gd name="T14" fmla="*/ 86 w 86"/>
                <a:gd name="T15" fmla="*/ 28 h 63"/>
                <a:gd name="T16" fmla="*/ 78 w 86"/>
                <a:gd name="T17" fmla="*/ 16 h 63"/>
                <a:gd name="T18" fmla="*/ 63 w 86"/>
                <a:gd name="T19" fmla="*/ 3 h 63"/>
                <a:gd name="T20" fmla="*/ 41 w 86"/>
                <a:gd name="T21" fmla="*/ 1 h 63"/>
                <a:gd name="T22" fmla="*/ 8 w 86"/>
                <a:gd name="T23" fmla="*/ 4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3">
                  <a:moveTo>
                    <a:pt x="8" y="4"/>
                  </a:moveTo>
                  <a:cubicBezTo>
                    <a:pt x="0" y="7"/>
                    <a:pt x="2" y="18"/>
                    <a:pt x="5" y="25"/>
                  </a:cubicBezTo>
                  <a:cubicBezTo>
                    <a:pt x="8" y="32"/>
                    <a:pt x="22" y="40"/>
                    <a:pt x="26" y="45"/>
                  </a:cubicBezTo>
                  <a:cubicBezTo>
                    <a:pt x="31" y="51"/>
                    <a:pt x="24" y="54"/>
                    <a:pt x="30" y="58"/>
                  </a:cubicBezTo>
                  <a:cubicBezTo>
                    <a:pt x="33" y="61"/>
                    <a:pt x="41" y="63"/>
                    <a:pt x="47" y="63"/>
                  </a:cubicBezTo>
                  <a:cubicBezTo>
                    <a:pt x="53" y="63"/>
                    <a:pt x="62" y="61"/>
                    <a:pt x="66" y="58"/>
                  </a:cubicBezTo>
                  <a:cubicBezTo>
                    <a:pt x="70" y="56"/>
                    <a:pt x="71" y="50"/>
                    <a:pt x="72" y="46"/>
                  </a:cubicBezTo>
                  <a:cubicBezTo>
                    <a:pt x="73" y="40"/>
                    <a:pt x="83" y="33"/>
                    <a:pt x="86" y="28"/>
                  </a:cubicBezTo>
                  <a:cubicBezTo>
                    <a:pt x="83" y="22"/>
                    <a:pt x="84" y="20"/>
                    <a:pt x="78" y="16"/>
                  </a:cubicBezTo>
                  <a:cubicBezTo>
                    <a:pt x="74" y="11"/>
                    <a:pt x="68" y="6"/>
                    <a:pt x="63" y="3"/>
                  </a:cubicBezTo>
                  <a:cubicBezTo>
                    <a:pt x="57" y="1"/>
                    <a:pt x="50" y="0"/>
                    <a:pt x="41" y="1"/>
                  </a:cubicBezTo>
                  <a:cubicBezTo>
                    <a:pt x="32" y="1"/>
                    <a:pt x="15" y="3"/>
                    <a:pt x="8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5" name="Freeform 73"/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992350" y="2649903"/>
              <a:ext cx="210579" cy="189511"/>
            </a:xfrm>
            <a:custGeom>
              <a:avLst/>
              <a:gdLst>
                <a:gd name="T0" fmla="*/ 11 w 128"/>
                <a:gd name="T1" fmla="*/ 54 h 117"/>
                <a:gd name="T2" fmla="*/ 2 w 128"/>
                <a:gd name="T3" fmla="*/ 92 h 117"/>
                <a:gd name="T4" fmla="*/ 10 w 128"/>
                <a:gd name="T5" fmla="*/ 114 h 117"/>
                <a:gd name="T6" fmla="*/ 22 w 128"/>
                <a:gd name="T7" fmla="*/ 110 h 117"/>
                <a:gd name="T8" fmla="*/ 61 w 128"/>
                <a:gd name="T9" fmla="*/ 110 h 117"/>
                <a:gd name="T10" fmla="*/ 83 w 128"/>
                <a:gd name="T11" fmla="*/ 114 h 117"/>
                <a:gd name="T12" fmla="*/ 107 w 128"/>
                <a:gd name="T13" fmla="*/ 109 h 117"/>
                <a:gd name="T14" fmla="*/ 118 w 128"/>
                <a:gd name="T15" fmla="*/ 102 h 117"/>
                <a:gd name="T16" fmla="*/ 124 w 128"/>
                <a:gd name="T17" fmla="*/ 84 h 117"/>
                <a:gd name="T18" fmla="*/ 122 w 128"/>
                <a:gd name="T19" fmla="*/ 68 h 117"/>
                <a:gd name="T20" fmla="*/ 119 w 128"/>
                <a:gd name="T21" fmla="*/ 51 h 117"/>
                <a:gd name="T22" fmla="*/ 104 w 128"/>
                <a:gd name="T23" fmla="*/ 23 h 117"/>
                <a:gd name="T24" fmla="*/ 91 w 128"/>
                <a:gd name="T25" fmla="*/ 6 h 117"/>
                <a:gd name="T26" fmla="*/ 74 w 128"/>
                <a:gd name="T27" fmla="*/ 2 h 117"/>
                <a:gd name="T28" fmla="*/ 56 w 128"/>
                <a:gd name="T29" fmla="*/ 15 h 117"/>
                <a:gd name="T30" fmla="*/ 44 w 128"/>
                <a:gd name="T31" fmla="*/ 26 h 117"/>
                <a:gd name="T32" fmla="*/ 41 w 128"/>
                <a:gd name="T33" fmla="*/ 37 h 117"/>
                <a:gd name="T34" fmla="*/ 35 w 128"/>
                <a:gd name="T35" fmla="*/ 48 h 117"/>
                <a:gd name="T36" fmla="*/ 23 w 128"/>
                <a:gd name="T37" fmla="*/ 53 h 117"/>
                <a:gd name="T38" fmla="*/ 11 w 128"/>
                <a:gd name="T39" fmla="*/ 54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" h="117">
                  <a:moveTo>
                    <a:pt x="11" y="54"/>
                  </a:moveTo>
                  <a:cubicBezTo>
                    <a:pt x="8" y="67"/>
                    <a:pt x="14" y="85"/>
                    <a:pt x="2" y="92"/>
                  </a:cubicBezTo>
                  <a:cubicBezTo>
                    <a:pt x="2" y="100"/>
                    <a:pt x="0" y="111"/>
                    <a:pt x="10" y="114"/>
                  </a:cubicBezTo>
                  <a:cubicBezTo>
                    <a:pt x="13" y="117"/>
                    <a:pt x="14" y="111"/>
                    <a:pt x="22" y="110"/>
                  </a:cubicBezTo>
                  <a:cubicBezTo>
                    <a:pt x="30" y="109"/>
                    <a:pt x="51" y="109"/>
                    <a:pt x="61" y="110"/>
                  </a:cubicBezTo>
                  <a:cubicBezTo>
                    <a:pt x="68" y="114"/>
                    <a:pt x="76" y="109"/>
                    <a:pt x="83" y="114"/>
                  </a:cubicBezTo>
                  <a:cubicBezTo>
                    <a:pt x="91" y="114"/>
                    <a:pt x="101" y="111"/>
                    <a:pt x="107" y="109"/>
                  </a:cubicBezTo>
                  <a:cubicBezTo>
                    <a:pt x="113" y="107"/>
                    <a:pt x="115" y="106"/>
                    <a:pt x="118" y="102"/>
                  </a:cubicBezTo>
                  <a:cubicBezTo>
                    <a:pt x="119" y="94"/>
                    <a:pt x="128" y="89"/>
                    <a:pt x="124" y="84"/>
                  </a:cubicBezTo>
                  <a:cubicBezTo>
                    <a:pt x="122" y="76"/>
                    <a:pt x="118" y="75"/>
                    <a:pt x="122" y="68"/>
                  </a:cubicBezTo>
                  <a:cubicBezTo>
                    <a:pt x="119" y="62"/>
                    <a:pt x="121" y="57"/>
                    <a:pt x="119" y="51"/>
                  </a:cubicBezTo>
                  <a:cubicBezTo>
                    <a:pt x="117" y="40"/>
                    <a:pt x="116" y="25"/>
                    <a:pt x="104" y="23"/>
                  </a:cubicBezTo>
                  <a:cubicBezTo>
                    <a:pt x="98" y="19"/>
                    <a:pt x="91" y="6"/>
                    <a:pt x="91" y="6"/>
                  </a:cubicBezTo>
                  <a:cubicBezTo>
                    <a:pt x="87" y="0"/>
                    <a:pt x="81" y="3"/>
                    <a:pt x="74" y="2"/>
                  </a:cubicBezTo>
                  <a:cubicBezTo>
                    <a:pt x="67" y="6"/>
                    <a:pt x="64" y="14"/>
                    <a:pt x="56" y="15"/>
                  </a:cubicBezTo>
                  <a:cubicBezTo>
                    <a:pt x="53" y="20"/>
                    <a:pt x="47" y="21"/>
                    <a:pt x="44" y="26"/>
                  </a:cubicBezTo>
                  <a:cubicBezTo>
                    <a:pt x="42" y="30"/>
                    <a:pt x="42" y="33"/>
                    <a:pt x="41" y="37"/>
                  </a:cubicBezTo>
                  <a:cubicBezTo>
                    <a:pt x="40" y="41"/>
                    <a:pt x="38" y="45"/>
                    <a:pt x="35" y="48"/>
                  </a:cubicBezTo>
                  <a:cubicBezTo>
                    <a:pt x="26" y="47"/>
                    <a:pt x="27" y="52"/>
                    <a:pt x="23" y="53"/>
                  </a:cubicBezTo>
                  <a:cubicBezTo>
                    <a:pt x="19" y="54"/>
                    <a:pt x="13" y="54"/>
                    <a:pt x="11" y="5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6" name="Freeform 74"/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4564712" y="2711453"/>
              <a:ext cx="212200" cy="270498"/>
            </a:xfrm>
            <a:custGeom>
              <a:avLst/>
              <a:gdLst>
                <a:gd name="T0" fmla="*/ 3 w 129"/>
                <a:gd name="T1" fmla="*/ 127 h 167"/>
                <a:gd name="T2" fmla="*/ 4 w 129"/>
                <a:gd name="T3" fmla="*/ 109 h 167"/>
                <a:gd name="T4" fmla="*/ 3 w 129"/>
                <a:gd name="T5" fmla="*/ 88 h 167"/>
                <a:gd name="T6" fmla="*/ 7 w 129"/>
                <a:gd name="T7" fmla="*/ 69 h 167"/>
                <a:gd name="T8" fmla="*/ 15 w 129"/>
                <a:gd name="T9" fmla="*/ 52 h 167"/>
                <a:gd name="T10" fmla="*/ 24 w 129"/>
                <a:gd name="T11" fmla="*/ 28 h 167"/>
                <a:gd name="T12" fmla="*/ 52 w 129"/>
                <a:gd name="T13" fmla="*/ 22 h 167"/>
                <a:gd name="T14" fmla="*/ 57 w 129"/>
                <a:gd name="T15" fmla="*/ 0 h 167"/>
                <a:gd name="T16" fmla="*/ 75 w 129"/>
                <a:gd name="T17" fmla="*/ 13 h 167"/>
                <a:gd name="T18" fmla="*/ 87 w 129"/>
                <a:gd name="T19" fmla="*/ 21 h 167"/>
                <a:gd name="T20" fmla="*/ 114 w 129"/>
                <a:gd name="T21" fmla="*/ 13 h 167"/>
                <a:gd name="T22" fmla="*/ 123 w 129"/>
                <a:gd name="T23" fmla="*/ 27 h 167"/>
                <a:gd name="T24" fmla="*/ 129 w 129"/>
                <a:gd name="T25" fmla="*/ 58 h 167"/>
                <a:gd name="T26" fmla="*/ 126 w 129"/>
                <a:gd name="T27" fmla="*/ 88 h 167"/>
                <a:gd name="T28" fmla="*/ 111 w 129"/>
                <a:gd name="T29" fmla="*/ 100 h 167"/>
                <a:gd name="T30" fmla="*/ 97 w 129"/>
                <a:gd name="T31" fmla="*/ 108 h 167"/>
                <a:gd name="T32" fmla="*/ 97 w 129"/>
                <a:gd name="T33" fmla="*/ 120 h 167"/>
                <a:gd name="T34" fmla="*/ 111 w 129"/>
                <a:gd name="T35" fmla="*/ 129 h 167"/>
                <a:gd name="T36" fmla="*/ 103 w 129"/>
                <a:gd name="T37" fmla="*/ 156 h 167"/>
                <a:gd name="T38" fmla="*/ 96 w 129"/>
                <a:gd name="T39" fmla="*/ 165 h 167"/>
                <a:gd name="T40" fmla="*/ 76 w 129"/>
                <a:gd name="T41" fmla="*/ 166 h 167"/>
                <a:gd name="T42" fmla="*/ 28 w 129"/>
                <a:gd name="T43" fmla="*/ 159 h 167"/>
                <a:gd name="T44" fmla="*/ 30 w 129"/>
                <a:gd name="T45" fmla="*/ 141 h 167"/>
                <a:gd name="T46" fmla="*/ 16 w 129"/>
                <a:gd name="T47" fmla="*/ 129 h 167"/>
                <a:gd name="T48" fmla="*/ 3 w 129"/>
                <a:gd name="T49" fmla="*/ 127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67">
                  <a:moveTo>
                    <a:pt x="3" y="127"/>
                  </a:moveTo>
                  <a:cubicBezTo>
                    <a:pt x="0" y="123"/>
                    <a:pt x="3" y="119"/>
                    <a:pt x="4" y="109"/>
                  </a:cubicBezTo>
                  <a:cubicBezTo>
                    <a:pt x="4" y="103"/>
                    <a:pt x="2" y="95"/>
                    <a:pt x="3" y="88"/>
                  </a:cubicBezTo>
                  <a:cubicBezTo>
                    <a:pt x="4" y="81"/>
                    <a:pt x="5" y="75"/>
                    <a:pt x="7" y="69"/>
                  </a:cubicBezTo>
                  <a:cubicBezTo>
                    <a:pt x="8" y="59"/>
                    <a:pt x="10" y="58"/>
                    <a:pt x="15" y="52"/>
                  </a:cubicBezTo>
                  <a:cubicBezTo>
                    <a:pt x="18" y="45"/>
                    <a:pt x="18" y="33"/>
                    <a:pt x="24" y="28"/>
                  </a:cubicBezTo>
                  <a:cubicBezTo>
                    <a:pt x="28" y="17"/>
                    <a:pt x="39" y="24"/>
                    <a:pt x="52" y="22"/>
                  </a:cubicBezTo>
                  <a:cubicBezTo>
                    <a:pt x="54" y="14"/>
                    <a:pt x="46" y="2"/>
                    <a:pt x="57" y="0"/>
                  </a:cubicBezTo>
                  <a:cubicBezTo>
                    <a:pt x="70" y="1"/>
                    <a:pt x="68" y="4"/>
                    <a:pt x="75" y="13"/>
                  </a:cubicBezTo>
                  <a:cubicBezTo>
                    <a:pt x="77" y="22"/>
                    <a:pt x="78" y="22"/>
                    <a:pt x="87" y="21"/>
                  </a:cubicBezTo>
                  <a:cubicBezTo>
                    <a:pt x="95" y="8"/>
                    <a:pt x="92" y="12"/>
                    <a:pt x="114" y="13"/>
                  </a:cubicBezTo>
                  <a:cubicBezTo>
                    <a:pt x="115" y="20"/>
                    <a:pt x="120" y="20"/>
                    <a:pt x="123" y="27"/>
                  </a:cubicBezTo>
                  <a:cubicBezTo>
                    <a:pt x="124" y="37"/>
                    <a:pt x="124" y="49"/>
                    <a:pt x="129" y="58"/>
                  </a:cubicBezTo>
                  <a:cubicBezTo>
                    <a:pt x="129" y="69"/>
                    <a:pt x="129" y="81"/>
                    <a:pt x="126" y="88"/>
                  </a:cubicBezTo>
                  <a:cubicBezTo>
                    <a:pt x="123" y="95"/>
                    <a:pt x="116" y="97"/>
                    <a:pt x="111" y="100"/>
                  </a:cubicBezTo>
                  <a:cubicBezTo>
                    <a:pt x="104" y="105"/>
                    <a:pt x="102" y="100"/>
                    <a:pt x="97" y="108"/>
                  </a:cubicBezTo>
                  <a:cubicBezTo>
                    <a:pt x="96" y="111"/>
                    <a:pt x="95" y="116"/>
                    <a:pt x="97" y="120"/>
                  </a:cubicBezTo>
                  <a:cubicBezTo>
                    <a:pt x="99" y="124"/>
                    <a:pt x="110" y="123"/>
                    <a:pt x="111" y="129"/>
                  </a:cubicBezTo>
                  <a:cubicBezTo>
                    <a:pt x="113" y="142"/>
                    <a:pt x="108" y="145"/>
                    <a:pt x="103" y="156"/>
                  </a:cubicBezTo>
                  <a:cubicBezTo>
                    <a:pt x="100" y="162"/>
                    <a:pt x="100" y="163"/>
                    <a:pt x="96" y="165"/>
                  </a:cubicBezTo>
                  <a:cubicBezTo>
                    <a:pt x="92" y="167"/>
                    <a:pt x="87" y="167"/>
                    <a:pt x="76" y="166"/>
                  </a:cubicBezTo>
                  <a:cubicBezTo>
                    <a:pt x="60" y="154"/>
                    <a:pt x="59" y="160"/>
                    <a:pt x="28" y="159"/>
                  </a:cubicBezTo>
                  <a:cubicBezTo>
                    <a:pt x="20" y="155"/>
                    <a:pt x="32" y="146"/>
                    <a:pt x="30" y="141"/>
                  </a:cubicBezTo>
                  <a:cubicBezTo>
                    <a:pt x="28" y="136"/>
                    <a:pt x="20" y="131"/>
                    <a:pt x="16" y="129"/>
                  </a:cubicBezTo>
                  <a:cubicBezTo>
                    <a:pt x="11" y="126"/>
                    <a:pt x="3" y="131"/>
                    <a:pt x="3" y="12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7" name="Freeform 75"/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4517736" y="2740609"/>
              <a:ext cx="92331" cy="102044"/>
            </a:xfrm>
            <a:custGeom>
              <a:avLst/>
              <a:gdLst>
                <a:gd name="T0" fmla="*/ 7 w 56"/>
                <a:gd name="T1" fmla="*/ 52 h 63"/>
                <a:gd name="T2" fmla="*/ 10 w 56"/>
                <a:gd name="T3" fmla="*/ 35 h 63"/>
                <a:gd name="T4" fmla="*/ 14 w 56"/>
                <a:gd name="T5" fmla="*/ 17 h 63"/>
                <a:gd name="T6" fmla="*/ 50 w 56"/>
                <a:gd name="T7" fmla="*/ 9 h 63"/>
                <a:gd name="T8" fmla="*/ 44 w 56"/>
                <a:gd name="T9" fmla="*/ 27 h 63"/>
                <a:gd name="T10" fmla="*/ 38 w 56"/>
                <a:gd name="T11" fmla="*/ 46 h 63"/>
                <a:gd name="T12" fmla="*/ 28 w 56"/>
                <a:gd name="T13" fmla="*/ 63 h 63"/>
                <a:gd name="T14" fmla="*/ 7 w 56"/>
                <a:gd name="T15" fmla="*/ 52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6" h="63">
                  <a:moveTo>
                    <a:pt x="7" y="52"/>
                  </a:moveTo>
                  <a:cubicBezTo>
                    <a:pt x="12" y="38"/>
                    <a:pt x="0" y="41"/>
                    <a:pt x="10" y="35"/>
                  </a:cubicBezTo>
                  <a:cubicBezTo>
                    <a:pt x="15" y="28"/>
                    <a:pt x="17" y="25"/>
                    <a:pt x="14" y="17"/>
                  </a:cubicBezTo>
                  <a:cubicBezTo>
                    <a:pt x="20" y="0"/>
                    <a:pt x="32" y="8"/>
                    <a:pt x="50" y="9"/>
                  </a:cubicBezTo>
                  <a:cubicBezTo>
                    <a:pt x="56" y="11"/>
                    <a:pt x="46" y="21"/>
                    <a:pt x="44" y="27"/>
                  </a:cubicBezTo>
                  <a:cubicBezTo>
                    <a:pt x="42" y="33"/>
                    <a:pt x="33" y="40"/>
                    <a:pt x="38" y="46"/>
                  </a:cubicBezTo>
                  <a:cubicBezTo>
                    <a:pt x="33" y="54"/>
                    <a:pt x="37" y="60"/>
                    <a:pt x="28" y="63"/>
                  </a:cubicBezTo>
                  <a:cubicBezTo>
                    <a:pt x="18" y="60"/>
                    <a:pt x="14" y="59"/>
                    <a:pt x="7" y="5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8" name="Freeform 77"/>
            <p:cNvSpPr>
              <a:spLocks/>
            </p:cNvSpPr>
            <p:nvPr>
              <p:custDataLst>
                <p:tags r:id="rId64"/>
              </p:custDataLst>
            </p:nvPr>
          </p:nvSpPr>
          <p:spPr bwMode="gray">
            <a:xfrm>
              <a:off x="4896609" y="3179560"/>
              <a:ext cx="160534" cy="184867"/>
            </a:xfrm>
            <a:custGeom>
              <a:avLst/>
              <a:gdLst/>
              <a:ahLst/>
              <a:cxnLst/>
              <a:rect l="l" t="t" r="r" b="b"/>
              <a:pathLst>
                <a:path w="157329" h="181187">
                  <a:moveTo>
                    <a:pt x="93201" y="149225"/>
                  </a:moveTo>
                  <a:cubicBezTo>
                    <a:pt x="128471" y="153988"/>
                    <a:pt x="114043" y="166688"/>
                    <a:pt x="157329" y="171450"/>
                  </a:cubicBezTo>
                  <a:cubicBezTo>
                    <a:pt x="136488" y="185738"/>
                    <a:pt x="133281" y="180976"/>
                    <a:pt x="102820" y="177801"/>
                  </a:cubicBezTo>
                  <a:cubicBezTo>
                    <a:pt x="91598" y="169863"/>
                    <a:pt x="85185" y="171450"/>
                    <a:pt x="80375" y="158750"/>
                  </a:cubicBezTo>
                  <a:cubicBezTo>
                    <a:pt x="91598" y="155575"/>
                    <a:pt x="88391" y="158750"/>
                    <a:pt x="93201" y="149225"/>
                  </a:cubicBezTo>
                  <a:close/>
                  <a:moveTo>
                    <a:pt x="112439" y="0"/>
                  </a:moveTo>
                  <a:cubicBezTo>
                    <a:pt x="96407" y="15875"/>
                    <a:pt x="110836" y="-3175"/>
                    <a:pt x="115645" y="12700"/>
                  </a:cubicBezTo>
                  <a:cubicBezTo>
                    <a:pt x="110836" y="30162"/>
                    <a:pt x="67548" y="46037"/>
                    <a:pt x="56326" y="65087"/>
                  </a:cubicBezTo>
                  <a:cubicBezTo>
                    <a:pt x="46707" y="80962"/>
                    <a:pt x="57929" y="103187"/>
                    <a:pt x="56326" y="112712"/>
                  </a:cubicBezTo>
                  <a:cubicBezTo>
                    <a:pt x="54723" y="122237"/>
                    <a:pt x="49913" y="130175"/>
                    <a:pt x="41897" y="120650"/>
                  </a:cubicBezTo>
                  <a:cubicBezTo>
                    <a:pt x="13039" y="101600"/>
                    <a:pt x="9833" y="92075"/>
                    <a:pt x="3420" y="57150"/>
                  </a:cubicBezTo>
                  <a:cubicBezTo>
                    <a:pt x="1817" y="50800"/>
                    <a:pt x="-187" y="48815"/>
                    <a:pt x="13" y="47823"/>
                  </a:cubicBezTo>
                  <a:lnTo>
                    <a:pt x="9833" y="44450"/>
                  </a:lnTo>
                  <a:cubicBezTo>
                    <a:pt x="16246" y="42862"/>
                    <a:pt x="30674" y="50800"/>
                    <a:pt x="38691" y="46037"/>
                  </a:cubicBezTo>
                  <a:cubicBezTo>
                    <a:pt x="46707" y="41275"/>
                    <a:pt x="54723" y="19050"/>
                    <a:pt x="61136" y="14287"/>
                  </a:cubicBezTo>
                  <a:cubicBezTo>
                    <a:pt x="61136" y="14287"/>
                    <a:pt x="67548" y="9525"/>
                    <a:pt x="73961" y="6350"/>
                  </a:cubicBezTo>
                  <a:cubicBezTo>
                    <a:pt x="85184" y="0"/>
                    <a:pt x="99613" y="4762"/>
                    <a:pt x="11243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59" name="Freeform 79"/>
            <p:cNvSpPr>
              <a:spLocks/>
            </p:cNvSpPr>
            <p:nvPr>
              <p:custDataLst>
                <p:tags r:id="rId65"/>
              </p:custDataLst>
            </p:nvPr>
          </p:nvSpPr>
          <p:spPr bwMode="gray">
            <a:xfrm>
              <a:off x="6064684" y="3210334"/>
              <a:ext cx="199241" cy="131200"/>
            </a:xfrm>
            <a:custGeom>
              <a:avLst/>
              <a:gdLst>
                <a:gd name="T0" fmla="*/ 98 w 121"/>
                <a:gd name="T1" fmla="*/ 26 h 81"/>
                <a:gd name="T2" fmla="*/ 98 w 121"/>
                <a:gd name="T3" fmla="*/ 40 h 81"/>
                <a:gd name="T4" fmla="*/ 109 w 121"/>
                <a:gd name="T5" fmla="*/ 34 h 81"/>
                <a:gd name="T6" fmla="*/ 113 w 121"/>
                <a:gd name="T7" fmla="*/ 46 h 81"/>
                <a:gd name="T8" fmla="*/ 119 w 121"/>
                <a:gd name="T9" fmla="*/ 62 h 81"/>
                <a:gd name="T10" fmla="*/ 101 w 121"/>
                <a:gd name="T11" fmla="*/ 68 h 81"/>
                <a:gd name="T12" fmla="*/ 80 w 121"/>
                <a:gd name="T13" fmla="*/ 74 h 81"/>
                <a:gd name="T14" fmla="*/ 64 w 121"/>
                <a:gd name="T15" fmla="*/ 77 h 81"/>
                <a:gd name="T16" fmla="*/ 62 w 121"/>
                <a:gd name="T17" fmla="*/ 52 h 81"/>
                <a:gd name="T18" fmla="*/ 58 w 121"/>
                <a:gd name="T19" fmla="*/ 40 h 81"/>
                <a:gd name="T20" fmla="*/ 44 w 121"/>
                <a:gd name="T21" fmla="*/ 58 h 81"/>
                <a:gd name="T22" fmla="*/ 32 w 121"/>
                <a:gd name="T23" fmla="*/ 64 h 81"/>
                <a:gd name="T24" fmla="*/ 11 w 121"/>
                <a:gd name="T25" fmla="*/ 67 h 81"/>
                <a:gd name="T26" fmla="*/ 8 w 121"/>
                <a:gd name="T27" fmla="*/ 53 h 81"/>
                <a:gd name="T28" fmla="*/ 8 w 121"/>
                <a:gd name="T29" fmla="*/ 39 h 81"/>
                <a:gd name="T30" fmla="*/ 2 w 121"/>
                <a:gd name="T31" fmla="*/ 25 h 81"/>
                <a:gd name="T32" fmla="*/ 20 w 121"/>
                <a:gd name="T33" fmla="*/ 11 h 81"/>
                <a:gd name="T34" fmla="*/ 28 w 121"/>
                <a:gd name="T35" fmla="*/ 1 h 81"/>
                <a:gd name="T36" fmla="*/ 37 w 121"/>
                <a:gd name="T37" fmla="*/ 4 h 81"/>
                <a:gd name="T38" fmla="*/ 50 w 121"/>
                <a:gd name="T39" fmla="*/ 19 h 81"/>
                <a:gd name="T40" fmla="*/ 52 w 121"/>
                <a:gd name="T41" fmla="*/ 32 h 81"/>
                <a:gd name="T42" fmla="*/ 58 w 121"/>
                <a:gd name="T43" fmla="*/ 23 h 81"/>
                <a:gd name="T44" fmla="*/ 79 w 121"/>
                <a:gd name="T45" fmla="*/ 26 h 81"/>
                <a:gd name="T46" fmla="*/ 98 w 121"/>
                <a:gd name="T47" fmla="*/ 26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21" h="81">
                  <a:moveTo>
                    <a:pt x="98" y="26"/>
                  </a:moveTo>
                  <a:cubicBezTo>
                    <a:pt x="101" y="28"/>
                    <a:pt x="96" y="39"/>
                    <a:pt x="98" y="40"/>
                  </a:cubicBezTo>
                  <a:cubicBezTo>
                    <a:pt x="100" y="41"/>
                    <a:pt x="107" y="33"/>
                    <a:pt x="109" y="34"/>
                  </a:cubicBezTo>
                  <a:cubicBezTo>
                    <a:pt x="111" y="35"/>
                    <a:pt x="111" y="41"/>
                    <a:pt x="113" y="46"/>
                  </a:cubicBezTo>
                  <a:cubicBezTo>
                    <a:pt x="115" y="51"/>
                    <a:pt x="121" y="58"/>
                    <a:pt x="119" y="62"/>
                  </a:cubicBezTo>
                  <a:cubicBezTo>
                    <a:pt x="117" y="66"/>
                    <a:pt x="107" y="66"/>
                    <a:pt x="101" y="68"/>
                  </a:cubicBezTo>
                  <a:cubicBezTo>
                    <a:pt x="95" y="70"/>
                    <a:pt x="86" y="73"/>
                    <a:pt x="80" y="74"/>
                  </a:cubicBezTo>
                  <a:cubicBezTo>
                    <a:pt x="74" y="75"/>
                    <a:pt x="67" y="81"/>
                    <a:pt x="64" y="77"/>
                  </a:cubicBezTo>
                  <a:cubicBezTo>
                    <a:pt x="61" y="73"/>
                    <a:pt x="63" y="58"/>
                    <a:pt x="62" y="52"/>
                  </a:cubicBezTo>
                  <a:cubicBezTo>
                    <a:pt x="61" y="46"/>
                    <a:pt x="61" y="39"/>
                    <a:pt x="58" y="40"/>
                  </a:cubicBezTo>
                  <a:cubicBezTo>
                    <a:pt x="55" y="41"/>
                    <a:pt x="48" y="54"/>
                    <a:pt x="44" y="58"/>
                  </a:cubicBezTo>
                  <a:cubicBezTo>
                    <a:pt x="40" y="62"/>
                    <a:pt x="37" y="63"/>
                    <a:pt x="32" y="64"/>
                  </a:cubicBezTo>
                  <a:cubicBezTo>
                    <a:pt x="27" y="65"/>
                    <a:pt x="15" y="69"/>
                    <a:pt x="11" y="67"/>
                  </a:cubicBezTo>
                  <a:cubicBezTo>
                    <a:pt x="7" y="65"/>
                    <a:pt x="8" y="58"/>
                    <a:pt x="8" y="53"/>
                  </a:cubicBezTo>
                  <a:cubicBezTo>
                    <a:pt x="8" y="48"/>
                    <a:pt x="9" y="44"/>
                    <a:pt x="8" y="39"/>
                  </a:cubicBezTo>
                  <a:cubicBezTo>
                    <a:pt x="7" y="34"/>
                    <a:pt x="0" y="30"/>
                    <a:pt x="2" y="25"/>
                  </a:cubicBezTo>
                  <a:cubicBezTo>
                    <a:pt x="4" y="20"/>
                    <a:pt x="16" y="15"/>
                    <a:pt x="20" y="11"/>
                  </a:cubicBezTo>
                  <a:cubicBezTo>
                    <a:pt x="24" y="7"/>
                    <a:pt x="25" y="2"/>
                    <a:pt x="28" y="1"/>
                  </a:cubicBezTo>
                  <a:cubicBezTo>
                    <a:pt x="31" y="0"/>
                    <a:pt x="33" y="1"/>
                    <a:pt x="37" y="4"/>
                  </a:cubicBezTo>
                  <a:cubicBezTo>
                    <a:pt x="41" y="7"/>
                    <a:pt x="48" y="14"/>
                    <a:pt x="50" y="19"/>
                  </a:cubicBezTo>
                  <a:cubicBezTo>
                    <a:pt x="52" y="24"/>
                    <a:pt x="51" y="31"/>
                    <a:pt x="52" y="32"/>
                  </a:cubicBezTo>
                  <a:cubicBezTo>
                    <a:pt x="53" y="33"/>
                    <a:pt x="54" y="24"/>
                    <a:pt x="58" y="23"/>
                  </a:cubicBezTo>
                  <a:cubicBezTo>
                    <a:pt x="62" y="22"/>
                    <a:pt x="73" y="26"/>
                    <a:pt x="79" y="26"/>
                  </a:cubicBezTo>
                  <a:cubicBezTo>
                    <a:pt x="85" y="26"/>
                    <a:pt x="95" y="24"/>
                    <a:pt x="98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0" name="Freeform 80"/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4138693" y="2675819"/>
              <a:ext cx="126348" cy="178172"/>
            </a:xfrm>
            <a:custGeom>
              <a:avLst/>
              <a:gdLst>
                <a:gd name="T0" fmla="*/ 40 w 76"/>
                <a:gd name="T1" fmla="*/ 41 h 110"/>
                <a:gd name="T2" fmla="*/ 66 w 76"/>
                <a:gd name="T3" fmla="*/ 55 h 110"/>
                <a:gd name="T4" fmla="*/ 73 w 76"/>
                <a:gd name="T5" fmla="*/ 91 h 110"/>
                <a:gd name="T6" fmla="*/ 51 w 76"/>
                <a:gd name="T7" fmla="*/ 103 h 110"/>
                <a:gd name="T8" fmla="*/ 36 w 76"/>
                <a:gd name="T9" fmla="*/ 103 h 110"/>
                <a:gd name="T10" fmla="*/ 16 w 76"/>
                <a:gd name="T11" fmla="*/ 91 h 110"/>
                <a:gd name="T12" fmla="*/ 15 w 76"/>
                <a:gd name="T13" fmla="*/ 82 h 110"/>
                <a:gd name="T14" fmla="*/ 28 w 76"/>
                <a:gd name="T15" fmla="*/ 64 h 110"/>
                <a:gd name="T16" fmla="*/ 12 w 76"/>
                <a:gd name="T17" fmla="*/ 53 h 110"/>
                <a:gd name="T18" fmla="*/ 3 w 76"/>
                <a:gd name="T19" fmla="*/ 37 h 110"/>
                <a:gd name="T20" fmla="*/ 30 w 76"/>
                <a:gd name="T21" fmla="*/ 25 h 110"/>
                <a:gd name="T22" fmla="*/ 21 w 76"/>
                <a:gd name="T23" fmla="*/ 8 h 110"/>
                <a:gd name="T24" fmla="*/ 55 w 76"/>
                <a:gd name="T25" fmla="*/ 2 h 110"/>
                <a:gd name="T26" fmla="*/ 43 w 76"/>
                <a:gd name="T27" fmla="*/ 19 h 110"/>
                <a:gd name="T28" fmla="*/ 40 w 76"/>
                <a:gd name="T29" fmla="*/ 41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0">
                  <a:moveTo>
                    <a:pt x="40" y="41"/>
                  </a:moveTo>
                  <a:cubicBezTo>
                    <a:pt x="46" y="45"/>
                    <a:pt x="61" y="47"/>
                    <a:pt x="66" y="55"/>
                  </a:cubicBezTo>
                  <a:cubicBezTo>
                    <a:pt x="71" y="63"/>
                    <a:pt x="76" y="83"/>
                    <a:pt x="73" y="91"/>
                  </a:cubicBezTo>
                  <a:cubicBezTo>
                    <a:pt x="66" y="94"/>
                    <a:pt x="59" y="101"/>
                    <a:pt x="51" y="103"/>
                  </a:cubicBezTo>
                  <a:cubicBezTo>
                    <a:pt x="50" y="110"/>
                    <a:pt x="42" y="100"/>
                    <a:pt x="36" y="103"/>
                  </a:cubicBezTo>
                  <a:cubicBezTo>
                    <a:pt x="13" y="99"/>
                    <a:pt x="23" y="104"/>
                    <a:pt x="16" y="91"/>
                  </a:cubicBezTo>
                  <a:cubicBezTo>
                    <a:pt x="15" y="84"/>
                    <a:pt x="6" y="84"/>
                    <a:pt x="15" y="82"/>
                  </a:cubicBezTo>
                  <a:cubicBezTo>
                    <a:pt x="21" y="72"/>
                    <a:pt x="18" y="72"/>
                    <a:pt x="28" y="64"/>
                  </a:cubicBezTo>
                  <a:cubicBezTo>
                    <a:pt x="26" y="52"/>
                    <a:pt x="17" y="62"/>
                    <a:pt x="12" y="53"/>
                  </a:cubicBezTo>
                  <a:cubicBezTo>
                    <a:pt x="10" y="48"/>
                    <a:pt x="0" y="42"/>
                    <a:pt x="3" y="37"/>
                  </a:cubicBezTo>
                  <a:cubicBezTo>
                    <a:pt x="6" y="32"/>
                    <a:pt x="27" y="30"/>
                    <a:pt x="30" y="25"/>
                  </a:cubicBezTo>
                  <a:cubicBezTo>
                    <a:pt x="33" y="20"/>
                    <a:pt x="17" y="12"/>
                    <a:pt x="21" y="8"/>
                  </a:cubicBezTo>
                  <a:cubicBezTo>
                    <a:pt x="25" y="4"/>
                    <a:pt x="52" y="0"/>
                    <a:pt x="55" y="2"/>
                  </a:cubicBezTo>
                  <a:cubicBezTo>
                    <a:pt x="58" y="4"/>
                    <a:pt x="45" y="13"/>
                    <a:pt x="43" y="19"/>
                  </a:cubicBezTo>
                  <a:cubicBezTo>
                    <a:pt x="41" y="25"/>
                    <a:pt x="31" y="37"/>
                    <a:pt x="40" y="4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1" name="Freeform 86"/>
            <p:cNvSpPr>
              <a:spLocks/>
            </p:cNvSpPr>
            <p:nvPr>
              <p:custDataLst>
                <p:tags r:id="rId67"/>
              </p:custDataLst>
            </p:nvPr>
          </p:nvSpPr>
          <p:spPr bwMode="gray">
            <a:xfrm>
              <a:off x="4208347" y="3111531"/>
              <a:ext cx="301290" cy="239722"/>
            </a:xfrm>
            <a:custGeom>
              <a:avLst/>
              <a:gdLst>
                <a:gd name="T0" fmla="*/ 9 w 183"/>
                <a:gd name="T1" fmla="*/ 5 h 148"/>
                <a:gd name="T2" fmla="*/ 54 w 183"/>
                <a:gd name="T3" fmla="*/ 3 h 148"/>
                <a:gd name="T4" fmla="*/ 81 w 183"/>
                <a:gd name="T5" fmla="*/ 3 h 148"/>
                <a:gd name="T6" fmla="*/ 156 w 183"/>
                <a:gd name="T7" fmla="*/ 17 h 148"/>
                <a:gd name="T8" fmla="*/ 175 w 183"/>
                <a:gd name="T9" fmla="*/ 27 h 148"/>
                <a:gd name="T10" fmla="*/ 175 w 183"/>
                <a:gd name="T11" fmla="*/ 39 h 148"/>
                <a:gd name="T12" fmla="*/ 154 w 183"/>
                <a:gd name="T13" fmla="*/ 48 h 148"/>
                <a:gd name="T14" fmla="*/ 139 w 183"/>
                <a:gd name="T15" fmla="*/ 62 h 148"/>
                <a:gd name="T16" fmla="*/ 129 w 183"/>
                <a:gd name="T17" fmla="*/ 77 h 148"/>
                <a:gd name="T18" fmla="*/ 132 w 183"/>
                <a:gd name="T19" fmla="*/ 96 h 148"/>
                <a:gd name="T20" fmla="*/ 130 w 183"/>
                <a:gd name="T21" fmla="*/ 102 h 148"/>
                <a:gd name="T22" fmla="*/ 123 w 183"/>
                <a:gd name="T23" fmla="*/ 104 h 148"/>
                <a:gd name="T24" fmla="*/ 112 w 183"/>
                <a:gd name="T25" fmla="*/ 119 h 148"/>
                <a:gd name="T26" fmla="*/ 91 w 183"/>
                <a:gd name="T27" fmla="*/ 134 h 148"/>
                <a:gd name="T28" fmla="*/ 55 w 183"/>
                <a:gd name="T29" fmla="*/ 141 h 148"/>
                <a:gd name="T30" fmla="*/ 43 w 183"/>
                <a:gd name="T31" fmla="*/ 146 h 148"/>
                <a:gd name="T32" fmla="*/ 28 w 183"/>
                <a:gd name="T33" fmla="*/ 131 h 148"/>
                <a:gd name="T34" fmla="*/ 21 w 183"/>
                <a:gd name="T35" fmla="*/ 119 h 148"/>
                <a:gd name="T36" fmla="*/ 27 w 183"/>
                <a:gd name="T37" fmla="*/ 83 h 148"/>
                <a:gd name="T38" fmla="*/ 37 w 183"/>
                <a:gd name="T39" fmla="*/ 42 h 148"/>
                <a:gd name="T40" fmla="*/ 16 w 183"/>
                <a:gd name="T41" fmla="*/ 35 h 148"/>
                <a:gd name="T42" fmla="*/ 4 w 183"/>
                <a:gd name="T43" fmla="*/ 29 h 148"/>
                <a:gd name="T44" fmla="*/ 0 w 183"/>
                <a:gd name="T45" fmla="*/ 12 h 148"/>
                <a:gd name="T46" fmla="*/ 9 w 183"/>
                <a:gd name="T47" fmla="*/ 8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3" h="148">
                  <a:moveTo>
                    <a:pt x="9" y="5"/>
                  </a:moveTo>
                  <a:cubicBezTo>
                    <a:pt x="13" y="0"/>
                    <a:pt x="48" y="3"/>
                    <a:pt x="54" y="3"/>
                  </a:cubicBezTo>
                  <a:cubicBezTo>
                    <a:pt x="62" y="9"/>
                    <a:pt x="72" y="7"/>
                    <a:pt x="81" y="3"/>
                  </a:cubicBezTo>
                  <a:cubicBezTo>
                    <a:pt x="113" y="5"/>
                    <a:pt x="122" y="15"/>
                    <a:pt x="156" y="17"/>
                  </a:cubicBezTo>
                  <a:cubicBezTo>
                    <a:pt x="167" y="25"/>
                    <a:pt x="155" y="25"/>
                    <a:pt x="175" y="27"/>
                  </a:cubicBezTo>
                  <a:cubicBezTo>
                    <a:pt x="177" y="34"/>
                    <a:pt x="183" y="37"/>
                    <a:pt x="175" y="39"/>
                  </a:cubicBezTo>
                  <a:cubicBezTo>
                    <a:pt x="171" y="46"/>
                    <a:pt x="162" y="47"/>
                    <a:pt x="154" y="48"/>
                  </a:cubicBezTo>
                  <a:cubicBezTo>
                    <a:pt x="148" y="53"/>
                    <a:pt x="147" y="59"/>
                    <a:pt x="139" y="62"/>
                  </a:cubicBezTo>
                  <a:cubicBezTo>
                    <a:pt x="135" y="68"/>
                    <a:pt x="136" y="74"/>
                    <a:pt x="129" y="77"/>
                  </a:cubicBezTo>
                  <a:cubicBezTo>
                    <a:pt x="123" y="84"/>
                    <a:pt x="125" y="91"/>
                    <a:pt x="132" y="96"/>
                  </a:cubicBezTo>
                  <a:cubicBezTo>
                    <a:pt x="131" y="98"/>
                    <a:pt x="132" y="101"/>
                    <a:pt x="130" y="102"/>
                  </a:cubicBezTo>
                  <a:cubicBezTo>
                    <a:pt x="128" y="104"/>
                    <a:pt x="125" y="102"/>
                    <a:pt x="123" y="104"/>
                  </a:cubicBezTo>
                  <a:cubicBezTo>
                    <a:pt x="115" y="114"/>
                    <a:pt x="125" y="111"/>
                    <a:pt x="112" y="119"/>
                  </a:cubicBezTo>
                  <a:cubicBezTo>
                    <a:pt x="105" y="129"/>
                    <a:pt x="102" y="130"/>
                    <a:pt x="91" y="134"/>
                  </a:cubicBezTo>
                  <a:cubicBezTo>
                    <a:pt x="78" y="144"/>
                    <a:pt x="78" y="140"/>
                    <a:pt x="55" y="141"/>
                  </a:cubicBezTo>
                  <a:cubicBezTo>
                    <a:pt x="48" y="145"/>
                    <a:pt x="52" y="148"/>
                    <a:pt x="43" y="146"/>
                  </a:cubicBezTo>
                  <a:cubicBezTo>
                    <a:pt x="39" y="140"/>
                    <a:pt x="35" y="132"/>
                    <a:pt x="28" y="131"/>
                  </a:cubicBezTo>
                  <a:cubicBezTo>
                    <a:pt x="25" y="126"/>
                    <a:pt x="24" y="124"/>
                    <a:pt x="21" y="119"/>
                  </a:cubicBezTo>
                  <a:cubicBezTo>
                    <a:pt x="28" y="108"/>
                    <a:pt x="21" y="95"/>
                    <a:pt x="27" y="83"/>
                  </a:cubicBezTo>
                  <a:cubicBezTo>
                    <a:pt x="30" y="67"/>
                    <a:pt x="29" y="56"/>
                    <a:pt x="37" y="42"/>
                  </a:cubicBezTo>
                  <a:cubicBezTo>
                    <a:pt x="31" y="34"/>
                    <a:pt x="27" y="36"/>
                    <a:pt x="16" y="35"/>
                  </a:cubicBezTo>
                  <a:cubicBezTo>
                    <a:pt x="11" y="33"/>
                    <a:pt x="9" y="32"/>
                    <a:pt x="4" y="29"/>
                  </a:cubicBezTo>
                  <a:cubicBezTo>
                    <a:pt x="3" y="24"/>
                    <a:pt x="1" y="17"/>
                    <a:pt x="0" y="12"/>
                  </a:cubicBezTo>
                  <a:cubicBezTo>
                    <a:pt x="3" y="10"/>
                    <a:pt x="9" y="8"/>
                    <a:pt x="9" y="8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2" name="Freeform 87"/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5510698" y="3234632"/>
              <a:ext cx="455176" cy="424373"/>
            </a:xfrm>
            <a:custGeom>
              <a:avLst/>
              <a:gdLst>
                <a:gd name="T0" fmla="*/ 5 w 277"/>
                <a:gd name="T1" fmla="*/ 5 h 262"/>
                <a:gd name="T2" fmla="*/ 1 w 277"/>
                <a:gd name="T3" fmla="*/ 37 h 262"/>
                <a:gd name="T4" fmla="*/ 2 w 277"/>
                <a:gd name="T5" fmla="*/ 53 h 262"/>
                <a:gd name="T6" fmla="*/ 15 w 277"/>
                <a:gd name="T7" fmla="*/ 67 h 262"/>
                <a:gd name="T8" fmla="*/ 26 w 277"/>
                <a:gd name="T9" fmla="*/ 77 h 262"/>
                <a:gd name="T10" fmla="*/ 14 w 277"/>
                <a:gd name="T11" fmla="*/ 100 h 262"/>
                <a:gd name="T12" fmla="*/ 28 w 277"/>
                <a:gd name="T13" fmla="*/ 121 h 262"/>
                <a:gd name="T14" fmla="*/ 46 w 277"/>
                <a:gd name="T15" fmla="*/ 139 h 262"/>
                <a:gd name="T16" fmla="*/ 53 w 277"/>
                <a:gd name="T17" fmla="*/ 173 h 262"/>
                <a:gd name="T18" fmla="*/ 85 w 277"/>
                <a:gd name="T19" fmla="*/ 182 h 262"/>
                <a:gd name="T20" fmla="*/ 94 w 277"/>
                <a:gd name="T21" fmla="*/ 208 h 262"/>
                <a:gd name="T22" fmla="*/ 115 w 277"/>
                <a:gd name="T23" fmla="*/ 218 h 262"/>
                <a:gd name="T24" fmla="*/ 119 w 277"/>
                <a:gd name="T25" fmla="*/ 220 h 262"/>
                <a:gd name="T26" fmla="*/ 130 w 277"/>
                <a:gd name="T27" fmla="*/ 221 h 262"/>
                <a:gd name="T28" fmla="*/ 145 w 277"/>
                <a:gd name="T29" fmla="*/ 233 h 262"/>
                <a:gd name="T30" fmla="*/ 173 w 277"/>
                <a:gd name="T31" fmla="*/ 215 h 262"/>
                <a:gd name="T32" fmla="*/ 193 w 277"/>
                <a:gd name="T33" fmla="*/ 221 h 262"/>
                <a:gd name="T34" fmla="*/ 202 w 277"/>
                <a:gd name="T35" fmla="*/ 251 h 262"/>
                <a:gd name="T36" fmla="*/ 236 w 277"/>
                <a:gd name="T37" fmla="*/ 257 h 262"/>
                <a:gd name="T38" fmla="*/ 256 w 277"/>
                <a:gd name="T39" fmla="*/ 241 h 262"/>
                <a:gd name="T40" fmla="*/ 268 w 277"/>
                <a:gd name="T41" fmla="*/ 233 h 262"/>
                <a:gd name="T42" fmla="*/ 277 w 277"/>
                <a:gd name="T43" fmla="*/ 230 h 262"/>
                <a:gd name="T44" fmla="*/ 269 w 277"/>
                <a:gd name="T45" fmla="*/ 208 h 262"/>
                <a:gd name="T46" fmla="*/ 253 w 277"/>
                <a:gd name="T47" fmla="*/ 199 h 262"/>
                <a:gd name="T48" fmla="*/ 248 w 277"/>
                <a:gd name="T49" fmla="*/ 176 h 262"/>
                <a:gd name="T50" fmla="*/ 251 w 277"/>
                <a:gd name="T51" fmla="*/ 164 h 262"/>
                <a:gd name="T52" fmla="*/ 243 w 277"/>
                <a:gd name="T53" fmla="*/ 146 h 262"/>
                <a:gd name="T54" fmla="*/ 239 w 277"/>
                <a:gd name="T55" fmla="*/ 127 h 262"/>
                <a:gd name="T56" fmla="*/ 247 w 277"/>
                <a:gd name="T57" fmla="*/ 80 h 262"/>
                <a:gd name="T58" fmla="*/ 227 w 277"/>
                <a:gd name="T59" fmla="*/ 61 h 262"/>
                <a:gd name="T60" fmla="*/ 209 w 277"/>
                <a:gd name="T61" fmla="*/ 49 h 262"/>
                <a:gd name="T62" fmla="*/ 185 w 277"/>
                <a:gd name="T63" fmla="*/ 40 h 262"/>
                <a:gd name="T64" fmla="*/ 165 w 277"/>
                <a:gd name="T65" fmla="*/ 38 h 262"/>
                <a:gd name="T66" fmla="*/ 146 w 277"/>
                <a:gd name="T67" fmla="*/ 44 h 262"/>
                <a:gd name="T68" fmla="*/ 128 w 277"/>
                <a:gd name="T69" fmla="*/ 52 h 262"/>
                <a:gd name="T70" fmla="*/ 97 w 277"/>
                <a:gd name="T71" fmla="*/ 61 h 262"/>
                <a:gd name="T72" fmla="*/ 73 w 277"/>
                <a:gd name="T73" fmla="*/ 41 h 262"/>
                <a:gd name="T74" fmla="*/ 53 w 277"/>
                <a:gd name="T75" fmla="*/ 19 h 262"/>
                <a:gd name="T76" fmla="*/ 43 w 277"/>
                <a:gd name="T77" fmla="*/ 8 h 262"/>
                <a:gd name="T78" fmla="*/ 31 w 277"/>
                <a:gd name="T79" fmla="*/ 10 h 262"/>
                <a:gd name="T80" fmla="*/ 17 w 277"/>
                <a:gd name="T81" fmla="*/ 8 h 262"/>
                <a:gd name="T82" fmla="*/ 5 w 277"/>
                <a:gd name="T83" fmla="*/ 5 h 2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77" h="262">
                  <a:moveTo>
                    <a:pt x="5" y="5"/>
                  </a:moveTo>
                  <a:cubicBezTo>
                    <a:pt x="0" y="9"/>
                    <a:pt x="1" y="28"/>
                    <a:pt x="1" y="37"/>
                  </a:cubicBezTo>
                  <a:cubicBezTo>
                    <a:pt x="1" y="45"/>
                    <a:pt x="0" y="48"/>
                    <a:pt x="2" y="53"/>
                  </a:cubicBezTo>
                  <a:cubicBezTo>
                    <a:pt x="4" y="58"/>
                    <a:pt x="11" y="63"/>
                    <a:pt x="15" y="67"/>
                  </a:cubicBezTo>
                  <a:cubicBezTo>
                    <a:pt x="19" y="71"/>
                    <a:pt x="26" y="72"/>
                    <a:pt x="26" y="77"/>
                  </a:cubicBezTo>
                  <a:cubicBezTo>
                    <a:pt x="18" y="85"/>
                    <a:pt x="25" y="96"/>
                    <a:pt x="14" y="100"/>
                  </a:cubicBezTo>
                  <a:cubicBezTo>
                    <a:pt x="12" y="110"/>
                    <a:pt x="19" y="117"/>
                    <a:pt x="28" y="121"/>
                  </a:cubicBezTo>
                  <a:cubicBezTo>
                    <a:pt x="34" y="129"/>
                    <a:pt x="37" y="135"/>
                    <a:pt x="46" y="139"/>
                  </a:cubicBezTo>
                  <a:cubicBezTo>
                    <a:pt x="54" y="149"/>
                    <a:pt x="45" y="163"/>
                    <a:pt x="53" y="173"/>
                  </a:cubicBezTo>
                  <a:cubicBezTo>
                    <a:pt x="67" y="170"/>
                    <a:pt x="78" y="169"/>
                    <a:pt x="85" y="182"/>
                  </a:cubicBezTo>
                  <a:cubicBezTo>
                    <a:pt x="87" y="192"/>
                    <a:pt x="90" y="199"/>
                    <a:pt x="94" y="208"/>
                  </a:cubicBezTo>
                  <a:cubicBezTo>
                    <a:pt x="96" y="221"/>
                    <a:pt x="104" y="216"/>
                    <a:pt x="115" y="218"/>
                  </a:cubicBezTo>
                  <a:cubicBezTo>
                    <a:pt x="116" y="219"/>
                    <a:pt x="118" y="220"/>
                    <a:pt x="119" y="220"/>
                  </a:cubicBezTo>
                  <a:cubicBezTo>
                    <a:pt x="123" y="221"/>
                    <a:pt x="127" y="220"/>
                    <a:pt x="130" y="221"/>
                  </a:cubicBezTo>
                  <a:cubicBezTo>
                    <a:pt x="136" y="224"/>
                    <a:pt x="134" y="231"/>
                    <a:pt x="145" y="233"/>
                  </a:cubicBezTo>
                  <a:cubicBezTo>
                    <a:pt x="153" y="237"/>
                    <a:pt x="166" y="220"/>
                    <a:pt x="173" y="215"/>
                  </a:cubicBezTo>
                  <a:cubicBezTo>
                    <a:pt x="178" y="216"/>
                    <a:pt x="189" y="218"/>
                    <a:pt x="193" y="221"/>
                  </a:cubicBezTo>
                  <a:cubicBezTo>
                    <a:pt x="198" y="224"/>
                    <a:pt x="190" y="249"/>
                    <a:pt x="202" y="251"/>
                  </a:cubicBezTo>
                  <a:cubicBezTo>
                    <a:pt x="224" y="262"/>
                    <a:pt x="198" y="256"/>
                    <a:pt x="236" y="257"/>
                  </a:cubicBezTo>
                  <a:cubicBezTo>
                    <a:pt x="274" y="255"/>
                    <a:pt x="241" y="262"/>
                    <a:pt x="256" y="241"/>
                  </a:cubicBezTo>
                  <a:cubicBezTo>
                    <a:pt x="262" y="241"/>
                    <a:pt x="266" y="233"/>
                    <a:pt x="268" y="233"/>
                  </a:cubicBezTo>
                  <a:cubicBezTo>
                    <a:pt x="271" y="230"/>
                    <a:pt x="277" y="234"/>
                    <a:pt x="277" y="230"/>
                  </a:cubicBezTo>
                  <a:cubicBezTo>
                    <a:pt x="277" y="226"/>
                    <a:pt x="273" y="213"/>
                    <a:pt x="269" y="208"/>
                  </a:cubicBezTo>
                  <a:cubicBezTo>
                    <a:pt x="268" y="201"/>
                    <a:pt x="258" y="204"/>
                    <a:pt x="253" y="199"/>
                  </a:cubicBezTo>
                  <a:cubicBezTo>
                    <a:pt x="248" y="186"/>
                    <a:pt x="247" y="198"/>
                    <a:pt x="248" y="176"/>
                  </a:cubicBezTo>
                  <a:cubicBezTo>
                    <a:pt x="247" y="170"/>
                    <a:pt x="252" y="168"/>
                    <a:pt x="251" y="164"/>
                  </a:cubicBezTo>
                  <a:cubicBezTo>
                    <a:pt x="250" y="159"/>
                    <a:pt x="245" y="152"/>
                    <a:pt x="243" y="146"/>
                  </a:cubicBezTo>
                  <a:cubicBezTo>
                    <a:pt x="237" y="138"/>
                    <a:pt x="238" y="136"/>
                    <a:pt x="239" y="127"/>
                  </a:cubicBezTo>
                  <a:cubicBezTo>
                    <a:pt x="239" y="117"/>
                    <a:pt x="249" y="91"/>
                    <a:pt x="247" y="80"/>
                  </a:cubicBezTo>
                  <a:cubicBezTo>
                    <a:pt x="245" y="69"/>
                    <a:pt x="233" y="66"/>
                    <a:pt x="227" y="61"/>
                  </a:cubicBezTo>
                  <a:cubicBezTo>
                    <a:pt x="223" y="54"/>
                    <a:pt x="218" y="50"/>
                    <a:pt x="209" y="49"/>
                  </a:cubicBezTo>
                  <a:cubicBezTo>
                    <a:pt x="202" y="46"/>
                    <a:pt x="192" y="41"/>
                    <a:pt x="185" y="40"/>
                  </a:cubicBezTo>
                  <a:cubicBezTo>
                    <a:pt x="177" y="38"/>
                    <a:pt x="171" y="37"/>
                    <a:pt x="165" y="38"/>
                  </a:cubicBezTo>
                  <a:cubicBezTo>
                    <a:pt x="159" y="39"/>
                    <a:pt x="152" y="42"/>
                    <a:pt x="146" y="44"/>
                  </a:cubicBezTo>
                  <a:cubicBezTo>
                    <a:pt x="141" y="48"/>
                    <a:pt x="135" y="51"/>
                    <a:pt x="128" y="52"/>
                  </a:cubicBezTo>
                  <a:cubicBezTo>
                    <a:pt x="120" y="53"/>
                    <a:pt x="106" y="63"/>
                    <a:pt x="97" y="61"/>
                  </a:cubicBezTo>
                  <a:cubicBezTo>
                    <a:pt x="88" y="59"/>
                    <a:pt x="80" y="48"/>
                    <a:pt x="73" y="41"/>
                  </a:cubicBezTo>
                  <a:cubicBezTo>
                    <a:pt x="69" y="35"/>
                    <a:pt x="57" y="24"/>
                    <a:pt x="53" y="19"/>
                  </a:cubicBezTo>
                  <a:cubicBezTo>
                    <a:pt x="48" y="13"/>
                    <a:pt x="50" y="11"/>
                    <a:pt x="43" y="8"/>
                  </a:cubicBezTo>
                  <a:cubicBezTo>
                    <a:pt x="38" y="11"/>
                    <a:pt x="36" y="6"/>
                    <a:pt x="31" y="10"/>
                  </a:cubicBezTo>
                  <a:cubicBezTo>
                    <a:pt x="27" y="4"/>
                    <a:pt x="24" y="11"/>
                    <a:pt x="17" y="8"/>
                  </a:cubicBezTo>
                  <a:cubicBezTo>
                    <a:pt x="11" y="0"/>
                    <a:pt x="12" y="9"/>
                    <a:pt x="5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3" name="Freeform 88"/>
            <p:cNvSpPr>
              <a:spLocks/>
            </p:cNvSpPr>
            <p:nvPr>
              <p:custDataLst>
                <p:tags r:id="rId69"/>
              </p:custDataLst>
            </p:nvPr>
          </p:nvSpPr>
          <p:spPr bwMode="gray">
            <a:xfrm>
              <a:off x="5351954" y="3315619"/>
              <a:ext cx="246216" cy="233243"/>
            </a:xfrm>
            <a:custGeom>
              <a:avLst/>
              <a:gdLst>
                <a:gd name="T0" fmla="*/ 92 w 149"/>
                <a:gd name="T1" fmla="*/ 3 h 144"/>
                <a:gd name="T2" fmla="*/ 76 w 149"/>
                <a:gd name="T3" fmla="*/ 8 h 144"/>
                <a:gd name="T4" fmla="*/ 49 w 149"/>
                <a:gd name="T5" fmla="*/ 5 h 144"/>
                <a:gd name="T6" fmla="*/ 41 w 149"/>
                <a:gd name="T7" fmla="*/ 40 h 144"/>
                <a:gd name="T8" fmla="*/ 32 w 149"/>
                <a:gd name="T9" fmla="*/ 51 h 144"/>
                <a:gd name="T10" fmla="*/ 22 w 149"/>
                <a:gd name="T11" fmla="*/ 66 h 144"/>
                <a:gd name="T12" fmla="*/ 7 w 149"/>
                <a:gd name="T13" fmla="*/ 71 h 144"/>
                <a:gd name="T14" fmla="*/ 20 w 149"/>
                <a:gd name="T15" fmla="*/ 95 h 144"/>
                <a:gd name="T16" fmla="*/ 34 w 149"/>
                <a:gd name="T17" fmla="*/ 95 h 144"/>
                <a:gd name="T18" fmla="*/ 49 w 149"/>
                <a:gd name="T19" fmla="*/ 102 h 144"/>
                <a:gd name="T20" fmla="*/ 58 w 149"/>
                <a:gd name="T21" fmla="*/ 107 h 144"/>
                <a:gd name="T22" fmla="*/ 71 w 149"/>
                <a:gd name="T23" fmla="*/ 117 h 144"/>
                <a:gd name="T24" fmla="*/ 83 w 149"/>
                <a:gd name="T25" fmla="*/ 131 h 144"/>
                <a:gd name="T26" fmla="*/ 97 w 149"/>
                <a:gd name="T27" fmla="*/ 134 h 144"/>
                <a:gd name="T28" fmla="*/ 110 w 149"/>
                <a:gd name="T29" fmla="*/ 143 h 144"/>
                <a:gd name="T30" fmla="*/ 128 w 149"/>
                <a:gd name="T31" fmla="*/ 140 h 144"/>
                <a:gd name="T32" fmla="*/ 146 w 149"/>
                <a:gd name="T33" fmla="*/ 125 h 144"/>
                <a:gd name="T34" fmla="*/ 147 w 149"/>
                <a:gd name="T35" fmla="*/ 114 h 144"/>
                <a:gd name="T36" fmla="*/ 145 w 149"/>
                <a:gd name="T37" fmla="*/ 93 h 144"/>
                <a:gd name="T38" fmla="*/ 122 w 149"/>
                <a:gd name="T39" fmla="*/ 71 h 144"/>
                <a:gd name="T40" fmla="*/ 110 w 149"/>
                <a:gd name="T41" fmla="*/ 59 h 144"/>
                <a:gd name="T42" fmla="*/ 119 w 149"/>
                <a:gd name="T43" fmla="*/ 45 h 144"/>
                <a:gd name="T44" fmla="*/ 119 w 149"/>
                <a:gd name="T45" fmla="*/ 35 h 144"/>
                <a:gd name="T46" fmla="*/ 121 w 149"/>
                <a:gd name="T47" fmla="*/ 23 h 144"/>
                <a:gd name="T48" fmla="*/ 113 w 149"/>
                <a:gd name="T49" fmla="*/ 18 h 144"/>
                <a:gd name="T50" fmla="*/ 103 w 149"/>
                <a:gd name="T51" fmla="*/ 14 h 144"/>
                <a:gd name="T52" fmla="*/ 95 w 149"/>
                <a:gd name="T53" fmla="*/ 6 h 144"/>
                <a:gd name="T54" fmla="*/ 92 w 149"/>
                <a:gd name="T55" fmla="*/ 3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49" h="144">
                  <a:moveTo>
                    <a:pt x="92" y="3"/>
                  </a:moveTo>
                  <a:cubicBezTo>
                    <a:pt x="89" y="2"/>
                    <a:pt x="83" y="8"/>
                    <a:pt x="76" y="8"/>
                  </a:cubicBezTo>
                  <a:cubicBezTo>
                    <a:pt x="69" y="8"/>
                    <a:pt x="55" y="0"/>
                    <a:pt x="49" y="5"/>
                  </a:cubicBezTo>
                  <a:cubicBezTo>
                    <a:pt x="41" y="12"/>
                    <a:pt x="44" y="32"/>
                    <a:pt x="41" y="40"/>
                  </a:cubicBezTo>
                  <a:cubicBezTo>
                    <a:pt x="38" y="48"/>
                    <a:pt x="35" y="47"/>
                    <a:pt x="32" y="51"/>
                  </a:cubicBezTo>
                  <a:cubicBezTo>
                    <a:pt x="28" y="55"/>
                    <a:pt x="26" y="63"/>
                    <a:pt x="22" y="66"/>
                  </a:cubicBezTo>
                  <a:cubicBezTo>
                    <a:pt x="18" y="69"/>
                    <a:pt x="7" y="66"/>
                    <a:pt x="7" y="71"/>
                  </a:cubicBezTo>
                  <a:cubicBezTo>
                    <a:pt x="0" y="85"/>
                    <a:pt x="8" y="93"/>
                    <a:pt x="20" y="95"/>
                  </a:cubicBezTo>
                  <a:cubicBezTo>
                    <a:pt x="24" y="100"/>
                    <a:pt x="29" y="94"/>
                    <a:pt x="34" y="95"/>
                  </a:cubicBezTo>
                  <a:cubicBezTo>
                    <a:pt x="39" y="96"/>
                    <a:pt x="45" y="100"/>
                    <a:pt x="49" y="102"/>
                  </a:cubicBezTo>
                  <a:cubicBezTo>
                    <a:pt x="53" y="104"/>
                    <a:pt x="54" y="105"/>
                    <a:pt x="58" y="107"/>
                  </a:cubicBezTo>
                  <a:cubicBezTo>
                    <a:pt x="61" y="110"/>
                    <a:pt x="67" y="113"/>
                    <a:pt x="71" y="117"/>
                  </a:cubicBezTo>
                  <a:cubicBezTo>
                    <a:pt x="75" y="121"/>
                    <a:pt x="79" y="128"/>
                    <a:pt x="83" y="131"/>
                  </a:cubicBezTo>
                  <a:cubicBezTo>
                    <a:pt x="89" y="135"/>
                    <a:pt x="90" y="133"/>
                    <a:pt x="97" y="134"/>
                  </a:cubicBezTo>
                  <a:cubicBezTo>
                    <a:pt x="102" y="135"/>
                    <a:pt x="105" y="142"/>
                    <a:pt x="110" y="143"/>
                  </a:cubicBezTo>
                  <a:cubicBezTo>
                    <a:pt x="115" y="144"/>
                    <a:pt x="122" y="143"/>
                    <a:pt x="128" y="140"/>
                  </a:cubicBezTo>
                  <a:cubicBezTo>
                    <a:pt x="134" y="137"/>
                    <a:pt x="147" y="136"/>
                    <a:pt x="146" y="125"/>
                  </a:cubicBezTo>
                  <a:cubicBezTo>
                    <a:pt x="149" y="121"/>
                    <a:pt x="147" y="119"/>
                    <a:pt x="147" y="114"/>
                  </a:cubicBezTo>
                  <a:cubicBezTo>
                    <a:pt x="147" y="109"/>
                    <a:pt x="149" y="100"/>
                    <a:pt x="145" y="93"/>
                  </a:cubicBezTo>
                  <a:cubicBezTo>
                    <a:pt x="141" y="86"/>
                    <a:pt x="128" y="77"/>
                    <a:pt x="122" y="71"/>
                  </a:cubicBezTo>
                  <a:cubicBezTo>
                    <a:pt x="118" y="65"/>
                    <a:pt x="114" y="64"/>
                    <a:pt x="110" y="59"/>
                  </a:cubicBezTo>
                  <a:cubicBezTo>
                    <a:pt x="108" y="54"/>
                    <a:pt x="118" y="49"/>
                    <a:pt x="119" y="45"/>
                  </a:cubicBezTo>
                  <a:cubicBezTo>
                    <a:pt x="120" y="41"/>
                    <a:pt x="119" y="39"/>
                    <a:pt x="119" y="35"/>
                  </a:cubicBezTo>
                  <a:cubicBezTo>
                    <a:pt x="120" y="29"/>
                    <a:pt x="124" y="26"/>
                    <a:pt x="121" y="23"/>
                  </a:cubicBezTo>
                  <a:cubicBezTo>
                    <a:pt x="120" y="20"/>
                    <a:pt x="116" y="20"/>
                    <a:pt x="113" y="18"/>
                  </a:cubicBezTo>
                  <a:cubicBezTo>
                    <a:pt x="110" y="16"/>
                    <a:pt x="106" y="16"/>
                    <a:pt x="103" y="14"/>
                  </a:cubicBezTo>
                  <a:cubicBezTo>
                    <a:pt x="99" y="7"/>
                    <a:pt x="102" y="11"/>
                    <a:pt x="95" y="6"/>
                  </a:cubicBezTo>
                  <a:cubicBezTo>
                    <a:pt x="90" y="3"/>
                    <a:pt x="89" y="3"/>
                    <a:pt x="92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4" name="Freeform 89"/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695918" y="4191900"/>
              <a:ext cx="176563" cy="212187"/>
            </a:xfrm>
            <a:custGeom>
              <a:avLst/>
              <a:gdLst>
                <a:gd name="T0" fmla="*/ 67 w 107"/>
                <a:gd name="T1" fmla="*/ 14 h 131"/>
                <a:gd name="T2" fmla="*/ 70 w 107"/>
                <a:gd name="T3" fmla="*/ 16 h 131"/>
                <a:gd name="T4" fmla="*/ 86 w 107"/>
                <a:gd name="T5" fmla="*/ 1 h 131"/>
                <a:gd name="T6" fmla="*/ 103 w 107"/>
                <a:gd name="T7" fmla="*/ 2 h 131"/>
                <a:gd name="T8" fmla="*/ 106 w 107"/>
                <a:gd name="T9" fmla="*/ 29 h 131"/>
                <a:gd name="T10" fmla="*/ 98 w 107"/>
                <a:gd name="T11" fmla="*/ 43 h 131"/>
                <a:gd name="T12" fmla="*/ 100 w 107"/>
                <a:gd name="T13" fmla="*/ 64 h 131"/>
                <a:gd name="T14" fmla="*/ 86 w 107"/>
                <a:gd name="T15" fmla="*/ 73 h 131"/>
                <a:gd name="T16" fmla="*/ 77 w 107"/>
                <a:gd name="T17" fmla="*/ 86 h 131"/>
                <a:gd name="T18" fmla="*/ 71 w 107"/>
                <a:gd name="T19" fmla="*/ 101 h 131"/>
                <a:gd name="T20" fmla="*/ 65 w 107"/>
                <a:gd name="T21" fmla="*/ 113 h 131"/>
                <a:gd name="T22" fmla="*/ 50 w 107"/>
                <a:gd name="T23" fmla="*/ 119 h 131"/>
                <a:gd name="T24" fmla="*/ 39 w 107"/>
                <a:gd name="T25" fmla="*/ 119 h 131"/>
                <a:gd name="T26" fmla="*/ 25 w 107"/>
                <a:gd name="T27" fmla="*/ 121 h 131"/>
                <a:gd name="T28" fmla="*/ 11 w 107"/>
                <a:gd name="T29" fmla="*/ 130 h 131"/>
                <a:gd name="T30" fmla="*/ 1 w 107"/>
                <a:gd name="T31" fmla="*/ 115 h 131"/>
                <a:gd name="T32" fmla="*/ 16 w 107"/>
                <a:gd name="T33" fmla="*/ 103 h 131"/>
                <a:gd name="T34" fmla="*/ 16 w 107"/>
                <a:gd name="T35" fmla="*/ 88 h 131"/>
                <a:gd name="T36" fmla="*/ 26 w 107"/>
                <a:gd name="T37" fmla="*/ 80 h 131"/>
                <a:gd name="T38" fmla="*/ 49 w 107"/>
                <a:gd name="T39" fmla="*/ 85 h 131"/>
                <a:gd name="T40" fmla="*/ 53 w 107"/>
                <a:gd name="T41" fmla="*/ 71 h 131"/>
                <a:gd name="T42" fmla="*/ 46 w 107"/>
                <a:gd name="T43" fmla="*/ 50 h 131"/>
                <a:gd name="T44" fmla="*/ 47 w 107"/>
                <a:gd name="T45" fmla="*/ 37 h 131"/>
                <a:gd name="T46" fmla="*/ 35 w 107"/>
                <a:gd name="T47" fmla="*/ 37 h 131"/>
                <a:gd name="T48" fmla="*/ 28 w 107"/>
                <a:gd name="T49" fmla="*/ 20 h 131"/>
                <a:gd name="T50" fmla="*/ 58 w 107"/>
                <a:gd name="T51" fmla="*/ 22 h 131"/>
                <a:gd name="T52" fmla="*/ 73 w 107"/>
                <a:gd name="T53" fmla="*/ 11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07" h="131">
                  <a:moveTo>
                    <a:pt x="67" y="14"/>
                  </a:moveTo>
                  <a:cubicBezTo>
                    <a:pt x="76" y="18"/>
                    <a:pt x="67" y="23"/>
                    <a:pt x="70" y="16"/>
                  </a:cubicBezTo>
                  <a:cubicBezTo>
                    <a:pt x="67" y="7"/>
                    <a:pt x="76" y="2"/>
                    <a:pt x="86" y="1"/>
                  </a:cubicBezTo>
                  <a:cubicBezTo>
                    <a:pt x="92" y="1"/>
                    <a:pt x="98" y="0"/>
                    <a:pt x="103" y="2"/>
                  </a:cubicBezTo>
                  <a:cubicBezTo>
                    <a:pt x="106" y="6"/>
                    <a:pt x="107" y="22"/>
                    <a:pt x="106" y="29"/>
                  </a:cubicBezTo>
                  <a:cubicBezTo>
                    <a:pt x="105" y="36"/>
                    <a:pt x="99" y="37"/>
                    <a:pt x="98" y="43"/>
                  </a:cubicBezTo>
                  <a:cubicBezTo>
                    <a:pt x="97" y="53"/>
                    <a:pt x="102" y="59"/>
                    <a:pt x="100" y="64"/>
                  </a:cubicBezTo>
                  <a:cubicBezTo>
                    <a:pt x="98" y="69"/>
                    <a:pt x="90" y="69"/>
                    <a:pt x="86" y="73"/>
                  </a:cubicBezTo>
                  <a:cubicBezTo>
                    <a:pt x="85" y="81"/>
                    <a:pt x="81" y="80"/>
                    <a:pt x="77" y="86"/>
                  </a:cubicBezTo>
                  <a:cubicBezTo>
                    <a:pt x="75" y="92"/>
                    <a:pt x="73" y="97"/>
                    <a:pt x="71" y="101"/>
                  </a:cubicBezTo>
                  <a:cubicBezTo>
                    <a:pt x="69" y="105"/>
                    <a:pt x="68" y="110"/>
                    <a:pt x="65" y="113"/>
                  </a:cubicBezTo>
                  <a:cubicBezTo>
                    <a:pt x="60" y="117"/>
                    <a:pt x="56" y="118"/>
                    <a:pt x="50" y="119"/>
                  </a:cubicBezTo>
                  <a:cubicBezTo>
                    <a:pt x="46" y="120"/>
                    <a:pt x="43" y="119"/>
                    <a:pt x="39" y="119"/>
                  </a:cubicBezTo>
                  <a:cubicBezTo>
                    <a:pt x="35" y="119"/>
                    <a:pt x="30" y="119"/>
                    <a:pt x="25" y="121"/>
                  </a:cubicBezTo>
                  <a:cubicBezTo>
                    <a:pt x="19" y="121"/>
                    <a:pt x="15" y="131"/>
                    <a:pt x="11" y="130"/>
                  </a:cubicBezTo>
                  <a:cubicBezTo>
                    <a:pt x="7" y="129"/>
                    <a:pt x="0" y="119"/>
                    <a:pt x="1" y="115"/>
                  </a:cubicBezTo>
                  <a:cubicBezTo>
                    <a:pt x="0" y="109"/>
                    <a:pt x="14" y="107"/>
                    <a:pt x="16" y="103"/>
                  </a:cubicBezTo>
                  <a:cubicBezTo>
                    <a:pt x="18" y="99"/>
                    <a:pt x="14" y="92"/>
                    <a:pt x="16" y="88"/>
                  </a:cubicBezTo>
                  <a:cubicBezTo>
                    <a:pt x="18" y="84"/>
                    <a:pt x="21" y="80"/>
                    <a:pt x="26" y="80"/>
                  </a:cubicBezTo>
                  <a:cubicBezTo>
                    <a:pt x="31" y="80"/>
                    <a:pt x="45" y="86"/>
                    <a:pt x="49" y="85"/>
                  </a:cubicBezTo>
                  <a:cubicBezTo>
                    <a:pt x="53" y="84"/>
                    <a:pt x="53" y="77"/>
                    <a:pt x="53" y="71"/>
                  </a:cubicBezTo>
                  <a:cubicBezTo>
                    <a:pt x="53" y="65"/>
                    <a:pt x="47" y="56"/>
                    <a:pt x="46" y="50"/>
                  </a:cubicBezTo>
                  <a:cubicBezTo>
                    <a:pt x="45" y="44"/>
                    <a:pt x="49" y="39"/>
                    <a:pt x="47" y="37"/>
                  </a:cubicBezTo>
                  <a:cubicBezTo>
                    <a:pt x="45" y="35"/>
                    <a:pt x="38" y="40"/>
                    <a:pt x="35" y="37"/>
                  </a:cubicBezTo>
                  <a:cubicBezTo>
                    <a:pt x="32" y="34"/>
                    <a:pt x="24" y="22"/>
                    <a:pt x="28" y="20"/>
                  </a:cubicBezTo>
                  <a:cubicBezTo>
                    <a:pt x="32" y="18"/>
                    <a:pt x="51" y="23"/>
                    <a:pt x="58" y="22"/>
                  </a:cubicBezTo>
                  <a:cubicBezTo>
                    <a:pt x="65" y="21"/>
                    <a:pt x="70" y="13"/>
                    <a:pt x="73" y="1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5" name="Freeform 90"/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4645703" y="4224295"/>
              <a:ext cx="137687" cy="155496"/>
            </a:xfrm>
            <a:custGeom>
              <a:avLst/>
              <a:gdLst>
                <a:gd name="T0" fmla="*/ 4 w 83"/>
                <a:gd name="T1" fmla="*/ 24 h 96"/>
                <a:gd name="T2" fmla="*/ 32 w 83"/>
                <a:gd name="T3" fmla="*/ 17 h 96"/>
                <a:gd name="T4" fmla="*/ 37 w 83"/>
                <a:gd name="T5" fmla="*/ 0 h 96"/>
                <a:gd name="T6" fmla="*/ 55 w 83"/>
                <a:gd name="T7" fmla="*/ 2 h 96"/>
                <a:gd name="T8" fmla="*/ 65 w 83"/>
                <a:gd name="T9" fmla="*/ 17 h 96"/>
                <a:gd name="T10" fmla="*/ 80 w 83"/>
                <a:gd name="T11" fmla="*/ 21 h 96"/>
                <a:gd name="T12" fmla="*/ 79 w 83"/>
                <a:gd name="T13" fmla="*/ 26 h 96"/>
                <a:gd name="T14" fmla="*/ 77 w 83"/>
                <a:gd name="T15" fmla="*/ 32 h 96"/>
                <a:gd name="T16" fmla="*/ 77 w 83"/>
                <a:gd name="T17" fmla="*/ 41 h 96"/>
                <a:gd name="T18" fmla="*/ 81 w 83"/>
                <a:gd name="T19" fmla="*/ 49 h 96"/>
                <a:gd name="T20" fmla="*/ 79 w 83"/>
                <a:gd name="T21" fmla="*/ 65 h 96"/>
                <a:gd name="T22" fmla="*/ 56 w 83"/>
                <a:gd name="T23" fmla="*/ 59 h 96"/>
                <a:gd name="T24" fmla="*/ 49 w 83"/>
                <a:gd name="T25" fmla="*/ 69 h 96"/>
                <a:gd name="T26" fmla="*/ 29 w 83"/>
                <a:gd name="T27" fmla="*/ 96 h 96"/>
                <a:gd name="T28" fmla="*/ 8 w 83"/>
                <a:gd name="T29" fmla="*/ 77 h 96"/>
                <a:gd name="T30" fmla="*/ 4 w 83"/>
                <a:gd name="T31" fmla="*/ 2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96">
                  <a:moveTo>
                    <a:pt x="4" y="24"/>
                  </a:moveTo>
                  <a:cubicBezTo>
                    <a:pt x="13" y="24"/>
                    <a:pt x="24" y="22"/>
                    <a:pt x="32" y="17"/>
                  </a:cubicBezTo>
                  <a:cubicBezTo>
                    <a:pt x="37" y="14"/>
                    <a:pt x="37" y="0"/>
                    <a:pt x="37" y="0"/>
                  </a:cubicBezTo>
                  <a:cubicBezTo>
                    <a:pt x="44" y="1"/>
                    <a:pt x="49" y="0"/>
                    <a:pt x="55" y="2"/>
                  </a:cubicBezTo>
                  <a:cubicBezTo>
                    <a:pt x="60" y="3"/>
                    <a:pt x="59" y="14"/>
                    <a:pt x="65" y="17"/>
                  </a:cubicBezTo>
                  <a:cubicBezTo>
                    <a:pt x="72" y="14"/>
                    <a:pt x="76" y="15"/>
                    <a:pt x="80" y="21"/>
                  </a:cubicBezTo>
                  <a:cubicBezTo>
                    <a:pt x="80" y="23"/>
                    <a:pt x="80" y="25"/>
                    <a:pt x="79" y="26"/>
                  </a:cubicBezTo>
                  <a:cubicBezTo>
                    <a:pt x="77" y="27"/>
                    <a:pt x="78" y="30"/>
                    <a:pt x="77" y="32"/>
                  </a:cubicBezTo>
                  <a:cubicBezTo>
                    <a:pt x="77" y="34"/>
                    <a:pt x="78" y="35"/>
                    <a:pt x="77" y="41"/>
                  </a:cubicBezTo>
                  <a:cubicBezTo>
                    <a:pt x="78" y="44"/>
                    <a:pt x="81" y="45"/>
                    <a:pt x="81" y="49"/>
                  </a:cubicBezTo>
                  <a:cubicBezTo>
                    <a:pt x="81" y="53"/>
                    <a:pt x="83" y="63"/>
                    <a:pt x="79" y="65"/>
                  </a:cubicBezTo>
                  <a:cubicBezTo>
                    <a:pt x="69" y="64"/>
                    <a:pt x="62" y="67"/>
                    <a:pt x="56" y="59"/>
                  </a:cubicBezTo>
                  <a:cubicBezTo>
                    <a:pt x="46" y="60"/>
                    <a:pt x="55" y="61"/>
                    <a:pt x="49" y="69"/>
                  </a:cubicBezTo>
                  <a:cubicBezTo>
                    <a:pt x="51" y="79"/>
                    <a:pt x="38" y="89"/>
                    <a:pt x="29" y="96"/>
                  </a:cubicBezTo>
                  <a:cubicBezTo>
                    <a:pt x="20" y="93"/>
                    <a:pt x="16" y="83"/>
                    <a:pt x="8" y="77"/>
                  </a:cubicBezTo>
                  <a:cubicBezTo>
                    <a:pt x="4" y="65"/>
                    <a:pt x="0" y="34"/>
                    <a:pt x="4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6" name="Freeform 91"/>
            <p:cNvSpPr>
              <a:spLocks/>
            </p:cNvSpPr>
            <p:nvPr>
              <p:custDataLst>
                <p:tags r:id="rId72"/>
              </p:custDataLst>
            </p:nvPr>
          </p:nvSpPr>
          <p:spPr bwMode="gray">
            <a:xfrm>
              <a:off x="5168912" y="4530428"/>
              <a:ext cx="264035" cy="404936"/>
            </a:xfrm>
            <a:custGeom>
              <a:avLst/>
              <a:gdLst>
                <a:gd name="T0" fmla="*/ 38 w 161"/>
                <a:gd name="T1" fmla="*/ 237 h 250"/>
                <a:gd name="T2" fmla="*/ 63 w 161"/>
                <a:gd name="T3" fmla="*/ 221 h 250"/>
                <a:gd name="T4" fmla="*/ 77 w 161"/>
                <a:gd name="T5" fmla="*/ 204 h 250"/>
                <a:gd name="T6" fmla="*/ 75 w 161"/>
                <a:gd name="T7" fmla="*/ 173 h 250"/>
                <a:gd name="T8" fmla="*/ 65 w 161"/>
                <a:gd name="T9" fmla="*/ 150 h 250"/>
                <a:gd name="T10" fmla="*/ 77 w 161"/>
                <a:gd name="T11" fmla="*/ 134 h 250"/>
                <a:gd name="T12" fmla="*/ 87 w 161"/>
                <a:gd name="T13" fmla="*/ 123 h 250"/>
                <a:gd name="T14" fmla="*/ 96 w 161"/>
                <a:gd name="T15" fmla="*/ 116 h 250"/>
                <a:gd name="T16" fmla="*/ 134 w 161"/>
                <a:gd name="T17" fmla="*/ 102 h 250"/>
                <a:gd name="T18" fmla="*/ 149 w 161"/>
                <a:gd name="T19" fmla="*/ 71 h 250"/>
                <a:gd name="T20" fmla="*/ 140 w 161"/>
                <a:gd name="T21" fmla="*/ 0 h 250"/>
                <a:gd name="T22" fmla="*/ 120 w 161"/>
                <a:gd name="T23" fmla="*/ 15 h 250"/>
                <a:gd name="T24" fmla="*/ 99 w 161"/>
                <a:gd name="T25" fmla="*/ 23 h 250"/>
                <a:gd name="T26" fmla="*/ 65 w 161"/>
                <a:gd name="T27" fmla="*/ 24 h 250"/>
                <a:gd name="T28" fmla="*/ 68 w 161"/>
                <a:gd name="T29" fmla="*/ 47 h 250"/>
                <a:gd name="T30" fmla="*/ 74 w 161"/>
                <a:gd name="T31" fmla="*/ 62 h 250"/>
                <a:gd name="T32" fmla="*/ 71 w 161"/>
                <a:gd name="T33" fmla="*/ 99 h 250"/>
                <a:gd name="T34" fmla="*/ 57 w 161"/>
                <a:gd name="T35" fmla="*/ 86 h 250"/>
                <a:gd name="T36" fmla="*/ 45 w 161"/>
                <a:gd name="T37" fmla="*/ 63 h 250"/>
                <a:gd name="T38" fmla="*/ 32 w 161"/>
                <a:gd name="T39" fmla="*/ 54 h 250"/>
                <a:gd name="T40" fmla="*/ 18 w 161"/>
                <a:gd name="T41" fmla="*/ 63 h 250"/>
                <a:gd name="T42" fmla="*/ 5 w 161"/>
                <a:gd name="T43" fmla="*/ 72 h 250"/>
                <a:gd name="T44" fmla="*/ 8 w 161"/>
                <a:gd name="T45" fmla="*/ 84 h 250"/>
                <a:gd name="T46" fmla="*/ 17 w 161"/>
                <a:gd name="T47" fmla="*/ 87 h 250"/>
                <a:gd name="T48" fmla="*/ 35 w 161"/>
                <a:gd name="T49" fmla="*/ 99 h 250"/>
                <a:gd name="T50" fmla="*/ 35 w 161"/>
                <a:gd name="T51" fmla="*/ 138 h 250"/>
                <a:gd name="T52" fmla="*/ 30 w 161"/>
                <a:gd name="T53" fmla="*/ 158 h 250"/>
                <a:gd name="T54" fmla="*/ 27 w 161"/>
                <a:gd name="T55" fmla="*/ 174 h 250"/>
                <a:gd name="T56" fmla="*/ 6 w 161"/>
                <a:gd name="T57" fmla="*/ 189 h 250"/>
                <a:gd name="T58" fmla="*/ 17 w 161"/>
                <a:gd name="T59" fmla="*/ 206 h 250"/>
                <a:gd name="T60" fmla="*/ 24 w 161"/>
                <a:gd name="T61" fmla="*/ 230 h 250"/>
                <a:gd name="T62" fmla="*/ 29 w 161"/>
                <a:gd name="T63" fmla="*/ 249 h 250"/>
                <a:gd name="T64" fmla="*/ 38 w 161"/>
                <a:gd name="T65" fmla="*/ 237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1" h="250">
                  <a:moveTo>
                    <a:pt x="38" y="237"/>
                  </a:moveTo>
                  <a:cubicBezTo>
                    <a:pt x="40" y="223"/>
                    <a:pt x="51" y="222"/>
                    <a:pt x="63" y="221"/>
                  </a:cubicBezTo>
                  <a:cubicBezTo>
                    <a:pt x="70" y="218"/>
                    <a:pt x="73" y="211"/>
                    <a:pt x="77" y="204"/>
                  </a:cubicBezTo>
                  <a:cubicBezTo>
                    <a:pt x="79" y="194"/>
                    <a:pt x="80" y="183"/>
                    <a:pt x="75" y="173"/>
                  </a:cubicBezTo>
                  <a:cubicBezTo>
                    <a:pt x="73" y="164"/>
                    <a:pt x="70" y="158"/>
                    <a:pt x="65" y="150"/>
                  </a:cubicBezTo>
                  <a:cubicBezTo>
                    <a:pt x="66" y="135"/>
                    <a:pt x="65" y="136"/>
                    <a:pt x="77" y="134"/>
                  </a:cubicBezTo>
                  <a:cubicBezTo>
                    <a:pt x="87" y="129"/>
                    <a:pt x="82" y="129"/>
                    <a:pt x="87" y="123"/>
                  </a:cubicBezTo>
                  <a:cubicBezTo>
                    <a:pt x="89" y="120"/>
                    <a:pt x="96" y="116"/>
                    <a:pt x="96" y="116"/>
                  </a:cubicBezTo>
                  <a:cubicBezTo>
                    <a:pt x="104" y="102"/>
                    <a:pt x="119" y="104"/>
                    <a:pt x="134" y="102"/>
                  </a:cubicBezTo>
                  <a:cubicBezTo>
                    <a:pt x="135" y="89"/>
                    <a:pt x="143" y="82"/>
                    <a:pt x="149" y="71"/>
                  </a:cubicBezTo>
                  <a:cubicBezTo>
                    <a:pt x="148" y="50"/>
                    <a:pt x="161" y="15"/>
                    <a:pt x="140" y="0"/>
                  </a:cubicBezTo>
                  <a:cubicBezTo>
                    <a:pt x="134" y="7"/>
                    <a:pt x="129" y="14"/>
                    <a:pt x="120" y="15"/>
                  </a:cubicBezTo>
                  <a:cubicBezTo>
                    <a:pt x="107" y="13"/>
                    <a:pt x="109" y="22"/>
                    <a:pt x="99" y="23"/>
                  </a:cubicBezTo>
                  <a:cubicBezTo>
                    <a:pt x="88" y="24"/>
                    <a:pt x="76" y="24"/>
                    <a:pt x="65" y="24"/>
                  </a:cubicBezTo>
                  <a:cubicBezTo>
                    <a:pt x="62" y="33"/>
                    <a:pt x="59" y="42"/>
                    <a:pt x="68" y="47"/>
                  </a:cubicBezTo>
                  <a:cubicBezTo>
                    <a:pt x="72" y="52"/>
                    <a:pt x="72" y="56"/>
                    <a:pt x="74" y="62"/>
                  </a:cubicBezTo>
                  <a:cubicBezTo>
                    <a:pt x="76" y="74"/>
                    <a:pt x="83" y="90"/>
                    <a:pt x="71" y="99"/>
                  </a:cubicBezTo>
                  <a:cubicBezTo>
                    <a:pt x="60" y="97"/>
                    <a:pt x="61" y="94"/>
                    <a:pt x="57" y="86"/>
                  </a:cubicBezTo>
                  <a:cubicBezTo>
                    <a:pt x="56" y="62"/>
                    <a:pt x="60" y="68"/>
                    <a:pt x="45" y="63"/>
                  </a:cubicBezTo>
                  <a:cubicBezTo>
                    <a:pt x="41" y="58"/>
                    <a:pt x="38" y="56"/>
                    <a:pt x="32" y="54"/>
                  </a:cubicBezTo>
                  <a:cubicBezTo>
                    <a:pt x="28" y="61"/>
                    <a:pt x="26" y="62"/>
                    <a:pt x="18" y="63"/>
                  </a:cubicBezTo>
                  <a:cubicBezTo>
                    <a:pt x="14" y="70"/>
                    <a:pt x="11" y="68"/>
                    <a:pt x="5" y="72"/>
                  </a:cubicBezTo>
                  <a:cubicBezTo>
                    <a:pt x="1" y="78"/>
                    <a:pt x="0" y="82"/>
                    <a:pt x="8" y="84"/>
                  </a:cubicBezTo>
                  <a:cubicBezTo>
                    <a:pt x="11" y="85"/>
                    <a:pt x="14" y="85"/>
                    <a:pt x="17" y="87"/>
                  </a:cubicBezTo>
                  <a:cubicBezTo>
                    <a:pt x="24" y="92"/>
                    <a:pt x="25" y="97"/>
                    <a:pt x="35" y="99"/>
                  </a:cubicBezTo>
                  <a:cubicBezTo>
                    <a:pt x="38" y="107"/>
                    <a:pt x="36" y="128"/>
                    <a:pt x="35" y="138"/>
                  </a:cubicBezTo>
                  <a:cubicBezTo>
                    <a:pt x="34" y="148"/>
                    <a:pt x="31" y="152"/>
                    <a:pt x="30" y="158"/>
                  </a:cubicBezTo>
                  <a:cubicBezTo>
                    <a:pt x="29" y="165"/>
                    <a:pt x="33" y="170"/>
                    <a:pt x="27" y="174"/>
                  </a:cubicBezTo>
                  <a:cubicBezTo>
                    <a:pt x="24" y="182"/>
                    <a:pt x="13" y="185"/>
                    <a:pt x="6" y="189"/>
                  </a:cubicBezTo>
                  <a:cubicBezTo>
                    <a:pt x="8" y="194"/>
                    <a:pt x="15" y="201"/>
                    <a:pt x="17" y="206"/>
                  </a:cubicBezTo>
                  <a:cubicBezTo>
                    <a:pt x="18" y="222"/>
                    <a:pt x="16" y="220"/>
                    <a:pt x="24" y="230"/>
                  </a:cubicBezTo>
                  <a:cubicBezTo>
                    <a:pt x="26" y="243"/>
                    <a:pt x="18" y="247"/>
                    <a:pt x="29" y="249"/>
                  </a:cubicBezTo>
                  <a:cubicBezTo>
                    <a:pt x="31" y="250"/>
                    <a:pt x="32" y="242"/>
                    <a:pt x="38" y="2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7" name="Freeform 92"/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5126796" y="4339297"/>
              <a:ext cx="48595" cy="50213"/>
            </a:xfrm>
            <a:custGeom>
              <a:avLst/>
              <a:gdLst>
                <a:gd name="T0" fmla="*/ 25 w 29"/>
                <a:gd name="T1" fmla="*/ 0 h 31"/>
                <a:gd name="T2" fmla="*/ 3 w 29"/>
                <a:gd name="T3" fmla="*/ 7 h 31"/>
                <a:gd name="T4" fmla="*/ 4 w 29"/>
                <a:gd name="T5" fmla="*/ 28 h 31"/>
                <a:gd name="T6" fmla="*/ 18 w 29"/>
                <a:gd name="T7" fmla="*/ 25 h 31"/>
                <a:gd name="T8" fmla="*/ 27 w 29"/>
                <a:gd name="T9" fmla="*/ 18 h 31"/>
                <a:gd name="T10" fmla="*/ 25 w 29"/>
                <a:gd name="T11" fmla="*/ 7 h 31"/>
                <a:gd name="T12" fmla="*/ 25 w 29"/>
                <a:gd name="T13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31">
                  <a:moveTo>
                    <a:pt x="25" y="0"/>
                  </a:moveTo>
                  <a:cubicBezTo>
                    <a:pt x="16" y="1"/>
                    <a:pt x="9" y="0"/>
                    <a:pt x="3" y="7"/>
                  </a:cubicBezTo>
                  <a:cubicBezTo>
                    <a:pt x="0" y="11"/>
                    <a:pt x="2" y="25"/>
                    <a:pt x="4" y="28"/>
                  </a:cubicBezTo>
                  <a:cubicBezTo>
                    <a:pt x="6" y="31"/>
                    <a:pt x="14" y="27"/>
                    <a:pt x="18" y="25"/>
                  </a:cubicBezTo>
                  <a:cubicBezTo>
                    <a:pt x="21" y="23"/>
                    <a:pt x="26" y="21"/>
                    <a:pt x="27" y="18"/>
                  </a:cubicBezTo>
                  <a:cubicBezTo>
                    <a:pt x="28" y="15"/>
                    <a:pt x="25" y="10"/>
                    <a:pt x="25" y="7"/>
                  </a:cubicBezTo>
                  <a:cubicBezTo>
                    <a:pt x="25" y="4"/>
                    <a:pt x="29" y="0"/>
                    <a:pt x="25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8" name="Freeform 93"/>
            <p:cNvSpPr>
              <a:spLocks/>
            </p:cNvSpPr>
            <p:nvPr>
              <p:custDataLst>
                <p:tags r:id="rId74"/>
              </p:custDataLst>
            </p:nvPr>
          </p:nvSpPr>
          <p:spPr bwMode="gray">
            <a:xfrm>
              <a:off x="5130035" y="4303663"/>
              <a:ext cx="278613" cy="270498"/>
            </a:xfrm>
            <a:custGeom>
              <a:avLst/>
              <a:gdLst>
                <a:gd name="T0" fmla="*/ 10 w 169"/>
                <a:gd name="T1" fmla="*/ 2 h 167"/>
                <a:gd name="T2" fmla="*/ 53 w 169"/>
                <a:gd name="T3" fmla="*/ 2 h 167"/>
                <a:gd name="T4" fmla="*/ 77 w 169"/>
                <a:gd name="T5" fmla="*/ 5 h 167"/>
                <a:gd name="T6" fmla="*/ 103 w 169"/>
                <a:gd name="T7" fmla="*/ 13 h 167"/>
                <a:gd name="T8" fmla="*/ 128 w 169"/>
                <a:gd name="T9" fmla="*/ 37 h 167"/>
                <a:gd name="T10" fmla="*/ 149 w 169"/>
                <a:gd name="T11" fmla="*/ 49 h 167"/>
                <a:gd name="T12" fmla="*/ 154 w 169"/>
                <a:gd name="T13" fmla="*/ 106 h 167"/>
                <a:gd name="T14" fmla="*/ 157 w 169"/>
                <a:gd name="T15" fmla="*/ 122 h 167"/>
                <a:gd name="T16" fmla="*/ 155 w 169"/>
                <a:gd name="T17" fmla="*/ 151 h 167"/>
                <a:gd name="T18" fmla="*/ 136 w 169"/>
                <a:gd name="T19" fmla="*/ 155 h 167"/>
                <a:gd name="T20" fmla="*/ 124 w 169"/>
                <a:gd name="T21" fmla="*/ 163 h 167"/>
                <a:gd name="T22" fmla="*/ 106 w 169"/>
                <a:gd name="T23" fmla="*/ 164 h 167"/>
                <a:gd name="T24" fmla="*/ 89 w 169"/>
                <a:gd name="T25" fmla="*/ 160 h 167"/>
                <a:gd name="T26" fmla="*/ 38 w 169"/>
                <a:gd name="T27" fmla="*/ 121 h 167"/>
                <a:gd name="T28" fmla="*/ 20 w 169"/>
                <a:gd name="T29" fmla="*/ 109 h 167"/>
                <a:gd name="T30" fmla="*/ 23 w 169"/>
                <a:gd name="T31" fmla="*/ 92 h 167"/>
                <a:gd name="T32" fmla="*/ 10 w 169"/>
                <a:gd name="T33" fmla="*/ 85 h 167"/>
                <a:gd name="T34" fmla="*/ 1 w 169"/>
                <a:gd name="T35" fmla="*/ 73 h 167"/>
                <a:gd name="T36" fmla="*/ 2 w 169"/>
                <a:gd name="T37" fmla="*/ 53 h 167"/>
                <a:gd name="T38" fmla="*/ 12 w 169"/>
                <a:gd name="T39" fmla="*/ 52 h 167"/>
                <a:gd name="T40" fmla="*/ 26 w 169"/>
                <a:gd name="T41" fmla="*/ 38 h 167"/>
                <a:gd name="T42" fmla="*/ 23 w 169"/>
                <a:gd name="T43" fmla="*/ 23 h 167"/>
                <a:gd name="T44" fmla="*/ 25 w 169"/>
                <a:gd name="T45" fmla="*/ 13 h 167"/>
                <a:gd name="T46" fmla="*/ 10 w 169"/>
                <a:gd name="T47" fmla="*/ 2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69" h="167">
                  <a:moveTo>
                    <a:pt x="10" y="2"/>
                  </a:moveTo>
                  <a:cubicBezTo>
                    <a:pt x="15" y="0"/>
                    <a:pt x="38" y="0"/>
                    <a:pt x="53" y="2"/>
                  </a:cubicBezTo>
                  <a:cubicBezTo>
                    <a:pt x="64" y="2"/>
                    <a:pt x="69" y="3"/>
                    <a:pt x="77" y="5"/>
                  </a:cubicBezTo>
                  <a:cubicBezTo>
                    <a:pt x="85" y="7"/>
                    <a:pt x="95" y="8"/>
                    <a:pt x="103" y="13"/>
                  </a:cubicBezTo>
                  <a:cubicBezTo>
                    <a:pt x="113" y="20"/>
                    <a:pt x="117" y="32"/>
                    <a:pt x="128" y="37"/>
                  </a:cubicBezTo>
                  <a:cubicBezTo>
                    <a:pt x="136" y="48"/>
                    <a:pt x="136" y="45"/>
                    <a:pt x="149" y="49"/>
                  </a:cubicBezTo>
                  <a:cubicBezTo>
                    <a:pt x="138" y="64"/>
                    <a:pt x="147" y="89"/>
                    <a:pt x="154" y="106"/>
                  </a:cubicBezTo>
                  <a:cubicBezTo>
                    <a:pt x="155" y="113"/>
                    <a:pt x="153" y="117"/>
                    <a:pt x="157" y="122"/>
                  </a:cubicBezTo>
                  <a:cubicBezTo>
                    <a:pt x="159" y="134"/>
                    <a:pt x="169" y="149"/>
                    <a:pt x="155" y="151"/>
                  </a:cubicBezTo>
                  <a:cubicBezTo>
                    <a:pt x="152" y="157"/>
                    <a:pt x="141" y="153"/>
                    <a:pt x="136" y="155"/>
                  </a:cubicBezTo>
                  <a:cubicBezTo>
                    <a:pt x="131" y="157"/>
                    <a:pt x="129" y="162"/>
                    <a:pt x="124" y="163"/>
                  </a:cubicBezTo>
                  <a:cubicBezTo>
                    <a:pt x="119" y="164"/>
                    <a:pt x="112" y="164"/>
                    <a:pt x="106" y="164"/>
                  </a:cubicBezTo>
                  <a:cubicBezTo>
                    <a:pt x="100" y="167"/>
                    <a:pt x="95" y="161"/>
                    <a:pt x="89" y="160"/>
                  </a:cubicBezTo>
                  <a:cubicBezTo>
                    <a:pt x="87" y="131"/>
                    <a:pt x="64" y="122"/>
                    <a:pt x="38" y="121"/>
                  </a:cubicBezTo>
                  <a:cubicBezTo>
                    <a:pt x="32" y="117"/>
                    <a:pt x="26" y="113"/>
                    <a:pt x="20" y="109"/>
                  </a:cubicBezTo>
                  <a:cubicBezTo>
                    <a:pt x="17" y="105"/>
                    <a:pt x="25" y="96"/>
                    <a:pt x="23" y="92"/>
                  </a:cubicBezTo>
                  <a:cubicBezTo>
                    <a:pt x="21" y="88"/>
                    <a:pt x="14" y="88"/>
                    <a:pt x="10" y="85"/>
                  </a:cubicBezTo>
                  <a:cubicBezTo>
                    <a:pt x="8" y="78"/>
                    <a:pt x="2" y="78"/>
                    <a:pt x="1" y="73"/>
                  </a:cubicBezTo>
                  <a:cubicBezTo>
                    <a:pt x="0" y="68"/>
                    <a:pt x="0" y="56"/>
                    <a:pt x="2" y="53"/>
                  </a:cubicBezTo>
                  <a:cubicBezTo>
                    <a:pt x="4" y="50"/>
                    <a:pt x="8" y="54"/>
                    <a:pt x="12" y="52"/>
                  </a:cubicBezTo>
                  <a:cubicBezTo>
                    <a:pt x="16" y="50"/>
                    <a:pt x="24" y="43"/>
                    <a:pt x="26" y="38"/>
                  </a:cubicBezTo>
                  <a:cubicBezTo>
                    <a:pt x="25" y="32"/>
                    <a:pt x="26" y="29"/>
                    <a:pt x="23" y="23"/>
                  </a:cubicBezTo>
                  <a:cubicBezTo>
                    <a:pt x="25" y="20"/>
                    <a:pt x="24" y="16"/>
                    <a:pt x="25" y="13"/>
                  </a:cubicBezTo>
                  <a:cubicBezTo>
                    <a:pt x="29" y="2"/>
                    <a:pt x="15" y="3"/>
                    <a:pt x="10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69" name="Freeform 94"/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5133275" y="4306902"/>
              <a:ext cx="53455" cy="40494"/>
            </a:xfrm>
            <a:custGeom>
              <a:avLst/>
              <a:gdLst>
                <a:gd name="T0" fmla="*/ 11 w 32"/>
                <a:gd name="T1" fmla="*/ 2 h 25"/>
                <a:gd name="T2" fmla="*/ 21 w 32"/>
                <a:gd name="T3" fmla="*/ 14 h 25"/>
                <a:gd name="T4" fmla="*/ 0 w 32"/>
                <a:gd name="T5" fmla="*/ 24 h 25"/>
                <a:gd name="T6" fmla="*/ 6 w 32"/>
                <a:gd name="T7" fmla="*/ 8 h 25"/>
                <a:gd name="T8" fmla="*/ 11 w 32"/>
                <a:gd name="T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25">
                  <a:moveTo>
                    <a:pt x="11" y="2"/>
                  </a:moveTo>
                  <a:cubicBezTo>
                    <a:pt x="23" y="0"/>
                    <a:pt x="32" y="10"/>
                    <a:pt x="21" y="14"/>
                  </a:cubicBezTo>
                  <a:cubicBezTo>
                    <a:pt x="16" y="21"/>
                    <a:pt x="8" y="25"/>
                    <a:pt x="0" y="24"/>
                  </a:cubicBezTo>
                  <a:cubicBezTo>
                    <a:pt x="1" y="16"/>
                    <a:pt x="0" y="13"/>
                    <a:pt x="6" y="8"/>
                  </a:cubicBezTo>
                  <a:cubicBezTo>
                    <a:pt x="9" y="2"/>
                    <a:pt x="7" y="2"/>
                    <a:pt x="11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0" name="Freeform 95"/>
            <p:cNvSpPr>
              <a:spLocks/>
            </p:cNvSpPr>
            <p:nvPr>
              <p:custDataLst>
                <p:tags r:id="rId76"/>
              </p:custDataLst>
            </p:nvPr>
          </p:nvSpPr>
          <p:spPr bwMode="gray">
            <a:xfrm>
              <a:off x="5220747" y="4510991"/>
              <a:ext cx="77752" cy="179792"/>
            </a:xfrm>
            <a:custGeom>
              <a:avLst/>
              <a:gdLst>
                <a:gd name="T0" fmla="*/ 7 w 47"/>
                <a:gd name="T1" fmla="*/ 0 h 111"/>
                <a:gd name="T2" fmla="*/ 33 w 47"/>
                <a:gd name="T3" fmla="*/ 20 h 111"/>
                <a:gd name="T4" fmla="*/ 34 w 47"/>
                <a:gd name="T5" fmla="*/ 33 h 111"/>
                <a:gd name="T6" fmla="*/ 31 w 47"/>
                <a:gd name="T7" fmla="*/ 54 h 111"/>
                <a:gd name="T8" fmla="*/ 45 w 47"/>
                <a:gd name="T9" fmla="*/ 78 h 111"/>
                <a:gd name="T10" fmla="*/ 45 w 47"/>
                <a:gd name="T11" fmla="*/ 101 h 111"/>
                <a:gd name="T12" fmla="*/ 30 w 47"/>
                <a:gd name="T13" fmla="*/ 108 h 111"/>
                <a:gd name="T14" fmla="*/ 24 w 47"/>
                <a:gd name="T15" fmla="*/ 80 h 111"/>
                <a:gd name="T16" fmla="*/ 9 w 47"/>
                <a:gd name="T17" fmla="*/ 68 h 111"/>
                <a:gd name="T18" fmla="*/ 1 w 47"/>
                <a:gd name="T19" fmla="*/ 56 h 111"/>
                <a:gd name="T20" fmla="*/ 12 w 47"/>
                <a:gd name="T21" fmla="*/ 35 h 111"/>
                <a:gd name="T22" fmla="*/ 7 w 47"/>
                <a:gd name="T23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111">
                  <a:moveTo>
                    <a:pt x="7" y="0"/>
                  </a:moveTo>
                  <a:cubicBezTo>
                    <a:pt x="21" y="2"/>
                    <a:pt x="28" y="6"/>
                    <a:pt x="33" y="20"/>
                  </a:cubicBezTo>
                  <a:cubicBezTo>
                    <a:pt x="37" y="26"/>
                    <a:pt x="34" y="27"/>
                    <a:pt x="34" y="33"/>
                  </a:cubicBezTo>
                  <a:cubicBezTo>
                    <a:pt x="34" y="39"/>
                    <a:pt x="29" y="47"/>
                    <a:pt x="31" y="54"/>
                  </a:cubicBezTo>
                  <a:cubicBezTo>
                    <a:pt x="35" y="60"/>
                    <a:pt x="43" y="71"/>
                    <a:pt x="45" y="78"/>
                  </a:cubicBezTo>
                  <a:cubicBezTo>
                    <a:pt x="47" y="86"/>
                    <a:pt x="47" y="96"/>
                    <a:pt x="45" y="101"/>
                  </a:cubicBezTo>
                  <a:cubicBezTo>
                    <a:pt x="43" y="106"/>
                    <a:pt x="33" y="111"/>
                    <a:pt x="30" y="108"/>
                  </a:cubicBezTo>
                  <a:cubicBezTo>
                    <a:pt x="26" y="100"/>
                    <a:pt x="26" y="88"/>
                    <a:pt x="24" y="80"/>
                  </a:cubicBezTo>
                  <a:cubicBezTo>
                    <a:pt x="22" y="73"/>
                    <a:pt x="14" y="72"/>
                    <a:pt x="9" y="68"/>
                  </a:cubicBezTo>
                  <a:cubicBezTo>
                    <a:pt x="6" y="63"/>
                    <a:pt x="2" y="62"/>
                    <a:pt x="1" y="56"/>
                  </a:cubicBezTo>
                  <a:cubicBezTo>
                    <a:pt x="0" y="50"/>
                    <a:pt x="11" y="44"/>
                    <a:pt x="12" y="35"/>
                  </a:cubicBezTo>
                  <a:cubicBezTo>
                    <a:pt x="13" y="26"/>
                    <a:pt x="8" y="7"/>
                    <a:pt x="7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1" name="Freeform 96"/>
            <p:cNvSpPr>
              <a:spLocks/>
            </p:cNvSpPr>
            <p:nvPr>
              <p:custDataLst>
                <p:tags r:id="rId77"/>
              </p:custDataLst>
            </p:nvPr>
          </p:nvSpPr>
          <p:spPr bwMode="gray">
            <a:xfrm>
              <a:off x="4613307" y="3313998"/>
              <a:ext cx="98811" cy="181411"/>
            </a:xfrm>
            <a:custGeom>
              <a:avLst/>
              <a:gdLst>
                <a:gd name="T0" fmla="*/ 19 w 60"/>
                <a:gd name="T1" fmla="*/ 9 h 112"/>
                <a:gd name="T2" fmla="*/ 39 w 60"/>
                <a:gd name="T3" fmla="*/ 4 h 112"/>
                <a:gd name="T4" fmla="*/ 48 w 60"/>
                <a:gd name="T5" fmla="*/ 34 h 112"/>
                <a:gd name="T6" fmla="*/ 37 w 60"/>
                <a:gd name="T7" fmla="*/ 51 h 112"/>
                <a:gd name="T8" fmla="*/ 51 w 60"/>
                <a:gd name="T9" fmla="*/ 73 h 112"/>
                <a:gd name="T10" fmla="*/ 54 w 60"/>
                <a:gd name="T11" fmla="*/ 90 h 112"/>
                <a:gd name="T12" fmla="*/ 41 w 60"/>
                <a:gd name="T13" fmla="*/ 99 h 112"/>
                <a:gd name="T14" fmla="*/ 34 w 60"/>
                <a:gd name="T15" fmla="*/ 103 h 112"/>
                <a:gd name="T16" fmla="*/ 27 w 60"/>
                <a:gd name="T17" fmla="*/ 109 h 112"/>
                <a:gd name="T18" fmla="*/ 7 w 60"/>
                <a:gd name="T19" fmla="*/ 87 h 112"/>
                <a:gd name="T20" fmla="*/ 0 w 60"/>
                <a:gd name="T21" fmla="*/ 73 h 112"/>
                <a:gd name="T22" fmla="*/ 9 w 60"/>
                <a:gd name="T23" fmla="*/ 34 h 112"/>
                <a:gd name="T24" fmla="*/ 19 w 60"/>
                <a:gd name="T25" fmla="*/ 9 h 1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112">
                  <a:moveTo>
                    <a:pt x="19" y="9"/>
                  </a:moveTo>
                  <a:cubicBezTo>
                    <a:pt x="24" y="0"/>
                    <a:pt x="29" y="3"/>
                    <a:pt x="39" y="4"/>
                  </a:cubicBezTo>
                  <a:cubicBezTo>
                    <a:pt x="49" y="12"/>
                    <a:pt x="43" y="23"/>
                    <a:pt x="48" y="34"/>
                  </a:cubicBezTo>
                  <a:cubicBezTo>
                    <a:pt x="50" y="44"/>
                    <a:pt x="47" y="48"/>
                    <a:pt x="37" y="51"/>
                  </a:cubicBezTo>
                  <a:cubicBezTo>
                    <a:pt x="35" y="64"/>
                    <a:pt x="38" y="70"/>
                    <a:pt x="51" y="73"/>
                  </a:cubicBezTo>
                  <a:cubicBezTo>
                    <a:pt x="55" y="80"/>
                    <a:pt x="60" y="86"/>
                    <a:pt x="54" y="90"/>
                  </a:cubicBezTo>
                  <a:cubicBezTo>
                    <a:pt x="52" y="94"/>
                    <a:pt x="44" y="97"/>
                    <a:pt x="41" y="99"/>
                  </a:cubicBezTo>
                  <a:cubicBezTo>
                    <a:pt x="38" y="101"/>
                    <a:pt x="36" y="101"/>
                    <a:pt x="34" y="103"/>
                  </a:cubicBezTo>
                  <a:cubicBezTo>
                    <a:pt x="32" y="105"/>
                    <a:pt x="32" y="112"/>
                    <a:pt x="27" y="109"/>
                  </a:cubicBezTo>
                  <a:cubicBezTo>
                    <a:pt x="25" y="100"/>
                    <a:pt x="15" y="92"/>
                    <a:pt x="7" y="87"/>
                  </a:cubicBezTo>
                  <a:cubicBezTo>
                    <a:pt x="4" y="82"/>
                    <a:pt x="1" y="79"/>
                    <a:pt x="0" y="73"/>
                  </a:cubicBezTo>
                  <a:cubicBezTo>
                    <a:pt x="1" y="61"/>
                    <a:pt x="3" y="45"/>
                    <a:pt x="9" y="34"/>
                  </a:cubicBezTo>
                  <a:cubicBezTo>
                    <a:pt x="9" y="28"/>
                    <a:pt x="8" y="9"/>
                    <a:pt x="19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2" name="Freeform 100"/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755853" y="2706594"/>
              <a:ext cx="255935" cy="207327"/>
            </a:xfrm>
            <a:custGeom>
              <a:avLst/>
              <a:gdLst>
                <a:gd name="T0" fmla="*/ 0 w 155"/>
                <a:gd name="T1" fmla="*/ 18 h 128"/>
                <a:gd name="T2" fmla="*/ 33 w 155"/>
                <a:gd name="T3" fmla="*/ 15 h 128"/>
                <a:gd name="T4" fmla="*/ 54 w 155"/>
                <a:gd name="T5" fmla="*/ 0 h 128"/>
                <a:gd name="T6" fmla="*/ 87 w 155"/>
                <a:gd name="T7" fmla="*/ 4 h 128"/>
                <a:gd name="T8" fmla="*/ 96 w 155"/>
                <a:gd name="T9" fmla="*/ 16 h 128"/>
                <a:gd name="T10" fmla="*/ 120 w 155"/>
                <a:gd name="T11" fmla="*/ 15 h 128"/>
                <a:gd name="T12" fmla="*/ 147 w 155"/>
                <a:gd name="T13" fmla="*/ 19 h 128"/>
                <a:gd name="T14" fmla="*/ 153 w 155"/>
                <a:gd name="T15" fmla="*/ 39 h 128"/>
                <a:gd name="T16" fmla="*/ 145 w 155"/>
                <a:gd name="T17" fmla="*/ 57 h 128"/>
                <a:gd name="T18" fmla="*/ 150 w 155"/>
                <a:gd name="T19" fmla="*/ 76 h 128"/>
                <a:gd name="T20" fmla="*/ 153 w 155"/>
                <a:gd name="T21" fmla="*/ 99 h 128"/>
                <a:gd name="T22" fmla="*/ 136 w 155"/>
                <a:gd name="T23" fmla="*/ 118 h 128"/>
                <a:gd name="T24" fmla="*/ 123 w 155"/>
                <a:gd name="T25" fmla="*/ 124 h 128"/>
                <a:gd name="T26" fmla="*/ 94 w 155"/>
                <a:gd name="T27" fmla="*/ 127 h 128"/>
                <a:gd name="T28" fmla="*/ 73 w 155"/>
                <a:gd name="T29" fmla="*/ 121 h 128"/>
                <a:gd name="T30" fmla="*/ 39 w 155"/>
                <a:gd name="T31" fmla="*/ 96 h 128"/>
                <a:gd name="T32" fmla="*/ 12 w 155"/>
                <a:gd name="T33" fmla="*/ 88 h 128"/>
                <a:gd name="T34" fmla="*/ 10 w 155"/>
                <a:gd name="T35" fmla="*/ 52 h 128"/>
                <a:gd name="T36" fmla="*/ 0 w 155"/>
                <a:gd name="T37" fmla="*/ 1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28">
                  <a:moveTo>
                    <a:pt x="0" y="18"/>
                  </a:moveTo>
                  <a:cubicBezTo>
                    <a:pt x="5" y="17"/>
                    <a:pt x="33" y="15"/>
                    <a:pt x="33" y="15"/>
                  </a:cubicBezTo>
                  <a:cubicBezTo>
                    <a:pt x="42" y="10"/>
                    <a:pt x="42" y="2"/>
                    <a:pt x="54" y="0"/>
                  </a:cubicBezTo>
                  <a:cubicBezTo>
                    <a:pt x="78" y="1"/>
                    <a:pt x="63" y="0"/>
                    <a:pt x="87" y="4"/>
                  </a:cubicBezTo>
                  <a:cubicBezTo>
                    <a:pt x="91" y="5"/>
                    <a:pt x="96" y="16"/>
                    <a:pt x="96" y="16"/>
                  </a:cubicBezTo>
                  <a:cubicBezTo>
                    <a:pt x="100" y="18"/>
                    <a:pt x="112" y="15"/>
                    <a:pt x="120" y="15"/>
                  </a:cubicBezTo>
                  <a:cubicBezTo>
                    <a:pt x="128" y="15"/>
                    <a:pt x="142" y="15"/>
                    <a:pt x="147" y="19"/>
                  </a:cubicBezTo>
                  <a:cubicBezTo>
                    <a:pt x="153" y="23"/>
                    <a:pt x="153" y="33"/>
                    <a:pt x="153" y="39"/>
                  </a:cubicBezTo>
                  <a:cubicBezTo>
                    <a:pt x="153" y="45"/>
                    <a:pt x="145" y="51"/>
                    <a:pt x="145" y="57"/>
                  </a:cubicBezTo>
                  <a:cubicBezTo>
                    <a:pt x="148" y="73"/>
                    <a:pt x="146" y="67"/>
                    <a:pt x="150" y="76"/>
                  </a:cubicBezTo>
                  <a:cubicBezTo>
                    <a:pt x="151" y="83"/>
                    <a:pt x="155" y="92"/>
                    <a:pt x="153" y="99"/>
                  </a:cubicBezTo>
                  <a:cubicBezTo>
                    <a:pt x="151" y="106"/>
                    <a:pt x="141" y="114"/>
                    <a:pt x="136" y="118"/>
                  </a:cubicBezTo>
                  <a:cubicBezTo>
                    <a:pt x="131" y="120"/>
                    <a:pt x="127" y="121"/>
                    <a:pt x="123" y="124"/>
                  </a:cubicBezTo>
                  <a:cubicBezTo>
                    <a:pt x="117" y="125"/>
                    <a:pt x="102" y="128"/>
                    <a:pt x="94" y="127"/>
                  </a:cubicBezTo>
                  <a:cubicBezTo>
                    <a:pt x="86" y="126"/>
                    <a:pt x="82" y="126"/>
                    <a:pt x="73" y="121"/>
                  </a:cubicBezTo>
                  <a:cubicBezTo>
                    <a:pt x="61" y="120"/>
                    <a:pt x="52" y="99"/>
                    <a:pt x="39" y="96"/>
                  </a:cubicBezTo>
                  <a:cubicBezTo>
                    <a:pt x="28" y="88"/>
                    <a:pt x="25" y="92"/>
                    <a:pt x="12" y="88"/>
                  </a:cubicBezTo>
                  <a:cubicBezTo>
                    <a:pt x="6" y="80"/>
                    <a:pt x="11" y="64"/>
                    <a:pt x="10" y="52"/>
                  </a:cubicBezTo>
                  <a:cubicBezTo>
                    <a:pt x="8" y="40"/>
                    <a:pt x="1" y="25"/>
                    <a:pt x="0" y="1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3" name="Freeform 102"/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616637" y="2577012"/>
              <a:ext cx="176968" cy="162079"/>
            </a:xfrm>
            <a:custGeom>
              <a:avLst/>
              <a:gdLst/>
              <a:ahLst/>
              <a:cxnLst/>
              <a:rect l="l" t="t" r="r" b="b"/>
              <a:pathLst>
                <a:path w="173435" h="158852">
                  <a:moveTo>
                    <a:pt x="161866" y="104174"/>
                  </a:moveTo>
                  <a:cubicBezTo>
                    <a:pt x="177799" y="106608"/>
                    <a:pt x="177890" y="118745"/>
                    <a:pt x="158299" y="114301"/>
                  </a:cubicBezTo>
                  <a:close/>
                  <a:moveTo>
                    <a:pt x="158299" y="103189"/>
                  </a:moveTo>
                  <a:cubicBezTo>
                    <a:pt x="161692" y="103189"/>
                    <a:pt x="162413" y="102751"/>
                    <a:pt x="161866" y="104174"/>
                  </a:cubicBezTo>
                  <a:close/>
                  <a:moveTo>
                    <a:pt x="51691" y="0"/>
                  </a:moveTo>
                  <a:cubicBezTo>
                    <a:pt x="61383" y="3175"/>
                    <a:pt x="74297" y="22223"/>
                    <a:pt x="74297" y="22223"/>
                  </a:cubicBezTo>
                  <a:cubicBezTo>
                    <a:pt x="71074" y="39684"/>
                    <a:pt x="59766" y="44446"/>
                    <a:pt x="64606" y="57145"/>
                  </a:cubicBezTo>
                  <a:cubicBezTo>
                    <a:pt x="56531" y="79368"/>
                    <a:pt x="51691" y="74605"/>
                    <a:pt x="67840" y="79368"/>
                  </a:cubicBezTo>
                  <a:lnTo>
                    <a:pt x="78619" y="73638"/>
                  </a:lnTo>
                  <a:cubicBezTo>
                    <a:pt x="82783" y="68355"/>
                    <a:pt x="73087" y="65081"/>
                    <a:pt x="103383" y="69843"/>
                  </a:cubicBezTo>
                  <a:cubicBezTo>
                    <a:pt x="109840" y="87320"/>
                    <a:pt x="100148" y="109543"/>
                    <a:pt x="96914" y="127004"/>
                  </a:cubicBezTo>
                  <a:cubicBezTo>
                    <a:pt x="72691" y="119067"/>
                    <a:pt x="82383" y="125417"/>
                    <a:pt x="67840" y="111131"/>
                  </a:cubicBezTo>
                  <a:cubicBezTo>
                    <a:pt x="59766" y="134941"/>
                    <a:pt x="67840" y="128591"/>
                    <a:pt x="45223" y="133353"/>
                  </a:cubicBezTo>
                  <a:cubicBezTo>
                    <a:pt x="42000" y="136528"/>
                    <a:pt x="32297" y="133353"/>
                    <a:pt x="30692" y="138115"/>
                  </a:cubicBezTo>
                  <a:cubicBezTo>
                    <a:pt x="27457" y="142877"/>
                    <a:pt x="37149" y="160338"/>
                    <a:pt x="32297" y="158751"/>
                  </a:cubicBezTo>
                  <a:cubicBezTo>
                    <a:pt x="12914" y="155576"/>
                    <a:pt x="9692" y="109543"/>
                    <a:pt x="9692" y="98432"/>
                  </a:cubicBezTo>
                  <a:lnTo>
                    <a:pt x="9692" y="123829"/>
                  </a:lnTo>
                  <a:cubicBezTo>
                    <a:pt x="8074" y="115893"/>
                    <a:pt x="8074" y="106368"/>
                    <a:pt x="6457" y="98432"/>
                  </a:cubicBezTo>
                  <a:cubicBezTo>
                    <a:pt x="4840" y="92082"/>
                    <a:pt x="0" y="79368"/>
                    <a:pt x="0" y="79368"/>
                  </a:cubicBezTo>
                  <a:cubicBezTo>
                    <a:pt x="3223" y="44446"/>
                    <a:pt x="-4852" y="36509"/>
                    <a:pt x="32297" y="31747"/>
                  </a:cubicBezTo>
                  <a:cubicBezTo>
                    <a:pt x="43606" y="20636"/>
                    <a:pt x="48457" y="14286"/>
                    <a:pt x="5169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4" name="Freeform 105"/>
            <p:cNvSpPr>
              <a:spLocks/>
            </p:cNvSpPr>
            <p:nvPr>
              <p:custDataLst>
                <p:tags r:id="rId80"/>
              </p:custDataLst>
            </p:nvPr>
          </p:nvSpPr>
          <p:spPr bwMode="gray">
            <a:xfrm>
              <a:off x="5901080" y="3268645"/>
              <a:ext cx="270514" cy="272117"/>
            </a:xfrm>
            <a:custGeom>
              <a:avLst/>
              <a:gdLst>
                <a:gd name="T0" fmla="*/ 165 w 165"/>
                <a:gd name="T1" fmla="*/ 37 h 168"/>
                <a:gd name="T2" fmla="*/ 159 w 165"/>
                <a:gd name="T3" fmla="*/ 45 h 168"/>
                <a:gd name="T4" fmla="*/ 159 w 165"/>
                <a:gd name="T5" fmla="*/ 70 h 168"/>
                <a:gd name="T6" fmla="*/ 159 w 165"/>
                <a:gd name="T7" fmla="*/ 81 h 168"/>
                <a:gd name="T8" fmla="*/ 147 w 165"/>
                <a:gd name="T9" fmla="*/ 85 h 168"/>
                <a:gd name="T10" fmla="*/ 133 w 165"/>
                <a:gd name="T11" fmla="*/ 85 h 168"/>
                <a:gd name="T12" fmla="*/ 144 w 165"/>
                <a:gd name="T13" fmla="*/ 96 h 168"/>
                <a:gd name="T14" fmla="*/ 132 w 165"/>
                <a:gd name="T15" fmla="*/ 103 h 168"/>
                <a:gd name="T16" fmla="*/ 130 w 165"/>
                <a:gd name="T17" fmla="*/ 123 h 168"/>
                <a:gd name="T18" fmla="*/ 112 w 165"/>
                <a:gd name="T19" fmla="*/ 127 h 168"/>
                <a:gd name="T20" fmla="*/ 84 w 165"/>
                <a:gd name="T21" fmla="*/ 138 h 168"/>
                <a:gd name="T22" fmla="*/ 84 w 165"/>
                <a:gd name="T23" fmla="*/ 157 h 168"/>
                <a:gd name="T24" fmla="*/ 70 w 165"/>
                <a:gd name="T25" fmla="*/ 163 h 168"/>
                <a:gd name="T26" fmla="*/ 58 w 165"/>
                <a:gd name="T27" fmla="*/ 160 h 168"/>
                <a:gd name="T28" fmla="*/ 48 w 165"/>
                <a:gd name="T29" fmla="*/ 166 h 168"/>
                <a:gd name="T30" fmla="*/ 7 w 165"/>
                <a:gd name="T31" fmla="*/ 165 h 168"/>
                <a:gd name="T32" fmla="*/ 14 w 165"/>
                <a:gd name="T33" fmla="*/ 149 h 168"/>
                <a:gd name="T34" fmla="*/ 10 w 165"/>
                <a:gd name="T35" fmla="*/ 134 h 168"/>
                <a:gd name="T36" fmla="*/ 10 w 165"/>
                <a:gd name="T37" fmla="*/ 127 h 168"/>
                <a:gd name="T38" fmla="*/ 0 w 165"/>
                <a:gd name="T39" fmla="*/ 120 h 168"/>
                <a:gd name="T40" fmla="*/ 7 w 165"/>
                <a:gd name="T41" fmla="*/ 88 h 168"/>
                <a:gd name="T42" fmla="*/ 10 w 165"/>
                <a:gd name="T43" fmla="*/ 79 h 168"/>
                <a:gd name="T44" fmla="*/ 10 w 165"/>
                <a:gd name="T45" fmla="*/ 73 h 168"/>
                <a:gd name="T46" fmla="*/ 9 w 165"/>
                <a:gd name="T47" fmla="*/ 58 h 168"/>
                <a:gd name="T48" fmla="*/ 25 w 165"/>
                <a:gd name="T49" fmla="*/ 61 h 168"/>
                <a:gd name="T50" fmla="*/ 35 w 165"/>
                <a:gd name="T51" fmla="*/ 67 h 168"/>
                <a:gd name="T52" fmla="*/ 46 w 165"/>
                <a:gd name="T53" fmla="*/ 55 h 168"/>
                <a:gd name="T54" fmla="*/ 58 w 165"/>
                <a:gd name="T55" fmla="*/ 50 h 168"/>
                <a:gd name="T56" fmla="*/ 67 w 165"/>
                <a:gd name="T57" fmla="*/ 28 h 168"/>
                <a:gd name="T58" fmla="*/ 79 w 165"/>
                <a:gd name="T59" fmla="*/ 21 h 168"/>
                <a:gd name="T60" fmla="*/ 94 w 165"/>
                <a:gd name="T61" fmla="*/ 32 h 168"/>
                <a:gd name="T62" fmla="*/ 112 w 165"/>
                <a:gd name="T63" fmla="*/ 28 h 168"/>
                <a:gd name="T64" fmla="*/ 136 w 165"/>
                <a:gd name="T65" fmla="*/ 28 h 168"/>
                <a:gd name="T66" fmla="*/ 149 w 165"/>
                <a:gd name="T67" fmla="*/ 16 h 168"/>
                <a:gd name="T68" fmla="*/ 153 w 165"/>
                <a:gd name="T69" fmla="*/ 1 h 168"/>
                <a:gd name="T70" fmla="*/ 162 w 165"/>
                <a:gd name="T71" fmla="*/ 9 h 168"/>
                <a:gd name="T72" fmla="*/ 165 w 165"/>
                <a:gd name="T73" fmla="*/ 37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5" h="168">
                  <a:moveTo>
                    <a:pt x="165" y="37"/>
                  </a:moveTo>
                  <a:cubicBezTo>
                    <a:pt x="165" y="43"/>
                    <a:pt x="160" y="40"/>
                    <a:pt x="159" y="45"/>
                  </a:cubicBezTo>
                  <a:cubicBezTo>
                    <a:pt x="158" y="50"/>
                    <a:pt x="159" y="64"/>
                    <a:pt x="159" y="70"/>
                  </a:cubicBezTo>
                  <a:cubicBezTo>
                    <a:pt x="159" y="76"/>
                    <a:pt x="161" y="78"/>
                    <a:pt x="159" y="81"/>
                  </a:cubicBezTo>
                  <a:cubicBezTo>
                    <a:pt x="157" y="84"/>
                    <a:pt x="151" y="84"/>
                    <a:pt x="147" y="85"/>
                  </a:cubicBezTo>
                  <a:cubicBezTo>
                    <a:pt x="143" y="86"/>
                    <a:pt x="133" y="83"/>
                    <a:pt x="133" y="85"/>
                  </a:cubicBezTo>
                  <a:cubicBezTo>
                    <a:pt x="133" y="87"/>
                    <a:pt x="144" y="93"/>
                    <a:pt x="144" y="96"/>
                  </a:cubicBezTo>
                  <a:cubicBezTo>
                    <a:pt x="144" y="99"/>
                    <a:pt x="134" y="99"/>
                    <a:pt x="132" y="103"/>
                  </a:cubicBezTo>
                  <a:cubicBezTo>
                    <a:pt x="130" y="107"/>
                    <a:pt x="133" y="119"/>
                    <a:pt x="130" y="123"/>
                  </a:cubicBezTo>
                  <a:cubicBezTo>
                    <a:pt x="127" y="127"/>
                    <a:pt x="120" y="124"/>
                    <a:pt x="112" y="127"/>
                  </a:cubicBezTo>
                  <a:cubicBezTo>
                    <a:pt x="104" y="130"/>
                    <a:pt x="89" y="133"/>
                    <a:pt x="84" y="138"/>
                  </a:cubicBezTo>
                  <a:cubicBezTo>
                    <a:pt x="79" y="143"/>
                    <a:pt x="86" y="153"/>
                    <a:pt x="84" y="157"/>
                  </a:cubicBezTo>
                  <a:cubicBezTo>
                    <a:pt x="82" y="161"/>
                    <a:pt x="74" y="163"/>
                    <a:pt x="70" y="163"/>
                  </a:cubicBezTo>
                  <a:cubicBezTo>
                    <a:pt x="66" y="163"/>
                    <a:pt x="62" y="159"/>
                    <a:pt x="58" y="160"/>
                  </a:cubicBezTo>
                  <a:cubicBezTo>
                    <a:pt x="54" y="161"/>
                    <a:pt x="56" y="165"/>
                    <a:pt x="48" y="166"/>
                  </a:cubicBezTo>
                  <a:cubicBezTo>
                    <a:pt x="40" y="167"/>
                    <a:pt x="13" y="168"/>
                    <a:pt x="7" y="165"/>
                  </a:cubicBezTo>
                  <a:cubicBezTo>
                    <a:pt x="1" y="162"/>
                    <a:pt x="14" y="154"/>
                    <a:pt x="14" y="149"/>
                  </a:cubicBezTo>
                  <a:cubicBezTo>
                    <a:pt x="14" y="144"/>
                    <a:pt x="11" y="138"/>
                    <a:pt x="10" y="134"/>
                  </a:cubicBezTo>
                  <a:cubicBezTo>
                    <a:pt x="9" y="130"/>
                    <a:pt x="12" y="129"/>
                    <a:pt x="10" y="127"/>
                  </a:cubicBezTo>
                  <a:cubicBezTo>
                    <a:pt x="8" y="125"/>
                    <a:pt x="0" y="126"/>
                    <a:pt x="0" y="120"/>
                  </a:cubicBezTo>
                  <a:cubicBezTo>
                    <a:pt x="0" y="114"/>
                    <a:pt x="5" y="95"/>
                    <a:pt x="7" y="88"/>
                  </a:cubicBezTo>
                  <a:cubicBezTo>
                    <a:pt x="9" y="81"/>
                    <a:pt x="10" y="81"/>
                    <a:pt x="10" y="79"/>
                  </a:cubicBezTo>
                  <a:cubicBezTo>
                    <a:pt x="10" y="77"/>
                    <a:pt x="10" y="76"/>
                    <a:pt x="10" y="73"/>
                  </a:cubicBezTo>
                  <a:cubicBezTo>
                    <a:pt x="10" y="70"/>
                    <a:pt x="6" y="60"/>
                    <a:pt x="9" y="58"/>
                  </a:cubicBezTo>
                  <a:cubicBezTo>
                    <a:pt x="12" y="56"/>
                    <a:pt x="21" y="60"/>
                    <a:pt x="25" y="61"/>
                  </a:cubicBezTo>
                  <a:cubicBezTo>
                    <a:pt x="29" y="62"/>
                    <a:pt x="32" y="68"/>
                    <a:pt x="35" y="67"/>
                  </a:cubicBezTo>
                  <a:cubicBezTo>
                    <a:pt x="38" y="66"/>
                    <a:pt x="42" y="58"/>
                    <a:pt x="46" y="55"/>
                  </a:cubicBezTo>
                  <a:cubicBezTo>
                    <a:pt x="50" y="52"/>
                    <a:pt x="55" y="54"/>
                    <a:pt x="58" y="50"/>
                  </a:cubicBezTo>
                  <a:cubicBezTo>
                    <a:pt x="61" y="46"/>
                    <a:pt x="64" y="33"/>
                    <a:pt x="67" y="28"/>
                  </a:cubicBezTo>
                  <a:cubicBezTo>
                    <a:pt x="70" y="23"/>
                    <a:pt x="75" y="20"/>
                    <a:pt x="79" y="21"/>
                  </a:cubicBezTo>
                  <a:cubicBezTo>
                    <a:pt x="83" y="22"/>
                    <a:pt x="89" y="31"/>
                    <a:pt x="94" y="32"/>
                  </a:cubicBezTo>
                  <a:cubicBezTo>
                    <a:pt x="99" y="33"/>
                    <a:pt x="105" y="29"/>
                    <a:pt x="112" y="28"/>
                  </a:cubicBezTo>
                  <a:cubicBezTo>
                    <a:pt x="119" y="27"/>
                    <a:pt x="130" y="30"/>
                    <a:pt x="136" y="28"/>
                  </a:cubicBezTo>
                  <a:cubicBezTo>
                    <a:pt x="142" y="26"/>
                    <a:pt x="146" y="20"/>
                    <a:pt x="149" y="16"/>
                  </a:cubicBezTo>
                  <a:cubicBezTo>
                    <a:pt x="152" y="12"/>
                    <a:pt x="151" y="2"/>
                    <a:pt x="153" y="1"/>
                  </a:cubicBezTo>
                  <a:cubicBezTo>
                    <a:pt x="155" y="0"/>
                    <a:pt x="161" y="3"/>
                    <a:pt x="162" y="9"/>
                  </a:cubicBezTo>
                  <a:cubicBezTo>
                    <a:pt x="163" y="15"/>
                    <a:pt x="165" y="31"/>
                    <a:pt x="165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5" name="Freeform 106"/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5920518" y="3322097"/>
              <a:ext cx="338547" cy="362823"/>
            </a:xfrm>
            <a:custGeom>
              <a:avLst/>
              <a:gdLst>
                <a:gd name="T0" fmla="*/ 3 w 206"/>
                <a:gd name="T1" fmla="*/ 133 h 224"/>
                <a:gd name="T2" fmla="*/ 6 w 206"/>
                <a:gd name="T3" fmla="*/ 145 h 224"/>
                <a:gd name="T4" fmla="*/ 19 w 206"/>
                <a:gd name="T5" fmla="*/ 150 h 224"/>
                <a:gd name="T6" fmla="*/ 25 w 206"/>
                <a:gd name="T7" fmla="*/ 165 h 224"/>
                <a:gd name="T8" fmla="*/ 28 w 206"/>
                <a:gd name="T9" fmla="*/ 177 h 224"/>
                <a:gd name="T10" fmla="*/ 16 w 206"/>
                <a:gd name="T11" fmla="*/ 178 h 224"/>
                <a:gd name="T12" fmla="*/ 7 w 206"/>
                <a:gd name="T13" fmla="*/ 188 h 224"/>
                <a:gd name="T14" fmla="*/ 7 w 206"/>
                <a:gd name="T15" fmla="*/ 202 h 224"/>
                <a:gd name="T16" fmla="*/ 25 w 206"/>
                <a:gd name="T17" fmla="*/ 199 h 224"/>
                <a:gd name="T18" fmla="*/ 37 w 206"/>
                <a:gd name="T19" fmla="*/ 196 h 224"/>
                <a:gd name="T20" fmla="*/ 55 w 206"/>
                <a:gd name="T21" fmla="*/ 201 h 224"/>
                <a:gd name="T22" fmla="*/ 64 w 206"/>
                <a:gd name="T23" fmla="*/ 190 h 224"/>
                <a:gd name="T24" fmla="*/ 75 w 206"/>
                <a:gd name="T25" fmla="*/ 199 h 224"/>
                <a:gd name="T26" fmla="*/ 88 w 206"/>
                <a:gd name="T27" fmla="*/ 208 h 224"/>
                <a:gd name="T28" fmla="*/ 94 w 206"/>
                <a:gd name="T29" fmla="*/ 222 h 224"/>
                <a:gd name="T30" fmla="*/ 108 w 206"/>
                <a:gd name="T31" fmla="*/ 219 h 224"/>
                <a:gd name="T32" fmla="*/ 143 w 206"/>
                <a:gd name="T33" fmla="*/ 218 h 224"/>
                <a:gd name="T34" fmla="*/ 149 w 206"/>
                <a:gd name="T35" fmla="*/ 206 h 224"/>
                <a:gd name="T36" fmla="*/ 130 w 206"/>
                <a:gd name="T37" fmla="*/ 180 h 224"/>
                <a:gd name="T38" fmla="*/ 123 w 206"/>
                <a:gd name="T39" fmla="*/ 166 h 224"/>
                <a:gd name="T40" fmla="*/ 135 w 206"/>
                <a:gd name="T41" fmla="*/ 161 h 224"/>
                <a:gd name="T42" fmla="*/ 165 w 206"/>
                <a:gd name="T43" fmla="*/ 164 h 224"/>
                <a:gd name="T44" fmla="*/ 165 w 206"/>
                <a:gd name="T45" fmla="*/ 143 h 224"/>
                <a:gd name="T46" fmla="*/ 180 w 206"/>
                <a:gd name="T47" fmla="*/ 130 h 224"/>
                <a:gd name="T48" fmla="*/ 202 w 206"/>
                <a:gd name="T49" fmla="*/ 100 h 224"/>
                <a:gd name="T50" fmla="*/ 204 w 206"/>
                <a:gd name="T51" fmla="*/ 78 h 224"/>
                <a:gd name="T52" fmla="*/ 187 w 206"/>
                <a:gd name="T53" fmla="*/ 66 h 224"/>
                <a:gd name="T54" fmla="*/ 181 w 206"/>
                <a:gd name="T55" fmla="*/ 57 h 224"/>
                <a:gd name="T56" fmla="*/ 180 w 206"/>
                <a:gd name="T57" fmla="*/ 45 h 224"/>
                <a:gd name="T58" fmla="*/ 186 w 206"/>
                <a:gd name="T59" fmla="*/ 30 h 224"/>
                <a:gd name="T60" fmla="*/ 168 w 206"/>
                <a:gd name="T61" fmla="*/ 15 h 224"/>
                <a:gd name="T62" fmla="*/ 165 w 206"/>
                <a:gd name="T63" fmla="*/ 0 h 224"/>
                <a:gd name="T64" fmla="*/ 145 w 206"/>
                <a:gd name="T65" fmla="*/ 16 h 224"/>
                <a:gd name="T66" fmla="*/ 147 w 206"/>
                <a:gd name="T67" fmla="*/ 30 h 224"/>
                <a:gd name="T68" fmla="*/ 147 w 206"/>
                <a:gd name="T69" fmla="*/ 49 h 224"/>
                <a:gd name="T70" fmla="*/ 135 w 206"/>
                <a:gd name="T71" fmla="*/ 51 h 224"/>
                <a:gd name="T72" fmla="*/ 131 w 206"/>
                <a:gd name="T73" fmla="*/ 58 h 224"/>
                <a:gd name="T74" fmla="*/ 121 w 206"/>
                <a:gd name="T75" fmla="*/ 67 h 224"/>
                <a:gd name="T76" fmla="*/ 117 w 206"/>
                <a:gd name="T77" fmla="*/ 88 h 224"/>
                <a:gd name="T78" fmla="*/ 97 w 206"/>
                <a:gd name="T79" fmla="*/ 96 h 224"/>
                <a:gd name="T80" fmla="*/ 76 w 206"/>
                <a:gd name="T81" fmla="*/ 100 h 224"/>
                <a:gd name="T82" fmla="*/ 72 w 206"/>
                <a:gd name="T83" fmla="*/ 117 h 224"/>
                <a:gd name="T84" fmla="*/ 69 w 206"/>
                <a:gd name="T85" fmla="*/ 129 h 224"/>
                <a:gd name="T86" fmla="*/ 58 w 206"/>
                <a:gd name="T87" fmla="*/ 130 h 224"/>
                <a:gd name="T88" fmla="*/ 48 w 206"/>
                <a:gd name="T89" fmla="*/ 129 h 224"/>
                <a:gd name="T90" fmla="*/ 27 w 206"/>
                <a:gd name="T91" fmla="*/ 133 h 224"/>
                <a:gd name="T92" fmla="*/ 3 w 206"/>
                <a:gd name="T93" fmla="*/ 133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6" h="224">
                  <a:moveTo>
                    <a:pt x="3" y="133"/>
                  </a:moveTo>
                  <a:cubicBezTo>
                    <a:pt x="0" y="135"/>
                    <a:pt x="3" y="142"/>
                    <a:pt x="6" y="145"/>
                  </a:cubicBezTo>
                  <a:cubicBezTo>
                    <a:pt x="9" y="148"/>
                    <a:pt x="16" y="147"/>
                    <a:pt x="19" y="150"/>
                  </a:cubicBezTo>
                  <a:cubicBezTo>
                    <a:pt x="22" y="153"/>
                    <a:pt x="24" y="161"/>
                    <a:pt x="25" y="165"/>
                  </a:cubicBezTo>
                  <a:cubicBezTo>
                    <a:pt x="26" y="169"/>
                    <a:pt x="29" y="175"/>
                    <a:pt x="28" y="177"/>
                  </a:cubicBezTo>
                  <a:cubicBezTo>
                    <a:pt x="27" y="179"/>
                    <a:pt x="19" y="176"/>
                    <a:pt x="16" y="178"/>
                  </a:cubicBezTo>
                  <a:cubicBezTo>
                    <a:pt x="13" y="180"/>
                    <a:pt x="8" y="184"/>
                    <a:pt x="7" y="188"/>
                  </a:cubicBezTo>
                  <a:cubicBezTo>
                    <a:pt x="6" y="192"/>
                    <a:pt x="4" y="200"/>
                    <a:pt x="7" y="202"/>
                  </a:cubicBezTo>
                  <a:cubicBezTo>
                    <a:pt x="10" y="204"/>
                    <a:pt x="20" y="200"/>
                    <a:pt x="25" y="199"/>
                  </a:cubicBezTo>
                  <a:cubicBezTo>
                    <a:pt x="30" y="198"/>
                    <a:pt x="32" y="196"/>
                    <a:pt x="37" y="196"/>
                  </a:cubicBezTo>
                  <a:cubicBezTo>
                    <a:pt x="42" y="196"/>
                    <a:pt x="51" y="202"/>
                    <a:pt x="55" y="201"/>
                  </a:cubicBezTo>
                  <a:cubicBezTo>
                    <a:pt x="59" y="200"/>
                    <a:pt x="61" y="190"/>
                    <a:pt x="64" y="190"/>
                  </a:cubicBezTo>
                  <a:cubicBezTo>
                    <a:pt x="67" y="190"/>
                    <a:pt x="71" y="196"/>
                    <a:pt x="75" y="199"/>
                  </a:cubicBezTo>
                  <a:cubicBezTo>
                    <a:pt x="79" y="202"/>
                    <a:pt x="85" y="204"/>
                    <a:pt x="88" y="208"/>
                  </a:cubicBezTo>
                  <a:cubicBezTo>
                    <a:pt x="91" y="212"/>
                    <a:pt x="91" y="220"/>
                    <a:pt x="94" y="222"/>
                  </a:cubicBezTo>
                  <a:cubicBezTo>
                    <a:pt x="97" y="224"/>
                    <a:pt x="100" y="220"/>
                    <a:pt x="108" y="219"/>
                  </a:cubicBezTo>
                  <a:cubicBezTo>
                    <a:pt x="116" y="218"/>
                    <a:pt x="136" y="220"/>
                    <a:pt x="143" y="218"/>
                  </a:cubicBezTo>
                  <a:cubicBezTo>
                    <a:pt x="150" y="216"/>
                    <a:pt x="151" y="212"/>
                    <a:pt x="149" y="206"/>
                  </a:cubicBezTo>
                  <a:cubicBezTo>
                    <a:pt x="147" y="200"/>
                    <a:pt x="134" y="187"/>
                    <a:pt x="130" y="180"/>
                  </a:cubicBezTo>
                  <a:cubicBezTo>
                    <a:pt x="126" y="173"/>
                    <a:pt x="122" y="169"/>
                    <a:pt x="123" y="166"/>
                  </a:cubicBezTo>
                  <a:cubicBezTo>
                    <a:pt x="124" y="163"/>
                    <a:pt x="128" y="161"/>
                    <a:pt x="135" y="161"/>
                  </a:cubicBezTo>
                  <a:cubicBezTo>
                    <a:pt x="142" y="161"/>
                    <a:pt x="160" y="167"/>
                    <a:pt x="165" y="164"/>
                  </a:cubicBezTo>
                  <a:cubicBezTo>
                    <a:pt x="170" y="161"/>
                    <a:pt x="163" y="149"/>
                    <a:pt x="165" y="143"/>
                  </a:cubicBezTo>
                  <a:cubicBezTo>
                    <a:pt x="167" y="137"/>
                    <a:pt x="174" y="137"/>
                    <a:pt x="180" y="130"/>
                  </a:cubicBezTo>
                  <a:cubicBezTo>
                    <a:pt x="186" y="123"/>
                    <a:pt x="198" y="109"/>
                    <a:pt x="202" y="100"/>
                  </a:cubicBezTo>
                  <a:cubicBezTo>
                    <a:pt x="206" y="91"/>
                    <a:pt x="206" y="84"/>
                    <a:pt x="204" y="78"/>
                  </a:cubicBezTo>
                  <a:cubicBezTo>
                    <a:pt x="202" y="72"/>
                    <a:pt x="191" y="69"/>
                    <a:pt x="187" y="66"/>
                  </a:cubicBezTo>
                  <a:cubicBezTo>
                    <a:pt x="183" y="63"/>
                    <a:pt x="182" y="60"/>
                    <a:pt x="181" y="57"/>
                  </a:cubicBezTo>
                  <a:cubicBezTo>
                    <a:pt x="180" y="54"/>
                    <a:pt x="179" y="49"/>
                    <a:pt x="180" y="45"/>
                  </a:cubicBezTo>
                  <a:cubicBezTo>
                    <a:pt x="181" y="41"/>
                    <a:pt x="188" y="35"/>
                    <a:pt x="186" y="30"/>
                  </a:cubicBezTo>
                  <a:cubicBezTo>
                    <a:pt x="184" y="25"/>
                    <a:pt x="171" y="20"/>
                    <a:pt x="168" y="15"/>
                  </a:cubicBezTo>
                  <a:cubicBezTo>
                    <a:pt x="165" y="10"/>
                    <a:pt x="169" y="0"/>
                    <a:pt x="165" y="0"/>
                  </a:cubicBezTo>
                  <a:cubicBezTo>
                    <a:pt x="161" y="0"/>
                    <a:pt x="148" y="11"/>
                    <a:pt x="145" y="16"/>
                  </a:cubicBezTo>
                  <a:cubicBezTo>
                    <a:pt x="142" y="21"/>
                    <a:pt x="147" y="25"/>
                    <a:pt x="147" y="30"/>
                  </a:cubicBezTo>
                  <a:cubicBezTo>
                    <a:pt x="147" y="35"/>
                    <a:pt x="149" y="46"/>
                    <a:pt x="147" y="49"/>
                  </a:cubicBezTo>
                  <a:cubicBezTo>
                    <a:pt x="145" y="52"/>
                    <a:pt x="138" y="50"/>
                    <a:pt x="135" y="51"/>
                  </a:cubicBezTo>
                  <a:cubicBezTo>
                    <a:pt x="132" y="52"/>
                    <a:pt x="133" y="55"/>
                    <a:pt x="131" y="58"/>
                  </a:cubicBezTo>
                  <a:cubicBezTo>
                    <a:pt x="129" y="61"/>
                    <a:pt x="123" y="62"/>
                    <a:pt x="121" y="67"/>
                  </a:cubicBezTo>
                  <a:cubicBezTo>
                    <a:pt x="119" y="72"/>
                    <a:pt x="121" y="83"/>
                    <a:pt x="117" y="88"/>
                  </a:cubicBezTo>
                  <a:cubicBezTo>
                    <a:pt x="113" y="93"/>
                    <a:pt x="104" y="94"/>
                    <a:pt x="97" y="96"/>
                  </a:cubicBezTo>
                  <a:cubicBezTo>
                    <a:pt x="90" y="98"/>
                    <a:pt x="80" y="97"/>
                    <a:pt x="76" y="100"/>
                  </a:cubicBezTo>
                  <a:cubicBezTo>
                    <a:pt x="72" y="103"/>
                    <a:pt x="73" y="112"/>
                    <a:pt x="72" y="117"/>
                  </a:cubicBezTo>
                  <a:cubicBezTo>
                    <a:pt x="71" y="122"/>
                    <a:pt x="71" y="127"/>
                    <a:pt x="69" y="129"/>
                  </a:cubicBezTo>
                  <a:cubicBezTo>
                    <a:pt x="67" y="131"/>
                    <a:pt x="61" y="130"/>
                    <a:pt x="58" y="130"/>
                  </a:cubicBezTo>
                  <a:cubicBezTo>
                    <a:pt x="55" y="130"/>
                    <a:pt x="53" y="129"/>
                    <a:pt x="48" y="129"/>
                  </a:cubicBezTo>
                  <a:cubicBezTo>
                    <a:pt x="43" y="129"/>
                    <a:pt x="33" y="132"/>
                    <a:pt x="27" y="133"/>
                  </a:cubicBezTo>
                  <a:cubicBezTo>
                    <a:pt x="21" y="134"/>
                    <a:pt x="6" y="131"/>
                    <a:pt x="3" y="13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6" name="Freeform 107"/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4676480" y="2925259"/>
              <a:ext cx="163604" cy="98805"/>
            </a:xfrm>
            <a:custGeom>
              <a:avLst/>
              <a:gdLst>
                <a:gd name="T0" fmla="*/ 12 w 100"/>
                <a:gd name="T1" fmla="*/ 37 h 61"/>
                <a:gd name="T2" fmla="*/ 20 w 100"/>
                <a:gd name="T3" fmla="*/ 31 h 61"/>
                <a:gd name="T4" fmla="*/ 30 w 100"/>
                <a:gd name="T5" fmla="*/ 29 h 61"/>
                <a:gd name="T6" fmla="*/ 49 w 100"/>
                <a:gd name="T7" fmla="*/ 7 h 61"/>
                <a:gd name="T8" fmla="*/ 73 w 100"/>
                <a:gd name="T9" fmla="*/ 0 h 61"/>
                <a:gd name="T10" fmla="*/ 92 w 100"/>
                <a:gd name="T11" fmla="*/ 6 h 61"/>
                <a:gd name="T12" fmla="*/ 98 w 100"/>
                <a:gd name="T13" fmla="*/ 21 h 61"/>
                <a:gd name="T14" fmla="*/ 97 w 100"/>
                <a:gd name="T15" fmla="*/ 33 h 61"/>
                <a:gd name="T16" fmla="*/ 91 w 100"/>
                <a:gd name="T17" fmla="*/ 34 h 61"/>
                <a:gd name="T18" fmla="*/ 71 w 100"/>
                <a:gd name="T19" fmla="*/ 52 h 61"/>
                <a:gd name="T20" fmla="*/ 61 w 100"/>
                <a:gd name="T21" fmla="*/ 60 h 61"/>
                <a:gd name="T22" fmla="*/ 34 w 100"/>
                <a:gd name="T23" fmla="*/ 51 h 61"/>
                <a:gd name="T24" fmla="*/ 16 w 100"/>
                <a:gd name="T25" fmla="*/ 51 h 61"/>
                <a:gd name="T26" fmla="*/ 7 w 100"/>
                <a:gd name="T27" fmla="*/ 51 h 61"/>
                <a:gd name="T28" fmla="*/ 2 w 100"/>
                <a:gd name="T29" fmla="*/ 49 h 61"/>
                <a:gd name="T30" fmla="*/ 12 w 100"/>
                <a:gd name="T31" fmla="*/ 37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0" h="61">
                  <a:moveTo>
                    <a:pt x="12" y="37"/>
                  </a:moveTo>
                  <a:cubicBezTo>
                    <a:pt x="10" y="34"/>
                    <a:pt x="17" y="32"/>
                    <a:pt x="20" y="31"/>
                  </a:cubicBezTo>
                  <a:cubicBezTo>
                    <a:pt x="23" y="30"/>
                    <a:pt x="25" y="33"/>
                    <a:pt x="30" y="29"/>
                  </a:cubicBezTo>
                  <a:cubicBezTo>
                    <a:pt x="35" y="25"/>
                    <a:pt x="42" y="12"/>
                    <a:pt x="49" y="7"/>
                  </a:cubicBezTo>
                  <a:cubicBezTo>
                    <a:pt x="55" y="2"/>
                    <a:pt x="65" y="2"/>
                    <a:pt x="73" y="0"/>
                  </a:cubicBezTo>
                  <a:cubicBezTo>
                    <a:pt x="80" y="1"/>
                    <a:pt x="85" y="4"/>
                    <a:pt x="92" y="6"/>
                  </a:cubicBezTo>
                  <a:cubicBezTo>
                    <a:pt x="95" y="11"/>
                    <a:pt x="95" y="16"/>
                    <a:pt x="98" y="21"/>
                  </a:cubicBezTo>
                  <a:cubicBezTo>
                    <a:pt x="98" y="25"/>
                    <a:pt x="99" y="29"/>
                    <a:pt x="97" y="33"/>
                  </a:cubicBezTo>
                  <a:cubicBezTo>
                    <a:pt x="96" y="35"/>
                    <a:pt x="92" y="32"/>
                    <a:pt x="91" y="34"/>
                  </a:cubicBezTo>
                  <a:cubicBezTo>
                    <a:pt x="80" y="50"/>
                    <a:pt x="100" y="49"/>
                    <a:pt x="71" y="52"/>
                  </a:cubicBezTo>
                  <a:cubicBezTo>
                    <a:pt x="70" y="59"/>
                    <a:pt x="67" y="57"/>
                    <a:pt x="61" y="60"/>
                  </a:cubicBezTo>
                  <a:cubicBezTo>
                    <a:pt x="53" y="61"/>
                    <a:pt x="44" y="52"/>
                    <a:pt x="34" y="51"/>
                  </a:cubicBezTo>
                  <a:cubicBezTo>
                    <a:pt x="27" y="50"/>
                    <a:pt x="20" y="51"/>
                    <a:pt x="16" y="51"/>
                  </a:cubicBezTo>
                  <a:cubicBezTo>
                    <a:pt x="12" y="51"/>
                    <a:pt x="9" y="51"/>
                    <a:pt x="7" y="51"/>
                  </a:cubicBezTo>
                  <a:cubicBezTo>
                    <a:pt x="7" y="47"/>
                    <a:pt x="0" y="53"/>
                    <a:pt x="2" y="49"/>
                  </a:cubicBezTo>
                  <a:cubicBezTo>
                    <a:pt x="4" y="45"/>
                    <a:pt x="12" y="44"/>
                    <a:pt x="12" y="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7" name="Freeform 108"/>
            <p:cNvSpPr>
              <a:spLocks/>
            </p:cNvSpPr>
            <p:nvPr>
              <p:custDataLst>
                <p:tags r:id="rId83"/>
              </p:custDataLst>
            </p:nvPr>
          </p:nvSpPr>
          <p:spPr bwMode="gray">
            <a:xfrm>
              <a:off x="4739655" y="3004628"/>
              <a:ext cx="80992" cy="50213"/>
            </a:xfrm>
            <a:custGeom>
              <a:avLst/>
              <a:gdLst>
                <a:gd name="T0" fmla="*/ 46 w 49"/>
                <a:gd name="T1" fmla="*/ 2 h 31"/>
                <a:gd name="T2" fmla="*/ 25 w 49"/>
                <a:gd name="T3" fmla="*/ 12 h 31"/>
                <a:gd name="T4" fmla="*/ 2 w 49"/>
                <a:gd name="T5" fmla="*/ 9 h 31"/>
                <a:gd name="T6" fmla="*/ 17 w 49"/>
                <a:gd name="T7" fmla="*/ 27 h 31"/>
                <a:gd name="T8" fmla="*/ 32 w 49"/>
                <a:gd name="T9" fmla="*/ 27 h 31"/>
                <a:gd name="T10" fmla="*/ 44 w 49"/>
                <a:gd name="T11" fmla="*/ 15 h 31"/>
                <a:gd name="T12" fmla="*/ 46 w 49"/>
                <a:gd name="T13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9" h="31">
                  <a:moveTo>
                    <a:pt x="46" y="2"/>
                  </a:moveTo>
                  <a:cubicBezTo>
                    <a:pt x="43" y="0"/>
                    <a:pt x="32" y="11"/>
                    <a:pt x="25" y="12"/>
                  </a:cubicBezTo>
                  <a:cubicBezTo>
                    <a:pt x="18" y="13"/>
                    <a:pt x="3" y="7"/>
                    <a:pt x="2" y="9"/>
                  </a:cubicBezTo>
                  <a:cubicBezTo>
                    <a:pt x="0" y="19"/>
                    <a:pt x="6" y="26"/>
                    <a:pt x="17" y="27"/>
                  </a:cubicBezTo>
                  <a:cubicBezTo>
                    <a:pt x="22" y="31"/>
                    <a:pt x="25" y="26"/>
                    <a:pt x="32" y="27"/>
                  </a:cubicBezTo>
                  <a:cubicBezTo>
                    <a:pt x="36" y="22"/>
                    <a:pt x="39" y="18"/>
                    <a:pt x="44" y="15"/>
                  </a:cubicBezTo>
                  <a:cubicBezTo>
                    <a:pt x="49" y="8"/>
                    <a:pt x="44" y="16"/>
                    <a:pt x="46" y="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8" name="Freeform 109"/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5261243" y="3398225"/>
              <a:ext cx="50216" cy="90706"/>
            </a:xfrm>
            <a:custGeom>
              <a:avLst/>
              <a:gdLst>
                <a:gd name="T0" fmla="*/ 29 w 30"/>
                <a:gd name="T1" fmla="*/ 0 h 56"/>
                <a:gd name="T2" fmla="*/ 15 w 30"/>
                <a:gd name="T3" fmla="*/ 15 h 56"/>
                <a:gd name="T4" fmla="*/ 3 w 30"/>
                <a:gd name="T5" fmla="*/ 35 h 56"/>
                <a:gd name="T6" fmla="*/ 2 w 30"/>
                <a:gd name="T7" fmla="*/ 56 h 56"/>
                <a:gd name="T8" fmla="*/ 20 w 30"/>
                <a:gd name="T9" fmla="*/ 30 h 56"/>
                <a:gd name="T10" fmla="*/ 29 w 30"/>
                <a:gd name="T11" fmla="*/ 17 h 56"/>
                <a:gd name="T12" fmla="*/ 29 w 30"/>
                <a:gd name="T13" fmla="*/ 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56">
                  <a:moveTo>
                    <a:pt x="29" y="0"/>
                  </a:moveTo>
                  <a:cubicBezTo>
                    <a:pt x="17" y="3"/>
                    <a:pt x="20" y="6"/>
                    <a:pt x="15" y="15"/>
                  </a:cubicBezTo>
                  <a:cubicBezTo>
                    <a:pt x="13" y="24"/>
                    <a:pt x="12" y="32"/>
                    <a:pt x="3" y="35"/>
                  </a:cubicBezTo>
                  <a:cubicBezTo>
                    <a:pt x="1" y="45"/>
                    <a:pt x="0" y="44"/>
                    <a:pt x="2" y="56"/>
                  </a:cubicBezTo>
                  <a:cubicBezTo>
                    <a:pt x="17" y="52"/>
                    <a:pt x="8" y="37"/>
                    <a:pt x="20" y="30"/>
                  </a:cubicBezTo>
                  <a:cubicBezTo>
                    <a:pt x="23" y="26"/>
                    <a:pt x="26" y="21"/>
                    <a:pt x="29" y="17"/>
                  </a:cubicBezTo>
                  <a:cubicBezTo>
                    <a:pt x="30" y="11"/>
                    <a:pt x="29" y="6"/>
                    <a:pt x="2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79" name="Freeform 110"/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5245044" y="3475973"/>
              <a:ext cx="51835" cy="50213"/>
            </a:xfrm>
            <a:custGeom>
              <a:avLst/>
              <a:gdLst>
                <a:gd name="T0" fmla="*/ 22 w 31"/>
                <a:gd name="T1" fmla="*/ 0 h 31"/>
                <a:gd name="T2" fmla="*/ 12 w 31"/>
                <a:gd name="T3" fmla="*/ 29 h 31"/>
                <a:gd name="T4" fmla="*/ 15 w 31"/>
                <a:gd name="T5" fmla="*/ 2 h 31"/>
                <a:gd name="T6" fmla="*/ 22 w 31"/>
                <a:gd name="T7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31">
                  <a:moveTo>
                    <a:pt x="22" y="0"/>
                  </a:moveTo>
                  <a:cubicBezTo>
                    <a:pt x="24" y="18"/>
                    <a:pt x="31" y="31"/>
                    <a:pt x="12" y="29"/>
                  </a:cubicBezTo>
                  <a:cubicBezTo>
                    <a:pt x="7" y="20"/>
                    <a:pt x="0" y="4"/>
                    <a:pt x="15" y="2"/>
                  </a:cubicBezTo>
                  <a:cubicBezTo>
                    <a:pt x="23" y="3"/>
                    <a:pt x="22" y="5"/>
                    <a:pt x="2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0" name="Freeform 111"/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645703" y="4230774"/>
              <a:ext cx="66414" cy="35634"/>
            </a:xfrm>
            <a:custGeom>
              <a:avLst/>
              <a:gdLst>
                <a:gd name="T0" fmla="*/ 10 w 40"/>
                <a:gd name="T1" fmla="*/ 5 h 22"/>
                <a:gd name="T2" fmla="*/ 2 w 40"/>
                <a:gd name="T3" fmla="*/ 22 h 22"/>
                <a:gd name="T4" fmla="*/ 35 w 40"/>
                <a:gd name="T5" fmla="*/ 14 h 22"/>
                <a:gd name="T6" fmla="*/ 29 w 40"/>
                <a:gd name="T7" fmla="*/ 1 h 22"/>
                <a:gd name="T8" fmla="*/ 10 w 40"/>
                <a:gd name="T9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2">
                  <a:moveTo>
                    <a:pt x="10" y="5"/>
                  </a:moveTo>
                  <a:cubicBezTo>
                    <a:pt x="6" y="12"/>
                    <a:pt x="0" y="13"/>
                    <a:pt x="2" y="22"/>
                  </a:cubicBezTo>
                  <a:cubicBezTo>
                    <a:pt x="11" y="21"/>
                    <a:pt x="28" y="19"/>
                    <a:pt x="35" y="14"/>
                  </a:cubicBezTo>
                  <a:cubicBezTo>
                    <a:pt x="40" y="11"/>
                    <a:pt x="33" y="2"/>
                    <a:pt x="29" y="1"/>
                  </a:cubicBezTo>
                  <a:cubicBezTo>
                    <a:pt x="25" y="0"/>
                    <a:pt x="14" y="4"/>
                    <a:pt x="10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1" name="Freeform 112"/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930795" y="1888623"/>
              <a:ext cx="260795" cy="579869"/>
            </a:xfrm>
            <a:custGeom>
              <a:avLst/>
              <a:gdLst>
                <a:gd name="T0" fmla="*/ 123 w 158"/>
                <a:gd name="T1" fmla="*/ 16 h 358"/>
                <a:gd name="T2" fmla="*/ 117 w 158"/>
                <a:gd name="T3" fmla="*/ 41 h 358"/>
                <a:gd name="T4" fmla="*/ 111 w 158"/>
                <a:gd name="T5" fmla="*/ 49 h 358"/>
                <a:gd name="T6" fmla="*/ 129 w 158"/>
                <a:gd name="T7" fmla="*/ 92 h 358"/>
                <a:gd name="T8" fmla="*/ 129 w 158"/>
                <a:gd name="T9" fmla="*/ 131 h 358"/>
                <a:gd name="T10" fmla="*/ 132 w 158"/>
                <a:gd name="T11" fmla="*/ 154 h 358"/>
                <a:gd name="T12" fmla="*/ 141 w 158"/>
                <a:gd name="T13" fmla="*/ 188 h 358"/>
                <a:gd name="T14" fmla="*/ 143 w 158"/>
                <a:gd name="T15" fmla="*/ 256 h 358"/>
                <a:gd name="T16" fmla="*/ 152 w 158"/>
                <a:gd name="T17" fmla="*/ 271 h 358"/>
                <a:gd name="T18" fmla="*/ 153 w 158"/>
                <a:gd name="T19" fmla="*/ 298 h 358"/>
                <a:gd name="T20" fmla="*/ 140 w 158"/>
                <a:gd name="T21" fmla="*/ 308 h 358"/>
                <a:gd name="T22" fmla="*/ 140 w 158"/>
                <a:gd name="T23" fmla="*/ 323 h 358"/>
                <a:gd name="T24" fmla="*/ 129 w 158"/>
                <a:gd name="T25" fmla="*/ 331 h 358"/>
                <a:gd name="T26" fmla="*/ 111 w 158"/>
                <a:gd name="T27" fmla="*/ 329 h 358"/>
                <a:gd name="T28" fmla="*/ 104 w 158"/>
                <a:gd name="T29" fmla="*/ 346 h 358"/>
                <a:gd name="T30" fmla="*/ 71 w 158"/>
                <a:gd name="T31" fmla="*/ 349 h 358"/>
                <a:gd name="T32" fmla="*/ 54 w 158"/>
                <a:gd name="T33" fmla="*/ 353 h 358"/>
                <a:gd name="T34" fmla="*/ 41 w 158"/>
                <a:gd name="T35" fmla="*/ 358 h 358"/>
                <a:gd name="T36" fmla="*/ 12 w 158"/>
                <a:gd name="T37" fmla="*/ 334 h 358"/>
                <a:gd name="T38" fmla="*/ 5 w 158"/>
                <a:gd name="T39" fmla="*/ 265 h 358"/>
                <a:gd name="T40" fmla="*/ 27 w 158"/>
                <a:gd name="T41" fmla="*/ 247 h 358"/>
                <a:gd name="T42" fmla="*/ 39 w 158"/>
                <a:gd name="T43" fmla="*/ 221 h 358"/>
                <a:gd name="T44" fmla="*/ 53 w 158"/>
                <a:gd name="T45" fmla="*/ 211 h 358"/>
                <a:gd name="T46" fmla="*/ 47 w 158"/>
                <a:gd name="T47" fmla="*/ 175 h 358"/>
                <a:gd name="T48" fmla="*/ 50 w 158"/>
                <a:gd name="T49" fmla="*/ 116 h 358"/>
                <a:gd name="T50" fmla="*/ 42 w 158"/>
                <a:gd name="T51" fmla="*/ 88 h 358"/>
                <a:gd name="T52" fmla="*/ 36 w 158"/>
                <a:gd name="T53" fmla="*/ 76 h 358"/>
                <a:gd name="T54" fmla="*/ 33 w 158"/>
                <a:gd name="T55" fmla="*/ 71 h 358"/>
                <a:gd name="T56" fmla="*/ 24 w 158"/>
                <a:gd name="T57" fmla="*/ 62 h 358"/>
                <a:gd name="T58" fmla="*/ 35 w 158"/>
                <a:gd name="T59" fmla="*/ 55 h 358"/>
                <a:gd name="T60" fmla="*/ 51 w 158"/>
                <a:gd name="T61" fmla="*/ 55 h 358"/>
                <a:gd name="T62" fmla="*/ 66 w 158"/>
                <a:gd name="T63" fmla="*/ 64 h 358"/>
                <a:gd name="T64" fmla="*/ 75 w 158"/>
                <a:gd name="T65" fmla="*/ 38 h 358"/>
                <a:gd name="T66" fmla="*/ 74 w 158"/>
                <a:gd name="T67" fmla="*/ 25 h 358"/>
                <a:gd name="T68" fmla="*/ 77 w 158"/>
                <a:gd name="T69" fmla="*/ 13 h 358"/>
                <a:gd name="T70" fmla="*/ 98 w 158"/>
                <a:gd name="T71" fmla="*/ 10 h 358"/>
                <a:gd name="T72" fmla="*/ 123 w 158"/>
                <a:gd name="T73" fmla="*/ 16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58" h="358">
                  <a:moveTo>
                    <a:pt x="123" y="16"/>
                  </a:moveTo>
                  <a:cubicBezTo>
                    <a:pt x="122" y="24"/>
                    <a:pt x="121" y="33"/>
                    <a:pt x="117" y="41"/>
                  </a:cubicBezTo>
                  <a:cubicBezTo>
                    <a:pt x="116" y="44"/>
                    <a:pt x="111" y="46"/>
                    <a:pt x="111" y="49"/>
                  </a:cubicBezTo>
                  <a:cubicBezTo>
                    <a:pt x="109" y="74"/>
                    <a:pt x="119" y="75"/>
                    <a:pt x="129" y="92"/>
                  </a:cubicBezTo>
                  <a:cubicBezTo>
                    <a:pt x="131" y="105"/>
                    <a:pt x="135" y="119"/>
                    <a:pt x="129" y="131"/>
                  </a:cubicBezTo>
                  <a:cubicBezTo>
                    <a:pt x="131" y="138"/>
                    <a:pt x="130" y="147"/>
                    <a:pt x="132" y="154"/>
                  </a:cubicBezTo>
                  <a:cubicBezTo>
                    <a:pt x="133" y="167"/>
                    <a:pt x="140" y="175"/>
                    <a:pt x="141" y="188"/>
                  </a:cubicBezTo>
                  <a:cubicBezTo>
                    <a:pt x="141" y="211"/>
                    <a:pt x="134" y="229"/>
                    <a:pt x="143" y="256"/>
                  </a:cubicBezTo>
                  <a:cubicBezTo>
                    <a:pt x="146" y="262"/>
                    <a:pt x="149" y="263"/>
                    <a:pt x="152" y="271"/>
                  </a:cubicBezTo>
                  <a:cubicBezTo>
                    <a:pt x="153" y="280"/>
                    <a:pt x="158" y="290"/>
                    <a:pt x="153" y="298"/>
                  </a:cubicBezTo>
                  <a:cubicBezTo>
                    <a:pt x="152" y="305"/>
                    <a:pt x="145" y="304"/>
                    <a:pt x="140" y="308"/>
                  </a:cubicBezTo>
                  <a:cubicBezTo>
                    <a:pt x="137" y="311"/>
                    <a:pt x="142" y="319"/>
                    <a:pt x="140" y="323"/>
                  </a:cubicBezTo>
                  <a:cubicBezTo>
                    <a:pt x="138" y="327"/>
                    <a:pt x="134" y="330"/>
                    <a:pt x="129" y="331"/>
                  </a:cubicBezTo>
                  <a:cubicBezTo>
                    <a:pt x="126" y="334"/>
                    <a:pt x="111" y="329"/>
                    <a:pt x="111" y="329"/>
                  </a:cubicBezTo>
                  <a:cubicBezTo>
                    <a:pt x="109" y="337"/>
                    <a:pt x="113" y="345"/>
                    <a:pt x="104" y="346"/>
                  </a:cubicBezTo>
                  <a:cubicBezTo>
                    <a:pt x="93" y="347"/>
                    <a:pt x="71" y="349"/>
                    <a:pt x="71" y="349"/>
                  </a:cubicBezTo>
                  <a:cubicBezTo>
                    <a:pt x="65" y="350"/>
                    <a:pt x="60" y="352"/>
                    <a:pt x="54" y="353"/>
                  </a:cubicBezTo>
                  <a:cubicBezTo>
                    <a:pt x="50" y="355"/>
                    <a:pt x="45" y="356"/>
                    <a:pt x="41" y="358"/>
                  </a:cubicBezTo>
                  <a:cubicBezTo>
                    <a:pt x="29" y="353"/>
                    <a:pt x="22" y="342"/>
                    <a:pt x="12" y="334"/>
                  </a:cubicBezTo>
                  <a:cubicBezTo>
                    <a:pt x="0" y="311"/>
                    <a:pt x="18" y="287"/>
                    <a:pt x="5" y="265"/>
                  </a:cubicBezTo>
                  <a:cubicBezTo>
                    <a:pt x="7" y="254"/>
                    <a:pt x="20" y="254"/>
                    <a:pt x="27" y="247"/>
                  </a:cubicBezTo>
                  <a:cubicBezTo>
                    <a:pt x="32" y="235"/>
                    <a:pt x="29" y="228"/>
                    <a:pt x="39" y="221"/>
                  </a:cubicBezTo>
                  <a:cubicBezTo>
                    <a:pt x="44" y="212"/>
                    <a:pt x="41" y="213"/>
                    <a:pt x="53" y="211"/>
                  </a:cubicBezTo>
                  <a:cubicBezTo>
                    <a:pt x="59" y="201"/>
                    <a:pt x="56" y="182"/>
                    <a:pt x="47" y="175"/>
                  </a:cubicBezTo>
                  <a:cubicBezTo>
                    <a:pt x="46" y="159"/>
                    <a:pt x="51" y="130"/>
                    <a:pt x="50" y="116"/>
                  </a:cubicBezTo>
                  <a:cubicBezTo>
                    <a:pt x="49" y="102"/>
                    <a:pt x="44" y="95"/>
                    <a:pt x="42" y="88"/>
                  </a:cubicBezTo>
                  <a:cubicBezTo>
                    <a:pt x="40" y="81"/>
                    <a:pt x="37" y="79"/>
                    <a:pt x="36" y="76"/>
                  </a:cubicBezTo>
                  <a:cubicBezTo>
                    <a:pt x="35" y="73"/>
                    <a:pt x="35" y="73"/>
                    <a:pt x="33" y="71"/>
                  </a:cubicBezTo>
                  <a:cubicBezTo>
                    <a:pt x="31" y="69"/>
                    <a:pt x="24" y="65"/>
                    <a:pt x="24" y="62"/>
                  </a:cubicBezTo>
                  <a:cubicBezTo>
                    <a:pt x="24" y="59"/>
                    <a:pt x="31" y="56"/>
                    <a:pt x="35" y="55"/>
                  </a:cubicBezTo>
                  <a:cubicBezTo>
                    <a:pt x="39" y="54"/>
                    <a:pt x="46" y="54"/>
                    <a:pt x="51" y="55"/>
                  </a:cubicBezTo>
                  <a:cubicBezTo>
                    <a:pt x="58" y="52"/>
                    <a:pt x="62" y="67"/>
                    <a:pt x="66" y="64"/>
                  </a:cubicBezTo>
                  <a:cubicBezTo>
                    <a:pt x="70" y="61"/>
                    <a:pt x="74" y="45"/>
                    <a:pt x="75" y="38"/>
                  </a:cubicBezTo>
                  <a:cubicBezTo>
                    <a:pt x="76" y="31"/>
                    <a:pt x="74" y="29"/>
                    <a:pt x="74" y="25"/>
                  </a:cubicBezTo>
                  <a:cubicBezTo>
                    <a:pt x="74" y="21"/>
                    <a:pt x="73" y="15"/>
                    <a:pt x="77" y="13"/>
                  </a:cubicBezTo>
                  <a:cubicBezTo>
                    <a:pt x="84" y="11"/>
                    <a:pt x="91" y="11"/>
                    <a:pt x="98" y="10"/>
                  </a:cubicBezTo>
                  <a:cubicBezTo>
                    <a:pt x="112" y="0"/>
                    <a:pt x="112" y="16"/>
                    <a:pt x="123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2" name="Freeform 115"/>
            <p:cNvSpPr>
              <a:spLocks/>
            </p:cNvSpPr>
            <p:nvPr>
              <p:custDataLst>
                <p:tags r:id="rId88"/>
              </p:custDataLst>
            </p:nvPr>
          </p:nvSpPr>
          <p:spPr bwMode="gray">
            <a:xfrm>
              <a:off x="4706840" y="1967994"/>
              <a:ext cx="308187" cy="694107"/>
            </a:xfrm>
            <a:custGeom>
              <a:avLst/>
              <a:gdLst/>
              <a:ahLst/>
              <a:cxnLst/>
              <a:rect l="l" t="t" r="r" b="b"/>
              <a:pathLst>
                <a:path w="302034" h="680289">
                  <a:moveTo>
                    <a:pt x="184297" y="582611"/>
                  </a:moveTo>
                  <a:lnTo>
                    <a:pt x="189135" y="586183"/>
                  </a:lnTo>
                  <a:lnTo>
                    <a:pt x="184297" y="592136"/>
                  </a:lnTo>
                  <a:cubicBezTo>
                    <a:pt x="174620" y="598486"/>
                    <a:pt x="171394" y="608011"/>
                    <a:pt x="169782" y="619124"/>
                  </a:cubicBezTo>
                  <a:cubicBezTo>
                    <a:pt x="158492" y="642936"/>
                    <a:pt x="156879" y="652461"/>
                    <a:pt x="155266" y="606424"/>
                  </a:cubicBezTo>
                  <a:cubicBezTo>
                    <a:pt x="158492" y="584199"/>
                    <a:pt x="160105" y="585786"/>
                    <a:pt x="184297" y="582611"/>
                  </a:cubicBezTo>
                  <a:close/>
                  <a:moveTo>
                    <a:pt x="184559" y="558798"/>
                  </a:moveTo>
                  <a:cubicBezTo>
                    <a:pt x="182972" y="563561"/>
                    <a:pt x="184559" y="569911"/>
                    <a:pt x="181384" y="573086"/>
                  </a:cubicBezTo>
                  <a:cubicBezTo>
                    <a:pt x="176621" y="577848"/>
                    <a:pt x="173446" y="558798"/>
                    <a:pt x="184559" y="558798"/>
                  </a:cubicBezTo>
                  <a:close/>
                  <a:moveTo>
                    <a:pt x="242362" y="0"/>
                  </a:moveTo>
                  <a:cubicBezTo>
                    <a:pt x="242121" y="2178"/>
                    <a:pt x="239917" y="9529"/>
                    <a:pt x="242362" y="9529"/>
                  </a:cubicBezTo>
                  <a:lnTo>
                    <a:pt x="248820" y="19059"/>
                  </a:lnTo>
                  <a:cubicBezTo>
                    <a:pt x="253641" y="28589"/>
                    <a:pt x="255248" y="27001"/>
                    <a:pt x="266558" y="28589"/>
                  </a:cubicBezTo>
                  <a:cubicBezTo>
                    <a:pt x="277838" y="33354"/>
                    <a:pt x="269772" y="47648"/>
                    <a:pt x="281082" y="49237"/>
                  </a:cubicBezTo>
                  <a:cubicBezTo>
                    <a:pt x="282689" y="57178"/>
                    <a:pt x="295576" y="72992"/>
                    <a:pt x="295576" y="72992"/>
                  </a:cubicBezTo>
                  <a:cubicBezTo>
                    <a:pt x="297183" y="82522"/>
                    <a:pt x="302034" y="93640"/>
                    <a:pt x="302034" y="101581"/>
                  </a:cubicBezTo>
                  <a:cubicBezTo>
                    <a:pt x="302034" y="109523"/>
                    <a:pt x="298820" y="117464"/>
                    <a:pt x="297183" y="125406"/>
                  </a:cubicBezTo>
                  <a:cubicBezTo>
                    <a:pt x="295576" y="133347"/>
                    <a:pt x="297183" y="144465"/>
                    <a:pt x="297183" y="152407"/>
                  </a:cubicBezTo>
                  <a:cubicBezTo>
                    <a:pt x="295576" y="161937"/>
                    <a:pt x="293969" y="161937"/>
                    <a:pt x="297183" y="171466"/>
                  </a:cubicBezTo>
                  <a:cubicBezTo>
                    <a:pt x="290755" y="211105"/>
                    <a:pt x="269772" y="176231"/>
                    <a:pt x="242362" y="196879"/>
                  </a:cubicBezTo>
                  <a:cubicBezTo>
                    <a:pt x="232689" y="222223"/>
                    <a:pt x="231082" y="247635"/>
                    <a:pt x="219773" y="273048"/>
                  </a:cubicBezTo>
                  <a:cubicBezTo>
                    <a:pt x="218165" y="285755"/>
                    <a:pt x="218165" y="288931"/>
                    <a:pt x="208493" y="296873"/>
                  </a:cubicBezTo>
                  <a:cubicBezTo>
                    <a:pt x="202035" y="307991"/>
                    <a:pt x="198820" y="309579"/>
                    <a:pt x="185904" y="311167"/>
                  </a:cubicBezTo>
                  <a:cubicBezTo>
                    <a:pt x="177838" y="325462"/>
                    <a:pt x="156886" y="325462"/>
                    <a:pt x="145576" y="339757"/>
                  </a:cubicBezTo>
                  <a:cubicBezTo>
                    <a:pt x="140755" y="353982"/>
                    <a:pt x="143969" y="368277"/>
                    <a:pt x="131083" y="377807"/>
                  </a:cubicBezTo>
                  <a:cubicBezTo>
                    <a:pt x="129476" y="398454"/>
                    <a:pt x="121410" y="434985"/>
                    <a:pt x="135904" y="454045"/>
                  </a:cubicBezTo>
                  <a:cubicBezTo>
                    <a:pt x="137511" y="465163"/>
                    <a:pt x="150428" y="469928"/>
                    <a:pt x="160100" y="476281"/>
                  </a:cubicBezTo>
                  <a:cubicBezTo>
                    <a:pt x="169773" y="495271"/>
                    <a:pt x="168166" y="517507"/>
                    <a:pt x="145576" y="520684"/>
                  </a:cubicBezTo>
                  <a:cubicBezTo>
                    <a:pt x="140755" y="530214"/>
                    <a:pt x="132690" y="547685"/>
                    <a:pt x="126231" y="552450"/>
                  </a:cubicBezTo>
                  <a:cubicBezTo>
                    <a:pt x="119773" y="557215"/>
                    <a:pt x="108493" y="544509"/>
                    <a:pt x="106886" y="547685"/>
                  </a:cubicBezTo>
                  <a:cubicBezTo>
                    <a:pt x="108493" y="557215"/>
                    <a:pt x="111707" y="566745"/>
                    <a:pt x="113345" y="576274"/>
                  </a:cubicBezTo>
                  <a:cubicBezTo>
                    <a:pt x="111707" y="595334"/>
                    <a:pt x="121410" y="601687"/>
                    <a:pt x="108493" y="611217"/>
                  </a:cubicBezTo>
                  <a:lnTo>
                    <a:pt x="105849" y="624662"/>
                  </a:lnTo>
                  <a:cubicBezTo>
                    <a:pt x="106079" y="629935"/>
                    <a:pt x="113345" y="617156"/>
                    <a:pt x="113345" y="644502"/>
                  </a:cubicBezTo>
                  <a:cubicBezTo>
                    <a:pt x="113345" y="663562"/>
                    <a:pt x="63345" y="671503"/>
                    <a:pt x="50428" y="676268"/>
                  </a:cubicBezTo>
                  <a:cubicBezTo>
                    <a:pt x="35904" y="687386"/>
                    <a:pt x="35904" y="673091"/>
                    <a:pt x="31083" y="661973"/>
                  </a:cubicBezTo>
                  <a:cubicBezTo>
                    <a:pt x="29476" y="641325"/>
                    <a:pt x="19773" y="625442"/>
                    <a:pt x="6887" y="609629"/>
                  </a:cubicBezTo>
                  <a:cubicBezTo>
                    <a:pt x="5279" y="601687"/>
                    <a:pt x="2035" y="595334"/>
                    <a:pt x="428" y="587392"/>
                  </a:cubicBezTo>
                  <a:cubicBezTo>
                    <a:pt x="-1179" y="574686"/>
                    <a:pt x="2035" y="542920"/>
                    <a:pt x="5279" y="528626"/>
                  </a:cubicBezTo>
                  <a:cubicBezTo>
                    <a:pt x="8494" y="514331"/>
                    <a:pt x="11738" y="512743"/>
                    <a:pt x="14952" y="506389"/>
                  </a:cubicBezTo>
                  <a:cubicBezTo>
                    <a:pt x="19773" y="500036"/>
                    <a:pt x="21410" y="493683"/>
                    <a:pt x="24624" y="485742"/>
                  </a:cubicBezTo>
                  <a:cubicBezTo>
                    <a:pt x="23017" y="460398"/>
                    <a:pt x="31083" y="428632"/>
                    <a:pt x="6887" y="414337"/>
                  </a:cubicBezTo>
                  <a:cubicBezTo>
                    <a:pt x="5279" y="404808"/>
                    <a:pt x="5279" y="398454"/>
                    <a:pt x="10101" y="390513"/>
                  </a:cubicBezTo>
                  <a:cubicBezTo>
                    <a:pt x="11738" y="355570"/>
                    <a:pt x="428" y="320697"/>
                    <a:pt x="31083" y="301637"/>
                  </a:cubicBezTo>
                  <a:cubicBezTo>
                    <a:pt x="34297" y="287343"/>
                    <a:pt x="50428" y="292108"/>
                    <a:pt x="63345" y="290519"/>
                  </a:cubicBezTo>
                  <a:cubicBezTo>
                    <a:pt x="69773" y="279401"/>
                    <a:pt x="68166" y="277813"/>
                    <a:pt x="58493" y="271460"/>
                  </a:cubicBezTo>
                  <a:cubicBezTo>
                    <a:pt x="56886" y="265107"/>
                    <a:pt x="48821" y="263518"/>
                    <a:pt x="48821" y="258754"/>
                  </a:cubicBezTo>
                  <a:cubicBezTo>
                    <a:pt x="48821" y="253989"/>
                    <a:pt x="52035" y="249224"/>
                    <a:pt x="55279" y="239694"/>
                  </a:cubicBezTo>
                  <a:cubicBezTo>
                    <a:pt x="58493" y="230164"/>
                    <a:pt x="66559" y="207928"/>
                    <a:pt x="69773" y="196879"/>
                  </a:cubicBezTo>
                  <a:cubicBezTo>
                    <a:pt x="73017" y="185761"/>
                    <a:pt x="68166" y="179408"/>
                    <a:pt x="73017" y="173055"/>
                  </a:cubicBezTo>
                  <a:cubicBezTo>
                    <a:pt x="76231" y="165113"/>
                    <a:pt x="82690" y="160348"/>
                    <a:pt x="87541" y="152407"/>
                  </a:cubicBezTo>
                  <a:cubicBezTo>
                    <a:pt x="93969" y="142877"/>
                    <a:pt x="102035" y="138112"/>
                    <a:pt x="106886" y="128582"/>
                  </a:cubicBezTo>
                  <a:cubicBezTo>
                    <a:pt x="108493" y="117464"/>
                    <a:pt x="113345" y="107935"/>
                    <a:pt x="116559" y="96816"/>
                  </a:cubicBezTo>
                  <a:cubicBezTo>
                    <a:pt x="119773" y="84110"/>
                    <a:pt x="119773" y="68227"/>
                    <a:pt x="127838" y="58766"/>
                  </a:cubicBezTo>
                  <a:cubicBezTo>
                    <a:pt x="135904" y="49237"/>
                    <a:pt x="148821" y="49237"/>
                    <a:pt x="161707" y="42883"/>
                  </a:cubicBezTo>
                  <a:cubicBezTo>
                    <a:pt x="192362" y="23824"/>
                    <a:pt x="140755" y="27001"/>
                    <a:pt x="203642" y="20647"/>
                  </a:cubicBezTo>
                  <a:cubicBezTo>
                    <a:pt x="213314" y="14294"/>
                    <a:pt x="213314" y="7941"/>
                    <a:pt x="219773" y="4764"/>
                  </a:cubicBezTo>
                  <a:cubicBezTo>
                    <a:pt x="226231" y="1588"/>
                    <a:pt x="239148" y="0"/>
                    <a:pt x="24236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3" name="Freeform 116"/>
            <p:cNvSpPr>
              <a:spLocks/>
            </p:cNvSpPr>
            <p:nvPr>
              <p:custDataLst>
                <p:tags r:id="rId89"/>
              </p:custDataLst>
            </p:nvPr>
          </p:nvSpPr>
          <p:spPr bwMode="gray">
            <a:xfrm>
              <a:off x="4525836" y="1806016"/>
              <a:ext cx="664135" cy="759661"/>
            </a:xfrm>
            <a:custGeom>
              <a:avLst/>
              <a:gdLst>
                <a:gd name="T0" fmla="*/ 369 w 403"/>
                <a:gd name="T1" fmla="*/ 56 h 469"/>
                <a:gd name="T2" fmla="*/ 398 w 403"/>
                <a:gd name="T3" fmla="*/ 46 h 469"/>
                <a:gd name="T4" fmla="*/ 380 w 403"/>
                <a:gd name="T5" fmla="*/ 29 h 469"/>
                <a:gd name="T6" fmla="*/ 330 w 403"/>
                <a:gd name="T7" fmla="*/ 8 h 469"/>
                <a:gd name="T8" fmla="*/ 266 w 403"/>
                <a:gd name="T9" fmla="*/ 20 h 469"/>
                <a:gd name="T10" fmla="*/ 246 w 403"/>
                <a:gd name="T11" fmla="*/ 41 h 469"/>
                <a:gd name="T12" fmla="*/ 213 w 403"/>
                <a:gd name="T13" fmla="*/ 41 h 469"/>
                <a:gd name="T14" fmla="*/ 188 w 403"/>
                <a:gd name="T15" fmla="*/ 76 h 469"/>
                <a:gd name="T16" fmla="*/ 171 w 403"/>
                <a:gd name="T17" fmla="*/ 86 h 469"/>
                <a:gd name="T18" fmla="*/ 144 w 403"/>
                <a:gd name="T19" fmla="*/ 115 h 469"/>
                <a:gd name="T20" fmla="*/ 111 w 403"/>
                <a:gd name="T21" fmla="*/ 155 h 469"/>
                <a:gd name="T22" fmla="*/ 155 w 403"/>
                <a:gd name="T23" fmla="*/ 133 h 469"/>
                <a:gd name="T24" fmla="*/ 134 w 403"/>
                <a:gd name="T25" fmla="*/ 176 h 469"/>
                <a:gd name="T26" fmla="*/ 108 w 403"/>
                <a:gd name="T27" fmla="*/ 239 h 469"/>
                <a:gd name="T28" fmla="*/ 90 w 403"/>
                <a:gd name="T29" fmla="*/ 266 h 469"/>
                <a:gd name="T30" fmla="*/ 60 w 403"/>
                <a:gd name="T31" fmla="*/ 301 h 469"/>
                <a:gd name="T32" fmla="*/ 5 w 403"/>
                <a:gd name="T33" fmla="*/ 386 h 469"/>
                <a:gd name="T34" fmla="*/ 11 w 403"/>
                <a:gd name="T35" fmla="*/ 415 h 469"/>
                <a:gd name="T36" fmla="*/ 24 w 403"/>
                <a:gd name="T37" fmla="*/ 454 h 469"/>
                <a:gd name="T38" fmla="*/ 65 w 403"/>
                <a:gd name="T39" fmla="*/ 466 h 469"/>
                <a:gd name="T40" fmla="*/ 78 w 403"/>
                <a:gd name="T41" fmla="*/ 445 h 469"/>
                <a:gd name="T42" fmla="*/ 92 w 403"/>
                <a:gd name="T43" fmla="*/ 433 h 469"/>
                <a:gd name="T44" fmla="*/ 113 w 403"/>
                <a:gd name="T45" fmla="*/ 433 h 469"/>
                <a:gd name="T46" fmla="*/ 122 w 403"/>
                <a:gd name="T47" fmla="*/ 379 h 469"/>
                <a:gd name="T48" fmla="*/ 119 w 403"/>
                <a:gd name="T49" fmla="*/ 340 h 469"/>
                <a:gd name="T50" fmla="*/ 119 w 403"/>
                <a:gd name="T51" fmla="*/ 303 h 469"/>
                <a:gd name="T52" fmla="*/ 143 w 403"/>
                <a:gd name="T53" fmla="*/ 283 h 469"/>
                <a:gd name="T54" fmla="*/ 140 w 403"/>
                <a:gd name="T55" fmla="*/ 263 h 469"/>
                <a:gd name="T56" fmla="*/ 153 w 403"/>
                <a:gd name="T57" fmla="*/ 221 h 469"/>
                <a:gd name="T58" fmla="*/ 177 w 403"/>
                <a:gd name="T59" fmla="*/ 182 h 469"/>
                <a:gd name="T60" fmla="*/ 192 w 403"/>
                <a:gd name="T61" fmla="*/ 134 h 469"/>
                <a:gd name="T62" fmla="*/ 215 w 403"/>
                <a:gd name="T63" fmla="*/ 127 h 469"/>
                <a:gd name="T64" fmla="*/ 221 w 403"/>
                <a:gd name="T65" fmla="*/ 115 h 469"/>
                <a:gd name="T66" fmla="*/ 240 w 403"/>
                <a:gd name="T67" fmla="*/ 112 h 469"/>
                <a:gd name="T68" fmla="*/ 254 w 403"/>
                <a:gd name="T69" fmla="*/ 89 h 469"/>
                <a:gd name="T70" fmla="*/ 269 w 403"/>
                <a:gd name="T71" fmla="*/ 112 h 469"/>
                <a:gd name="T72" fmla="*/ 293 w 403"/>
                <a:gd name="T73" fmla="*/ 106 h 469"/>
                <a:gd name="T74" fmla="*/ 320 w 403"/>
                <a:gd name="T75" fmla="*/ 97 h 469"/>
                <a:gd name="T76" fmla="*/ 342 w 403"/>
                <a:gd name="T77" fmla="*/ 59 h 469"/>
                <a:gd name="T78" fmla="*/ 368 w 403"/>
                <a:gd name="T79" fmla="*/ 68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403" h="469">
                  <a:moveTo>
                    <a:pt x="368" y="68"/>
                  </a:moveTo>
                  <a:cubicBezTo>
                    <a:pt x="379" y="66"/>
                    <a:pt x="379" y="60"/>
                    <a:pt x="369" y="56"/>
                  </a:cubicBezTo>
                  <a:cubicBezTo>
                    <a:pt x="374" y="55"/>
                    <a:pt x="378" y="53"/>
                    <a:pt x="383" y="52"/>
                  </a:cubicBezTo>
                  <a:cubicBezTo>
                    <a:pt x="388" y="49"/>
                    <a:pt x="392" y="47"/>
                    <a:pt x="398" y="46"/>
                  </a:cubicBezTo>
                  <a:cubicBezTo>
                    <a:pt x="403" y="38"/>
                    <a:pt x="398" y="41"/>
                    <a:pt x="392" y="38"/>
                  </a:cubicBezTo>
                  <a:cubicBezTo>
                    <a:pt x="389" y="33"/>
                    <a:pt x="385" y="32"/>
                    <a:pt x="380" y="29"/>
                  </a:cubicBezTo>
                  <a:cubicBezTo>
                    <a:pt x="370" y="16"/>
                    <a:pt x="365" y="13"/>
                    <a:pt x="348" y="11"/>
                  </a:cubicBezTo>
                  <a:cubicBezTo>
                    <a:pt x="342" y="10"/>
                    <a:pt x="330" y="8"/>
                    <a:pt x="330" y="8"/>
                  </a:cubicBezTo>
                  <a:cubicBezTo>
                    <a:pt x="319" y="0"/>
                    <a:pt x="298" y="6"/>
                    <a:pt x="288" y="7"/>
                  </a:cubicBezTo>
                  <a:cubicBezTo>
                    <a:pt x="286" y="21"/>
                    <a:pt x="281" y="19"/>
                    <a:pt x="266" y="20"/>
                  </a:cubicBezTo>
                  <a:cubicBezTo>
                    <a:pt x="257" y="23"/>
                    <a:pt x="255" y="30"/>
                    <a:pt x="266" y="32"/>
                  </a:cubicBezTo>
                  <a:cubicBezTo>
                    <a:pt x="263" y="39"/>
                    <a:pt x="254" y="40"/>
                    <a:pt x="246" y="41"/>
                  </a:cubicBezTo>
                  <a:cubicBezTo>
                    <a:pt x="240" y="40"/>
                    <a:pt x="237" y="37"/>
                    <a:pt x="231" y="35"/>
                  </a:cubicBezTo>
                  <a:cubicBezTo>
                    <a:pt x="225" y="38"/>
                    <a:pt x="219" y="40"/>
                    <a:pt x="213" y="41"/>
                  </a:cubicBezTo>
                  <a:cubicBezTo>
                    <a:pt x="208" y="50"/>
                    <a:pt x="212" y="58"/>
                    <a:pt x="203" y="65"/>
                  </a:cubicBezTo>
                  <a:cubicBezTo>
                    <a:pt x="199" y="74"/>
                    <a:pt x="199" y="74"/>
                    <a:pt x="188" y="76"/>
                  </a:cubicBezTo>
                  <a:cubicBezTo>
                    <a:pt x="181" y="80"/>
                    <a:pt x="180" y="98"/>
                    <a:pt x="180" y="98"/>
                  </a:cubicBezTo>
                  <a:cubicBezTo>
                    <a:pt x="175" y="94"/>
                    <a:pt x="174" y="91"/>
                    <a:pt x="171" y="86"/>
                  </a:cubicBezTo>
                  <a:cubicBezTo>
                    <a:pt x="162" y="89"/>
                    <a:pt x="158" y="89"/>
                    <a:pt x="153" y="98"/>
                  </a:cubicBezTo>
                  <a:cubicBezTo>
                    <a:pt x="152" y="105"/>
                    <a:pt x="150" y="111"/>
                    <a:pt x="144" y="115"/>
                  </a:cubicBezTo>
                  <a:cubicBezTo>
                    <a:pt x="139" y="122"/>
                    <a:pt x="143" y="127"/>
                    <a:pt x="135" y="130"/>
                  </a:cubicBezTo>
                  <a:cubicBezTo>
                    <a:pt x="124" y="141"/>
                    <a:pt x="128" y="152"/>
                    <a:pt x="111" y="155"/>
                  </a:cubicBezTo>
                  <a:cubicBezTo>
                    <a:pt x="115" y="165"/>
                    <a:pt x="121" y="155"/>
                    <a:pt x="128" y="154"/>
                  </a:cubicBezTo>
                  <a:cubicBezTo>
                    <a:pt x="141" y="147"/>
                    <a:pt x="145" y="138"/>
                    <a:pt x="155" y="133"/>
                  </a:cubicBezTo>
                  <a:cubicBezTo>
                    <a:pt x="167" y="137"/>
                    <a:pt x="149" y="152"/>
                    <a:pt x="141" y="157"/>
                  </a:cubicBezTo>
                  <a:cubicBezTo>
                    <a:pt x="135" y="164"/>
                    <a:pt x="141" y="172"/>
                    <a:pt x="134" y="176"/>
                  </a:cubicBezTo>
                  <a:cubicBezTo>
                    <a:pt x="132" y="187"/>
                    <a:pt x="127" y="201"/>
                    <a:pt x="116" y="205"/>
                  </a:cubicBezTo>
                  <a:cubicBezTo>
                    <a:pt x="108" y="215"/>
                    <a:pt x="114" y="228"/>
                    <a:pt x="108" y="239"/>
                  </a:cubicBezTo>
                  <a:cubicBezTo>
                    <a:pt x="107" y="246"/>
                    <a:pt x="104" y="244"/>
                    <a:pt x="98" y="248"/>
                  </a:cubicBezTo>
                  <a:cubicBezTo>
                    <a:pt x="96" y="254"/>
                    <a:pt x="93" y="260"/>
                    <a:pt x="90" y="266"/>
                  </a:cubicBezTo>
                  <a:cubicBezTo>
                    <a:pt x="88" y="278"/>
                    <a:pt x="84" y="275"/>
                    <a:pt x="71" y="277"/>
                  </a:cubicBezTo>
                  <a:cubicBezTo>
                    <a:pt x="66" y="284"/>
                    <a:pt x="64" y="293"/>
                    <a:pt x="60" y="301"/>
                  </a:cubicBezTo>
                  <a:cubicBezTo>
                    <a:pt x="54" y="312"/>
                    <a:pt x="23" y="331"/>
                    <a:pt x="11" y="337"/>
                  </a:cubicBezTo>
                  <a:cubicBezTo>
                    <a:pt x="0" y="352"/>
                    <a:pt x="6" y="364"/>
                    <a:pt x="5" y="386"/>
                  </a:cubicBezTo>
                  <a:cubicBezTo>
                    <a:pt x="5" y="395"/>
                    <a:pt x="4" y="404"/>
                    <a:pt x="6" y="413"/>
                  </a:cubicBezTo>
                  <a:cubicBezTo>
                    <a:pt x="6" y="415"/>
                    <a:pt x="11" y="413"/>
                    <a:pt x="11" y="415"/>
                  </a:cubicBezTo>
                  <a:cubicBezTo>
                    <a:pt x="12" y="420"/>
                    <a:pt x="15" y="436"/>
                    <a:pt x="17" y="442"/>
                  </a:cubicBezTo>
                  <a:cubicBezTo>
                    <a:pt x="19" y="448"/>
                    <a:pt x="20" y="449"/>
                    <a:pt x="24" y="454"/>
                  </a:cubicBezTo>
                  <a:cubicBezTo>
                    <a:pt x="31" y="463"/>
                    <a:pt x="29" y="466"/>
                    <a:pt x="41" y="469"/>
                  </a:cubicBezTo>
                  <a:cubicBezTo>
                    <a:pt x="52" y="468"/>
                    <a:pt x="55" y="469"/>
                    <a:pt x="65" y="466"/>
                  </a:cubicBezTo>
                  <a:cubicBezTo>
                    <a:pt x="71" y="465"/>
                    <a:pt x="69" y="460"/>
                    <a:pt x="71" y="457"/>
                  </a:cubicBezTo>
                  <a:cubicBezTo>
                    <a:pt x="73" y="454"/>
                    <a:pt x="74" y="446"/>
                    <a:pt x="78" y="445"/>
                  </a:cubicBezTo>
                  <a:cubicBezTo>
                    <a:pt x="80" y="442"/>
                    <a:pt x="92" y="451"/>
                    <a:pt x="93" y="448"/>
                  </a:cubicBezTo>
                  <a:cubicBezTo>
                    <a:pt x="95" y="447"/>
                    <a:pt x="92" y="435"/>
                    <a:pt x="92" y="433"/>
                  </a:cubicBezTo>
                  <a:cubicBezTo>
                    <a:pt x="92" y="431"/>
                    <a:pt x="92" y="436"/>
                    <a:pt x="95" y="436"/>
                  </a:cubicBezTo>
                  <a:cubicBezTo>
                    <a:pt x="99" y="432"/>
                    <a:pt x="107" y="434"/>
                    <a:pt x="113" y="433"/>
                  </a:cubicBezTo>
                  <a:cubicBezTo>
                    <a:pt x="120" y="425"/>
                    <a:pt x="118" y="413"/>
                    <a:pt x="126" y="407"/>
                  </a:cubicBezTo>
                  <a:cubicBezTo>
                    <a:pt x="130" y="398"/>
                    <a:pt x="128" y="386"/>
                    <a:pt x="122" y="379"/>
                  </a:cubicBezTo>
                  <a:cubicBezTo>
                    <a:pt x="119" y="356"/>
                    <a:pt x="120" y="368"/>
                    <a:pt x="114" y="355"/>
                  </a:cubicBezTo>
                  <a:cubicBezTo>
                    <a:pt x="116" y="350"/>
                    <a:pt x="117" y="345"/>
                    <a:pt x="119" y="340"/>
                  </a:cubicBezTo>
                  <a:cubicBezTo>
                    <a:pt x="120" y="335"/>
                    <a:pt x="117" y="334"/>
                    <a:pt x="117" y="328"/>
                  </a:cubicBezTo>
                  <a:cubicBezTo>
                    <a:pt x="117" y="322"/>
                    <a:pt x="117" y="310"/>
                    <a:pt x="119" y="303"/>
                  </a:cubicBezTo>
                  <a:cubicBezTo>
                    <a:pt x="121" y="296"/>
                    <a:pt x="125" y="290"/>
                    <a:pt x="129" y="287"/>
                  </a:cubicBezTo>
                  <a:cubicBezTo>
                    <a:pt x="133" y="284"/>
                    <a:pt x="140" y="285"/>
                    <a:pt x="143" y="283"/>
                  </a:cubicBezTo>
                  <a:cubicBezTo>
                    <a:pt x="146" y="281"/>
                    <a:pt x="147" y="278"/>
                    <a:pt x="147" y="275"/>
                  </a:cubicBezTo>
                  <a:cubicBezTo>
                    <a:pt x="147" y="272"/>
                    <a:pt x="140" y="268"/>
                    <a:pt x="140" y="263"/>
                  </a:cubicBezTo>
                  <a:cubicBezTo>
                    <a:pt x="141" y="256"/>
                    <a:pt x="143" y="252"/>
                    <a:pt x="146" y="245"/>
                  </a:cubicBezTo>
                  <a:cubicBezTo>
                    <a:pt x="147" y="238"/>
                    <a:pt x="150" y="228"/>
                    <a:pt x="153" y="221"/>
                  </a:cubicBezTo>
                  <a:cubicBezTo>
                    <a:pt x="156" y="214"/>
                    <a:pt x="158" y="210"/>
                    <a:pt x="162" y="203"/>
                  </a:cubicBezTo>
                  <a:cubicBezTo>
                    <a:pt x="166" y="195"/>
                    <a:pt x="169" y="186"/>
                    <a:pt x="177" y="182"/>
                  </a:cubicBezTo>
                  <a:cubicBezTo>
                    <a:pt x="180" y="175"/>
                    <a:pt x="179" y="172"/>
                    <a:pt x="182" y="164"/>
                  </a:cubicBezTo>
                  <a:cubicBezTo>
                    <a:pt x="185" y="156"/>
                    <a:pt x="187" y="140"/>
                    <a:pt x="192" y="134"/>
                  </a:cubicBezTo>
                  <a:cubicBezTo>
                    <a:pt x="198" y="131"/>
                    <a:pt x="205" y="132"/>
                    <a:pt x="212" y="131"/>
                  </a:cubicBezTo>
                  <a:cubicBezTo>
                    <a:pt x="213" y="130"/>
                    <a:pt x="215" y="129"/>
                    <a:pt x="215" y="127"/>
                  </a:cubicBezTo>
                  <a:cubicBezTo>
                    <a:pt x="216" y="122"/>
                    <a:pt x="214" y="117"/>
                    <a:pt x="216" y="113"/>
                  </a:cubicBezTo>
                  <a:cubicBezTo>
                    <a:pt x="217" y="111"/>
                    <a:pt x="219" y="114"/>
                    <a:pt x="221" y="115"/>
                  </a:cubicBezTo>
                  <a:cubicBezTo>
                    <a:pt x="230" y="119"/>
                    <a:pt x="224" y="117"/>
                    <a:pt x="233" y="119"/>
                  </a:cubicBezTo>
                  <a:cubicBezTo>
                    <a:pt x="236" y="119"/>
                    <a:pt x="237" y="115"/>
                    <a:pt x="240" y="112"/>
                  </a:cubicBezTo>
                  <a:cubicBezTo>
                    <a:pt x="243" y="109"/>
                    <a:pt x="250" y="107"/>
                    <a:pt x="252" y="103"/>
                  </a:cubicBezTo>
                  <a:cubicBezTo>
                    <a:pt x="261" y="115"/>
                    <a:pt x="253" y="91"/>
                    <a:pt x="254" y="89"/>
                  </a:cubicBezTo>
                  <a:cubicBezTo>
                    <a:pt x="255" y="88"/>
                    <a:pt x="257" y="90"/>
                    <a:pt x="258" y="91"/>
                  </a:cubicBezTo>
                  <a:cubicBezTo>
                    <a:pt x="262" y="99"/>
                    <a:pt x="261" y="108"/>
                    <a:pt x="269" y="112"/>
                  </a:cubicBezTo>
                  <a:cubicBezTo>
                    <a:pt x="273" y="115"/>
                    <a:pt x="274" y="110"/>
                    <a:pt x="278" y="109"/>
                  </a:cubicBezTo>
                  <a:cubicBezTo>
                    <a:pt x="282" y="108"/>
                    <a:pt x="288" y="105"/>
                    <a:pt x="293" y="106"/>
                  </a:cubicBezTo>
                  <a:cubicBezTo>
                    <a:pt x="298" y="107"/>
                    <a:pt x="305" y="116"/>
                    <a:pt x="309" y="115"/>
                  </a:cubicBezTo>
                  <a:cubicBezTo>
                    <a:pt x="312" y="114"/>
                    <a:pt x="319" y="105"/>
                    <a:pt x="320" y="97"/>
                  </a:cubicBezTo>
                  <a:cubicBezTo>
                    <a:pt x="323" y="89"/>
                    <a:pt x="320" y="73"/>
                    <a:pt x="324" y="67"/>
                  </a:cubicBezTo>
                  <a:cubicBezTo>
                    <a:pt x="328" y="61"/>
                    <a:pt x="337" y="60"/>
                    <a:pt x="342" y="59"/>
                  </a:cubicBezTo>
                  <a:cubicBezTo>
                    <a:pt x="347" y="59"/>
                    <a:pt x="350" y="58"/>
                    <a:pt x="354" y="59"/>
                  </a:cubicBezTo>
                  <a:cubicBezTo>
                    <a:pt x="358" y="60"/>
                    <a:pt x="365" y="66"/>
                    <a:pt x="368" y="6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4" name="Freeform 117"/>
            <p:cNvSpPr>
              <a:spLocks/>
            </p:cNvSpPr>
            <p:nvPr>
              <p:custDataLst>
                <p:tags r:id="rId90"/>
              </p:custDataLst>
            </p:nvPr>
          </p:nvSpPr>
          <p:spPr bwMode="gray">
            <a:xfrm>
              <a:off x="4955093" y="2484688"/>
              <a:ext cx="176563" cy="136059"/>
            </a:xfrm>
            <a:custGeom>
              <a:avLst/>
              <a:gdLst>
                <a:gd name="T0" fmla="*/ 8 w 107"/>
                <a:gd name="T1" fmla="*/ 26 h 84"/>
                <a:gd name="T2" fmla="*/ 29 w 107"/>
                <a:gd name="T3" fmla="*/ 17 h 84"/>
                <a:gd name="T4" fmla="*/ 47 w 107"/>
                <a:gd name="T5" fmla="*/ 6 h 84"/>
                <a:gd name="T6" fmla="*/ 60 w 107"/>
                <a:gd name="T7" fmla="*/ 0 h 84"/>
                <a:gd name="T8" fmla="*/ 101 w 107"/>
                <a:gd name="T9" fmla="*/ 8 h 84"/>
                <a:gd name="T10" fmla="*/ 92 w 107"/>
                <a:gd name="T11" fmla="*/ 42 h 84"/>
                <a:gd name="T12" fmla="*/ 92 w 107"/>
                <a:gd name="T13" fmla="*/ 59 h 84"/>
                <a:gd name="T14" fmla="*/ 51 w 107"/>
                <a:gd name="T15" fmla="*/ 45 h 84"/>
                <a:gd name="T16" fmla="*/ 38 w 107"/>
                <a:gd name="T17" fmla="*/ 54 h 84"/>
                <a:gd name="T18" fmla="*/ 5 w 107"/>
                <a:gd name="T19" fmla="*/ 63 h 84"/>
                <a:gd name="T20" fmla="*/ 5 w 107"/>
                <a:gd name="T21" fmla="*/ 51 h 84"/>
                <a:gd name="T22" fmla="*/ 8 w 107"/>
                <a:gd name="T23" fmla="*/ 2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7" h="84">
                  <a:moveTo>
                    <a:pt x="8" y="26"/>
                  </a:moveTo>
                  <a:cubicBezTo>
                    <a:pt x="16" y="22"/>
                    <a:pt x="19" y="19"/>
                    <a:pt x="29" y="17"/>
                  </a:cubicBezTo>
                  <a:cubicBezTo>
                    <a:pt x="35" y="7"/>
                    <a:pt x="34" y="8"/>
                    <a:pt x="47" y="6"/>
                  </a:cubicBezTo>
                  <a:cubicBezTo>
                    <a:pt x="51" y="3"/>
                    <a:pt x="55" y="2"/>
                    <a:pt x="60" y="0"/>
                  </a:cubicBezTo>
                  <a:cubicBezTo>
                    <a:pt x="74" y="2"/>
                    <a:pt x="88" y="0"/>
                    <a:pt x="101" y="8"/>
                  </a:cubicBezTo>
                  <a:cubicBezTo>
                    <a:pt x="107" y="14"/>
                    <a:pt x="94" y="34"/>
                    <a:pt x="92" y="42"/>
                  </a:cubicBezTo>
                  <a:cubicBezTo>
                    <a:pt x="90" y="51"/>
                    <a:pt x="99" y="59"/>
                    <a:pt x="92" y="59"/>
                  </a:cubicBezTo>
                  <a:cubicBezTo>
                    <a:pt x="54" y="58"/>
                    <a:pt x="71" y="57"/>
                    <a:pt x="51" y="45"/>
                  </a:cubicBezTo>
                  <a:cubicBezTo>
                    <a:pt x="35" y="48"/>
                    <a:pt x="47" y="50"/>
                    <a:pt x="38" y="54"/>
                  </a:cubicBezTo>
                  <a:cubicBezTo>
                    <a:pt x="35" y="84"/>
                    <a:pt x="26" y="66"/>
                    <a:pt x="5" y="63"/>
                  </a:cubicBezTo>
                  <a:cubicBezTo>
                    <a:pt x="0" y="55"/>
                    <a:pt x="1" y="60"/>
                    <a:pt x="5" y="51"/>
                  </a:cubicBezTo>
                  <a:cubicBezTo>
                    <a:pt x="7" y="42"/>
                    <a:pt x="6" y="36"/>
                    <a:pt x="8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5" name="Freeform 118"/>
            <p:cNvSpPr>
              <a:spLocks/>
            </p:cNvSpPr>
            <p:nvPr>
              <p:custDataLst>
                <p:tags r:id="rId91"/>
              </p:custDataLst>
            </p:nvPr>
          </p:nvSpPr>
          <p:spPr bwMode="gray">
            <a:xfrm>
              <a:off x="4133834" y="3652525"/>
              <a:ext cx="395241" cy="377401"/>
            </a:xfrm>
            <a:custGeom>
              <a:avLst/>
              <a:gdLst>
                <a:gd name="T0" fmla="*/ 1 w 240"/>
                <a:gd name="T1" fmla="*/ 157 h 233"/>
                <a:gd name="T2" fmla="*/ 82 w 240"/>
                <a:gd name="T3" fmla="*/ 158 h 233"/>
                <a:gd name="T4" fmla="*/ 96 w 240"/>
                <a:gd name="T5" fmla="*/ 145 h 233"/>
                <a:gd name="T6" fmla="*/ 85 w 240"/>
                <a:gd name="T7" fmla="*/ 73 h 233"/>
                <a:gd name="T8" fmla="*/ 73 w 240"/>
                <a:gd name="T9" fmla="*/ 25 h 233"/>
                <a:gd name="T10" fmla="*/ 82 w 240"/>
                <a:gd name="T11" fmla="*/ 10 h 233"/>
                <a:gd name="T12" fmla="*/ 99 w 240"/>
                <a:gd name="T13" fmla="*/ 5 h 233"/>
                <a:gd name="T14" fmla="*/ 120 w 240"/>
                <a:gd name="T15" fmla="*/ 14 h 233"/>
                <a:gd name="T16" fmla="*/ 133 w 240"/>
                <a:gd name="T17" fmla="*/ 26 h 233"/>
                <a:gd name="T18" fmla="*/ 147 w 240"/>
                <a:gd name="T19" fmla="*/ 35 h 233"/>
                <a:gd name="T20" fmla="*/ 165 w 240"/>
                <a:gd name="T21" fmla="*/ 47 h 233"/>
                <a:gd name="T22" fmla="*/ 178 w 240"/>
                <a:gd name="T23" fmla="*/ 56 h 233"/>
                <a:gd name="T24" fmla="*/ 186 w 240"/>
                <a:gd name="T25" fmla="*/ 62 h 233"/>
                <a:gd name="T26" fmla="*/ 201 w 240"/>
                <a:gd name="T27" fmla="*/ 79 h 233"/>
                <a:gd name="T28" fmla="*/ 210 w 240"/>
                <a:gd name="T29" fmla="*/ 86 h 233"/>
                <a:gd name="T30" fmla="*/ 235 w 240"/>
                <a:gd name="T31" fmla="*/ 98 h 233"/>
                <a:gd name="T32" fmla="*/ 237 w 240"/>
                <a:gd name="T33" fmla="*/ 119 h 233"/>
                <a:gd name="T34" fmla="*/ 237 w 240"/>
                <a:gd name="T35" fmla="*/ 142 h 233"/>
                <a:gd name="T36" fmla="*/ 226 w 240"/>
                <a:gd name="T37" fmla="*/ 152 h 233"/>
                <a:gd name="T38" fmla="*/ 202 w 240"/>
                <a:gd name="T39" fmla="*/ 155 h 233"/>
                <a:gd name="T40" fmla="*/ 172 w 240"/>
                <a:gd name="T41" fmla="*/ 160 h 233"/>
                <a:gd name="T42" fmla="*/ 148 w 240"/>
                <a:gd name="T43" fmla="*/ 167 h 233"/>
                <a:gd name="T44" fmla="*/ 127 w 240"/>
                <a:gd name="T45" fmla="*/ 181 h 233"/>
                <a:gd name="T46" fmla="*/ 115 w 240"/>
                <a:gd name="T47" fmla="*/ 185 h 233"/>
                <a:gd name="T48" fmla="*/ 102 w 240"/>
                <a:gd name="T49" fmla="*/ 206 h 233"/>
                <a:gd name="T50" fmla="*/ 93 w 240"/>
                <a:gd name="T51" fmla="*/ 233 h 233"/>
                <a:gd name="T52" fmla="*/ 49 w 240"/>
                <a:gd name="T53" fmla="*/ 230 h 233"/>
                <a:gd name="T54" fmla="*/ 28 w 240"/>
                <a:gd name="T55" fmla="*/ 208 h 233"/>
                <a:gd name="T56" fmla="*/ 6 w 240"/>
                <a:gd name="T57" fmla="*/ 202 h 233"/>
                <a:gd name="T58" fmla="*/ 1 w 240"/>
                <a:gd name="T59" fmla="*/ 157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240" h="233">
                  <a:moveTo>
                    <a:pt x="1" y="157"/>
                  </a:moveTo>
                  <a:cubicBezTo>
                    <a:pt x="30" y="160"/>
                    <a:pt x="52" y="159"/>
                    <a:pt x="82" y="158"/>
                  </a:cubicBezTo>
                  <a:cubicBezTo>
                    <a:pt x="90" y="156"/>
                    <a:pt x="92" y="152"/>
                    <a:pt x="96" y="145"/>
                  </a:cubicBezTo>
                  <a:cubicBezTo>
                    <a:pt x="94" y="120"/>
                    <a:pt x="93" y="97"/>
                    <a:pt x="85" y="73"/>
                  </a:cubicBezTo>
                  <a:cubicBezTo>
                    <a:pt x="82" y="58"/>
                    <a:pt x="73" y="35"/>
                    <a:pt x="73" y="25"/>
                  </a:cubicBezTo>
                  <a:cubicBezTo>
                    <a:pt x="73" y="15"/>
                    <a:pt x="78" y="13"/>
                    <a:pt x="82" y="10"/>
                  </a:cubicBezTo>
                  <a:cubicBezTo>
                    <a:pt x="84" y="0"/>
                    <a:pt x="93" y="4"/>
                    <a:pt x="99" y="5"/>
                  </a:cubicBezTo>
                  <a:cubicBezTo>
                    <a:pt x="105" y="6"/>
                    <a:pt x="114" y="11"/>
                    <a:pt x="120" y="14"/>
                  </a:cubicBezTo>
                  <a:cubicBezTo>
                    <a:pt x="121" y="20"/>
                    <a:pt x="127" y="23"/>
                    <a:pt x="133" y="26"/>
                  </a:cubicBezTo>
                  <a:cubicBezTo>
                    <a:pt x="138" y="33"/>
                    <a:pt x="139" y="34"/>
                    <a:pt x="147" y="35"/>
                  </a:cubicBezTo>
                  <a:cubicBezTo>
                    <a:pt x="155" y="38"/>
                    <a:pt x="158" y="43"/>
                    <a:pt x="165" y="47"/>
                  </a:cubicBezTo>
                  <a:cubicBezTo>
                    <a:pt x="169" y="54"/>
                    <a:pt x="172" y="52"/>
                    <a:pt x="178" y="56"/>
                  </a:cubicBezTo>
                  <a:cubicBezTo>
                    <a:pt x="180" y="59"/>
                    <a:pt x="185" y="59"/>
                    <a:pt x="186" y="62"/>
                  </a:cubicBezTo>
                  <a:cubicBezTo>
                    <a:pt x="188" y="66"/>
                    <a:pt x="197" y="75"/>
                    <a:pt x="201" y="79"/>
                  </a:cubicBezTo>
                  <a:cubicBezTo>
                    <a:pt x="205" y="83"/>
                    <a:pt x="204" y="83"/>
                    <a:pt x="210" y="86"/>
                  </a:cubicBezTo>
                  <a:cubicBezTo>
                    <a:pt x="220" y="89"/>
                    <a:pt x="227" y="92"/>
                    <a:pt x="235" y="98"/>
                  </a:cubicBezTo>
                  <a:cubicBezTo>
                    <a:pt x="240" y="104"/>
                    <a:pt x="238" y="110"/>
                    <a:pt x="237" y="119"/>
                  </a:cubicBezTo>
                  <a:cubicBezTo>
                    <a:pt x="237" y="126"/>
                    <a:pt x="239" y="137"/>
                    <a:pt x="237" y="142"/>
                  </a:cubicBezTo>
                  <a:cubicBezTo>
                    <a:pt x="235" y="147"/>
                    <a:pt x="232" y="150"/>
                    <a:pt x="226" y="152"/>
                  </a:cubicBezTo>
                  <a:cubicBezTo>
                    <a:pt x="220" y="162"/>
                    <a:pt x="211" y="154"/>
                    <a:pt x="202" y="155"/>
                  </a:cubicBezTo>
                  <a:cubicBezTo>
                    <a:pt x="193" y="156"/>
                    <a:pt x="181" y="158"/>
                    <a:pt x="172" y="160"/>
                  </a:cubicBezTo>
                  <a:cubicBezTo>
                    <a:pt x="162" y="161"/>
                    <a:pt x="157" y="165"/>
                    <a:pt x="148" y="167"/>
                  </a:cubicBezTo>
                  <a:cubicBezTo>
                    <a:pt x="140" y="171"/>
                    <a:pt x="135" y="179"/>
                    <a:pt x="127" y="181"/>
                  </a:cubicBezTo>
                  <a:cubicBezTo>
                    <a:pt x="122" y="187"/>
                    <a:pt x="123" y="184"/>
                    <a:pt x="115" y="185"/>
                  </a:cubicBezTo>
                  <a:cubicBezTo>
                    <a:pt x="108" y="196"/>
                    <a:pt x="113" y="199"/>
                    <a:pt x="102" y="206"/>
                  </a:cubicBezTo>
                  <a:cubicBezTo>
                    <a:pt x="97" y="213"/>
                    <a:pt x="102" y="229"/>
                    <a:pt x="93" y="233"/>
                  </a:cubicBezTo>
                  <a:cubicBezTo>
                    <a:pt x="81" y="232"/>
                    <a:pt x="61" y="232"/>
                    <a:pt x="49" y="230"/>
                  </a:cubicBezTo>
                  <a:cubicBezTo>
                    <a:pt x="54" y="230"/>
                    <a:pt x="37" y="210"/>
                    <a:pt x="28" y="208"/>
                  </a:cubicBezTo>
                  <a:cubicBezTo>
                    <a:pt x="22" y="205"/>
                    <a:pt x="13" y="203"/>
                    <a:pt x="6" y="202"/>
                  </a:cubicBezTo>
                  <a:cubicBezTo>
                    <a:pt x="0" y="193"/>
                    <a:pt x="2" y="167"/>
                    <a:pt x="1" y="15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6" name="Freeform 119"/>
            <p:cNvSpPr>
              <a:spLocks/>
            </p:cNvSpPr>
            <p:nvPr>
              <p:custDataLst>
                <p:tags r:id="rId92"/>
              </p:custDataLst>
            </p:nvPr>
          </p:nvSpPr>
          <p:spPr bwMode="gray">
            <a:xfrm>
              <a:off x="5036085" y="4647049"/>
              <a:ext cx="199241" cy="189511"/>
            </a:xfrm>
            <a:custGeom>
              <a:avLst/>
              <a:gdLst>
                <a:gd name="T0" fmla="*/ 2 w 121"/>
                <a:gd name="T1" fmla="*/ 42 h 117"/>
                <a:gd name="T2" fmla="*/ 34 w 121"/>
                <a:gd name="T3" fmla="*/ 36 h 117"/>
                <a:gd name="T4" fmla="*/ 49 w 121"/>
                <a:gd name="T5" fmla="*/ 20 h 117"/>
                <a:gd name="T6" fmla="*/ 58 w 121"/>
                <a:gd name="T7" fmla="*/ 11 h 117"/>
                <a:gd name="T8" fmla="*/ 77 w 121"/>
                <a:gd name="T9" fmla="*/ 0 h 117"/>
                <a:gd name="T10" fmla="*/ 92 w 121"/>
                <a:gd name="T11" fmla="*/ 12 h 117"/>
                <a:gd name="T12" fmla="*/ 109 w 121"/>
                <a:gd name="T13" fmla="*/ 21 h 117"/>
                <a:gd name="T14" fmla="*/ 110 w 121"/>
                <a:gd name="T15" fmla="*/ 92 h 117"/>
                <a:gd name="T16" fmla="*/ 101 w 121"/>
                <a:gd name="T17" fmla="*/ 108 h 117"/>
                <a:gd name="T18" fmla="*/ 83 w 121"/>
                <a:gd name="T19" fmla="*/ 114 h 117"/>
                <a:gd name="T20" fmla="*/ 44 w 121"/>
                <a:gd name="T21" fmla="*/ 98 h 117"/>
                <a:gd name="T22" fmla="*/ 32 w 121"/>
                <a:gd name="T23" fmla="*/ 89 h 117"/>
                <a:gd name="T24" fmla="*/ 26 w 121"/>
                <a:gd name="T25" fmla="*/ 78 h 117"/>
                <a:gd name="T26" fmla="*/ 14 w 121"/>
                <a:gd name="T27" fmla="*/ 71 h 117"/>
                <a:gd name="T28" fmla="*/ 6 w 121"/>
                <a:gd name="T29" fmla="*/ 59 h 117"/>
                <a:gd name="T30" fmla="*/ 2 w 121"/>
                <a:gd name="T31" fmla="*/ 51 h 117"/>
                <a:gd name="T32" fmla="*/ 2 w 121"/>
                <a:gd name="T33" fmla="*/ 42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21" h="117">
                  <a:moveTo>
                    <a:pt x="2" y="42"/>
                  </a:moveTo>
                  <a:cubicBezTo>
                    <a:pt x="22" y="41"/>
                    <a:pt x="22" y="43"/>
                    <a:pt x="34" y="36"/>
                  </a:cubicBezTo>
                  <a:cubicBezTo>
                    <a:pt x="27" y="23"/>
                    <a:pt x="39" y="21"/>
                    <a:pt x="49" y="20"/>
                  </a:cubicBezTo>
                  <a:cubicBezTo>
                    <a:pt x="53" y="14"/>
                    <a:pt x="51" y="12"/>
                    <a:pt x="58" y="11"/>
                  </a:cubicBezTo>
                  <a:cubicBezTo>
                    <a:pt x="64" y="8"/>
                    <a:pt x="71" y="3"/>
                    <a:pt x="77" y="0"/>
                  </a:cubicBezTo>
                  <a:cubicBezTo>
                    <a:pt x="88" y="4"/>
                    <a:pt x="80" y="10"/>
                    <a:pt x="92" y="12"/>
                  </a:cubicBezTo>
                  <a:cubicBezTo>
                    <a:pt x="99" y="15"/>
                    <a:pt x="101" y="19"/>
                    <a:pt x="109" y="21"/>
                  </a:cubicBezTo>
                  <a:cubicBezTo>
                    <a:pt x="120" y="40"/>
                    <a:pt x="121" y="71"/>
                    <a:pt x="110" y="92"/>
                  </a:cubicBezTo>
                  <a:cubicBezTo>
                    <a:pt x="109" y="99"/>
                    <a:pt x="108" y="107"/>
                    <a:pt x="101" y="108"/>
                  </a:cubicBezTo>
                  <a:cubicBezTo>
                    <a:pt x="95" y="117"/>
                    <a:pt x="95" y="116"/>
                    <a:pt x="83" y="114"/>
                  </a:cubicBezTo>
                  <a:cubicBezTo>
                    <a:pt x="79" y="111"/>
                    <a:pt x="50" y="99"/>
                    <a:pt x="44" y="98"/>
                  </a:cubicBezTo>
                  <a:cubicBezTo>
                    <a:pt x="39" y="95"/>
                    <a:pt x="35" y="94"/>
                    <a:pt x="32" y="89"/>
                  </a:cubicBezTo>
                  <a:cubicBezTo>
                    <a:pt x="29" y="85"/>
                    <a:pt x="29" y="81"/>
                    <a:pt x="26" y="78"/>
                  </a:cubicBezTo>
                  <a:cubicBezTo>
                    <a:pt x="23" y="75"/>
                    <a:pt x="17" y="74"/>
                    <a:pt x="14" y="71"/>
                  </a:cubicBezTo>
                  <a:cubicBezTo>
                    <a:pt x="9" y="66"/>
                    <a:pt x="8" y="62"/>
                    <a:pt x="6" y="59"/>
                  </a:cubicBezTo>
                  <a:cubicBezTo>
                    <a:pt x="4" y="56"/>
                    <a:pt x="3" y="54"/>
                    <a:pt x="2" y="51"/>
                  </a:cubicBezTo>
                  <a:cubicBezTo>
                    <a:pt x="1" y="44"/>
                    <a:pt x="0" y="47"/>
                    <a:pt x="2" y="4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7" name="Freeform 120"/>
            <p:cNvSpPr>
              <a:spLocks/>
            </p:cNvSpPr>
            <p:nvPr>
              <p:custDataLst>
                <p:tags r:id="rId93"/>
              </p:custDataLst>
            </p:nvPr>
          </p:nvSpPr>
          <p:spPr bwMode="gray">
            <a:xfrm>
              <a:off x="5479922" y="3189279"/>
              <a:ext cx="68033" cy="63171"/>
            </a:xfrm>
            <a:custGeom>
              <a:avLst/>
              <a:gdLst>
                <a:gd name="T0" fmla="*/ 0 w 42"/>
                <a:gd name="T1" fmla="*/ 3 h 39"/>
                <a:gd name="T2" fmla="*/ 23 w 42"/>
                <a:gd name="T3" fmla="*/ 0 h 39"/>
                <a:gd name="T4" fmla="*/ 31 w 42"/>
                <a:gd name="T5" fmla="*/ 16 h 39"/>
                <a:gd name="T6" fmla="*/ 36 w 42"/>
                <a:gd name="T7" fmla="*/ 27 h 39"/>
                <a:gd name="T8" fmla="*/ 42 w 42"/>
                <a:gd name="T9" fmla="*/ 38 h 39"/>
                <a:gd name="T10" fmla="*/ 27 w 42"/>
                <a:gd name="T11" fmla="*/ 33 h 39"/>
                <a:gd name="T12" fmla="*/ 18 w 42"/>
                <a:gd name="T13" fmla="*/ 39 h 39"/>
                <a:gd name="T14" fmla="*/ 2 w 42"/>
                <a:gd name="T15" fmla="*/ 17 h 39"/>
                <a:gd name="T16" fmla="*/ 0 w 42"/>
                <a:gd name="T17" fmla="*/ 3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" h="39">
                  <a:moveTo>
                    <a:pt x="0" y="3"/>
                  </a:moveTo>
                  <a:lnTo>
                    <a:pt x="23" y="0"/>
                  </a:lnTo>
                  <a:lnTo>
                    <a:pt x="31" y="16"/>
                  </a:lnTo>
                  <a:lnTo>
                    <a:pt x="36" y="27"/>
                  </a:lnTo>
                  <a:lnTo>
                    <a:pt x="42" y="38"/>
                  </a:lnTo>
                  <a:lnTo>
                    <a:pt x="27" y="33"/>
                  </a:lnTo>
                  <a:lnTo>
                    <a:pt x="18" y="39"/>
                  </a:lnTo>
                  <a:lnTo>
                    <a:pt x="2" y="17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8" name="Freeform 127"/>
            <p:cNvSpPr>
              <a:spLocks/>
            </p:cNvSpPr>
            <p:nvPr>
              <p:custDataLst>
                <p:tags r:id="rId94"/>
              </p:custDataLst>
            </p:nvPr>
          </p:nvSpPr>
          <p:spPr bwMode="gray">
            <a:xfrm>
              <a:off x="4010726" y="3942460"/>
              <a:ext cx="98811" cy="35634"/>
            </a:xfrm>
            <a:custGeom>
              <a:avLst/>
              <a:gdLst>
                <a:gd name="T0" fmla="*/ 0 w 60"/>
                <a:gd name="T1" fmla="*/ 9 h 22"/>
                <a:gd name="T2" fmla="*/ 27 w 60"/>
                <a:gd name="T3" fmla="*/ 9 h 22"/>
                <a:gd name="T4" fmla="*/ 39 w 60"/>
                <a:gd name="T5" fmla="*/ 8 h 22"/>
                <a:gd name="T6" fmla="*/ 48 w 60"/>
                <a:gd name="T7" fmla="*/ 0 h 22"/>
                <a:gd name="T8" fmla="*/ 60 w 60"/>
                <a:gd name="T9" fmla="*/ 9 h 22"/>
                <a:gd name="T10" fmla="*/ 49 w 60"/>
                <a:gd name="T11" fmla="*/ 19 h 22"/>
                <a:gd name="T12" fmla="*/ 40 w 60"/>
                <a:gd name="T13" fmla="*/ 16 h 22"/>
                <a:gd name="T14" fmla="*/ 30 w 60"/>
                <a:gd name="T15" fmla="*/ 22 h 22"/>
                <a:gd name="T16" fmla="*/ 3 w 60"/>
                <a:gd name="T17" fmla="*/ 21 h 22"/>
                <a:gd name="T18" fmla="*/ 0 w 60"/>
                <a:gd name="T1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22">
                  <a:moveTo>
                    <a:pt x="0" y="9"/>
                  </a:moveTo>
                  <a:lnTo>
                    <a:pt x="27" y="9"/>
                  </a:lnTo>
                  <a:lnTo>
                    <a:pt x="39" y="8"/>
                  </a:lnTo>
                  <a:lnTo>
                    <a:pt x="48" y="0"/>
                  </a:lnTo>
                  <a:lnTo>
                    <a:pt x="60" y="9"/>
                  </a:lnTo>
                  <a:lnTo>
                    <a:pt x="49" y="19"/>
                  </a:lnTo>
                  <a:lnTo>
                    <a:pt x="40" y="16"/>
                  </a:lnTo>
                  <a:lnTo>
                    <a:pt x="30" y="22"/>
                  </a:lnTo>
                  <a:lnTo>
                    <a:pt x="3" y="21"/>
                  </a:lnTo>
                  <a:lnTo>
                    <a:pt x="0" y="9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89" name="Freeform 128"/>
            <p:cNvSpPr>
              <a:spLocks/>
            </p:cNvSpPr>
            <p:nvPr>
              <p:custDataLst>
                <p:tags r:id="rId95"/>
              </p:custDataLst>
            </p:nvPr>
          </p:nvSpPr>
          <p:spPr bwMode="gray">
            <a:xfrm>
              <a:off x="4012345" y="3971615"/>
              <a:ext cx="79373" cy="46973"/>
            </a:xfrm>
            <a:custGeom>
              <a:avLst/>
              <a:gdLst>
                <a:gd name="T0" fmla="*/ 0 w 48"/>
                <a:gd name="T1" fmla="*/ 23 h 29"/>
                <a:gd name="T2" fmla="*/ 21 w 48"/>
                <a:gd name="T3" fmla="*/ 29 h 29"/>
                <a:gd name="T4" fmla="*/ 30 w 48"/>
                <a:gd name="T5" fmla="*/ 21 h 29"/>
                <a:gd name="T6" fmla="*/ 48 w 48"/>
                <a:gd name="T7" fmla="*/ 0 h 29"/>
                <a:gd name="T8" fmla="*/ 26 w 48"/>
                <a:gd name="T9" fmla="*/ 3 h 29"/>
                <a:gd name="T10" fmla="*/ 3 w 48"/>
                <a:gd name="T11" fmla="*/ 3 h 29"/>
                <a:gd name="T12" fmla="*/ 2 w 48"/>
                <a:gd name="T13" fmla="*/ 14 h 29"/>
                <a:gd name="T14" fmla="*/ 0 w 48"/>
                <a:gd name="T15" fmla="*/ 23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8" h="29">
                  <a:moveTo>
                    <a:pt x="0" y="23"/>
                  </a:moveTo>
                  <a:lnTo>
                    <a:pt x="21" y="29"/>
                  </a:lnTo>
                  <a:lnTo>
                    <a:pt x="30" y="21"/>
                  </a:lnTo>
                  <a:lnTo>
                    <a:pt x="48" y="0"/>
                  </a:lnTo>
                  <a:lnTo>
                    <a:pt x="26" y="3"/>
                  </a:lnTo>
                  <a:lnTo>
                    <a:pt x="3" y="3"/>
                  </a:lnTo>
                  <a:lnTo>
                    <a:pt x="2" y="14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0" name="Freeform 129"/>
            <p:cNvSpPr>
              <a:spLocks/>
            </p:cNvSpPr>
            <p:nvPr>
              <p:custDataLst>
                <p:tags r:id="rId96"/>
              </p:custDataLst>
            </p:nvPr>
          </p:nvSpPr>
          <p:spPr bwMode="gray">
            <a:xfrm>
              <a:off x="4005866" y="3872811"/>
              <a:ext cx="129587" cy="111763"/>
            </a:xfrm>
            <a:custGeom>
              <a:avLst/>
              <a:gdLst>
                <a:gd name="T0" fmla="*/ 10 w 79"/>
                <a:gd name="T1" fmla="*/ 4 h 69"/>
                <a:gd name="T2" fmla="*/ 27 w 79"/>
                <a:gd name="T3" fmla="*/ 0 h 69"/>
                <a:gd name="T4" fmla="*/ 55 w 79"/>
                <a:gd name="T5" fmla="*/ 10 h 69"/>
                <a:gd name="T6" fmla="*/ 63 w 79"/>
                <a:gd name="T7" fmla="*/ 21 h 69"/>
                <a:gd name="T8" fmla="*/ 79 w 79"/>
                <a:gd name="T9" fmla="*/ 22 h 69"/>
                <a:gd name="T10" fmla="*/ 79 w 79"/>
                <a:gd name="T11" fmla="*/ 51 h 69"/>
                <a:gd name="T12" fmla="*/ 79 w 79"/>
                <a:gd name="T13" fmla="*/ 69 h 69"/>
                <a:gd name="T14" fmla="*/ 66 w 79"/>
                <a:gd name="T15" fmla="*/ 64 h 69"/>
                <a:gd name="T16" fmla="*/ 57 w 79"/>
                <a:gd name="T17" fmla="*/ 58 h 69"/>
                <a:gd name="T18" fmla="*/ 4 w 79"/>
                <a:gd name="T19" fmla="*/ 67 h 69"/>
                <a:gd name="T20" fmla="*/ 22 w 79"/>
                <a:gd name="T21" fmla="*/ 63 h 69"/>
                <a:gd name="T22" fmla="*/ 46 w 79"/>
                <a:gd name="T23" fmla="*/ 61 h 69"/>
                <a:gd name="T24" fmla="*/ 60 w 79"/>
                <a:gd name="T25" fmla="*/ 54 h 69"/>
                <a:gd name="T26" fmla="*/ 51 w 79"/>
                <a:gd name="T27" fmla="*/ 43 h 69"/>
                <a:gd name="T28" fmla="*/ 42 w 79"/>
                <a:gd name="T29" fmla="*/ 52 h 69"/>
                <a:gd name="T30" fmla="*/ 1 w 79"/>
                <a:gd name="T31" fmla="*/ 54 h 69"/>
                <a:gd name="T32" fmla="*/ 0 w 79"/>
                <a:gd name="T33" fmla="*/ 28 h 69"/>
                <a:gd name="T34" fmla="*/ 6 w 79"/>
                <a:gd name="T35" fmla="*/ 16 h 69"/>
                <a:gd name="T36" fmla="*/ 10 w 79"/>
                <a:gd name="T37" fmla="*/ 4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9" h="69">
                  <a:moveTo>
                    <a:pt x="10" y="4"/>
                  </a:moveTo>
                  <a:lnTo>
                    <a:pt x="27" y="0"/>
                  </a:lnTo>
                  <a:lnTo>
                    <a:pt x="55" y="10"/>
                  </a:lnTo>
                  <a:lnTo>
                    <a:pt x="63" y="21"/>
                  </a:lnTo>
                  <a:lnTo>
                    <a:pt x="79" y="22"/>
                  </a:lnTo>
                  <a:lnTo>
                    <a:pt x="79" y="51"/>
                  </a:lnTo>
                  <a:lnTo>
                    <a:pt x="79" y="69"/>
                  </a:lnTo>
                  <a:lnTo>
                    <a:pt x="66" y="64"/>
                  </a:lnTo>
                  <a:lnTo>
                    <a:pt x="57" y="58"/>
                  </a:lnTo>
                  <a:lnTo>
                    <a:pt x="4" y="67"/>
                  </a:lnTo>
                  <a:lnTo>
                    <a:pt x="22" y="63"/>
                  </a:lnTo>
                  <a:lnTo>
                    <a:pt x="46" y="61"/>
                  </a:lnTo>
                  <a:lnTo>
                    <a:pt x="60" y="54"/>
                  </a:lnTo>
                  <a:lnTo>
                    <a:pt x="51" y="43"/>
                  </a:lnTo>
                  <a:lnTo>
                    <a:pt x="42" y="52"/>
                  </a:lnTo>
                  <a:lnTo>
                    <a:pt x="1" y="54"/>
                  </a:lnTo>
                  <a:lnTo>
                    <a:pt x="0" y="28"/>
                  </a:lnTo>
                  <a:lnTo>
                    <a:pt x="6" y="16"/>
                  </a:lnTo>
                  <a:lnTo>
                    <a:pt x="10" y="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1" name="Freeform 130"/>
            <p:cNvSpPr>
              <a:spLocks/>
            </p:cNvSpPr>
            <p:nvPr>
              <p:custDataLst>
                <p:tags r:id="rId97"/>
              </p:custDataLst>
            </p:nvPr>
          </p:nvSpPr>
          <p:spPr bwMode="gray">
            <a:xfrm>
              <a:off x="5440238" y="3974045"/>
              <a:ext cx="48595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2" name="Freeform 131"/>
            <p:cNvSpPr>
              <a:spLocks/>
            </p:cNvSpPr>
            <p:nvPr>
              <p:custDataLst>
                <p:tags r:id="rId98"/>
              </p:custDataLst>
            </p:nvPr>
          </p:nvSpPr>
          <p:spPr bwMode="gray">
            <a:xfrm>
              <a:off x="5526897" y="3503509"/>
              <a:ext cx="50216" cy="51832"/>
            </a:xfrm>
            <a:custGeom>
              <a:avLst/>
              <a:gdLst>
                <a:gd name="T0" fmla="*/ 11 w 30"/>
                <a:gd name="T1" fmla="*/ 9 h 32"/>
                <a:gd name="T2" fmla="*/ 24 w 30"/>
                <a:gd name="T3" fmla="*/ 0 h 32"/>
                <a:gd name="T4" fmla="*/ 15 w 30"/>
                <a:gd name="T5" fmla="*/ 20 h 32"/>
                <a:gd name="T6" fmla="*/ 11 w 30"/>
                <a:gd name="T7" fmla="*/ 9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32">
                  <a:moveTo>
                    <a:pt x="11" y="9"/>
                  </a:moveTo>
                  <a:cubicBezTo>
                    <a:pt x="12" y="0"/>
                    <a:pt x="16" y="3"/>
                    <a:pt x="24" y="0"/>
                  </a:cubicBezTo>
                  <a:cubicBezTo>
                    <a:pt x="29" y="13"/>
                    <a:pt x="30" y="32"/>
                    <a:pt x="15" y="20"/>
                  </a:cubicBezTo>
                  <a:cubicBezTo>
                    <a:pt x="11" y="14"/>
                    <a:pt x="0" y="7"/>
                    <a:pt x="11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3" name="Freeform 132"/>
            <p:cNvSpPr>
              <a:spLocks/>
            </p:cNvSpPr>
            <p:nvPr>
              <p:custDataLst>
                <p:tags r:id="rId99"/>
              </p:custDataLst>
            </p:nvPr>
          </p:nvSpPr>
          <p:spPr bwMode="gray">
            <a:xfrm>
              <a:off x="6134336" y="3134207"/>
              <a:ext cx="207340" cy="116622"/>
            </a:xfrm>
            <a:custGeom>
              <a:avLst/>
              <a:gdLst>
                <a:gd name="T0" fmla="*/ 10 w 126"/>
                <a:gd name="T1" fmla="*/ 15 h 72"/>
                <a:gd name="T2" fmla="*/ 22 w 126"/>
                <a:gd name="T3" fmla="*/ 7 h 72"/>
                <a:gd name="T4" fmla="*/ 40 w 126"/>
                <a:gd name="T5" fmla="*/ 15 h 72"/>
                <a:gd name="T6" fmla="*/ 48 w 126"/>
                <a:gd name="T7" fmla="*/ 7 h 72"/>
                <a:gd name="T8" fmla="*/ 58 w 126"/>
                <a:gd name="T9" fmla="*/ 0 h 72"/>
                <a:gd name="T10" fmla="*/ 84 w 126"/>
                <a:gd name="T11" fmla="*/ 9 h 72"/>
                <a:gd name="T12" fmla="*/ 108 w 126"/>
                <a:gd name="T13" fmla="*/ 6 h 72"/>
                <a:gd name="T14" fmla="*/ 124 w 126"/>
                <a:gd name="T15" fmla="*/ 9 h 72"/>
                <a:gd name="T16" fmla="*/ 126 w 126"/>
                <a:gd name="T17" fmla="*/ 19 h 72"/>
                <a:gd name="T18" fmla="*/ 108 w 126"/>
                <a:gd name="T19" fmla="*/ 39 h 72"/>
                <a:gd name="T20" fmla="*/ 85 w 126"/>
                <a:gd name="T21" fmla="*/ 52 h 72"/>
                <a:gd name="T22" fmla="*/ 73 w 126"/>
                <a:gd name="T23" fmla="*/ 55 h 72"/>
                <a:gd name="T24" fmla="*/ 52 w 126"/>
                <a:gd name="T25" fmla="*/ 60 h 72"/>
                <a:gd name="T26" fmla="*/ 51 w 126"/>
                <a:gd name="T27" fmla="*/ 72 h 72"/>
                <a:gd name="T28" fmla="*/ 9 w 126"/>
                <a:gd name="T29" fmla="*/ 70 h 72"/>
                <a:gd name="T30" fmla="*/ 0 w 126"/>
                <a:gd name="T31" fmla="*/ 51 h 72"/>
                <a:gd name="T32" fmla="*/ 25 w 126"/>
                <a:gd name="T33" fmla="*/ 51 h 72"/>
                <a:gd name="T34" fmla="*/ 34 w 126"/>
                <a:gd name="T35" fmla="*/ 36 h 72"/>
                <a:gd name="T36" fmla="*/ 28 w 126"/>
                <a:gd name="T37" fmla="*/ 28 h 72"/>
                <a:gd name="T38" fmla="*/ 22 w 126"/>
                <a:gd name="T39" fmla="*/ 25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6" h="72">
                  <a:moveTo>
                    <a:pt x="10" y="15"/>
                  </a:moveTo>
                  <a:lnTo>
                    <a:pt x="22" y="7"/>
                  </a:lnTo>
                  <a:lnTo>
                    <a:pt x="40" y="15"/>
                  </a:lnTo>
                  <a:lnTo>
                    <a:pt x="48" y="7"/>
                  </a:lnTo>
                  <a:lnTo>
                    <a:pt x="58" y="0"/>
                  </a:lnTo>
                  <a:lnTo>
                    <a:pt x="84" y="9"/>
                  </a:lnTo>
                  <a:lnTo>
                    <a:pt x="108" y="6"/>
                  </a:lnTo>
                  <a:lnTo>
                    <a:pt x="124" y="9"/>
                  </a:lnTo>
                  <a:lnTo>
                    <a:pt x="126" y="19"/>
                  </a:lnTo>
                  <a:lnTo>
                    <a:pt x="108" y="39"/>
                  </a:lnTo>
                  <a:lnTo>
                    <a:pt x="85" y="52"/>
                  </a:lnTo>
                  <a:lnTo>
                    <a:pt x="73" y="55"/>
                  </a:lnTo>
                  <a:lnTo>
                    <a:pt x="52" y="60"/>
                  </a:lnTo>
                  <a:lnTo>
                    <a:pt x="51" y="72"/>
                  </a:lnTo>
                  <a:lnTo>
                    <a:pt x="9" y="70"/>
                  </a:lnTo>
                  <a:lnTo>
                    <a:pt x="0" y="51"/>
                  </a:lnTo>
                  <a:lnTo>
                    <a:pt x="25" y="51"/>
                  </a:lnTo>
                  <a:lnTo>
                    <a:pt x="34" y="36"/>
                  </a:lnTo>
                  <a:lnTo>
                    <a:pt x="28" y="28"/>
                  </a:lnTo>
                  <a:lnTo>
                    <a:pt x="22" y="25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4" name="Freeform 133"/>
            <p:cNvSpPr>
              <a:spLocks/>
            </p:cNvSpPr>
            <p:nvPr>
              <p:custDataLst>
                <p:tags r:id="rId100"/>
              </p:custDataLst>
            </p:nvPr>
          </p:nvSpPr>
          <p:spPr bwMode="gray">
            <a:xfrm>
              <a:off x="6375694" y="3516467"/>
              <a:ext cx="210579" cy="111763"/>
            </a:xfrm>
            <a:custGeom>
              <a:avLst/>
              <a:gdLst>
                <a:gd name="T0" fmla="*/ 17 w 127"/>
                <a:gd name="T1" fmla="*/ 1 h 69"/>
                <a:gd name="T2" fmla="*/ 8 w 127"/>
                <a:gd name="T3" fmla="*/ 16 h 69"/>
                <a:gd name="T4" fmla="*/ 2 w 127"/>
                <a:gd name="T5" fmla="*/ 25 h 69"/>
                <a:gd name="T6" fmla="*/ 20 w 127"/>
                <a:gd name="T7" fmla="*/ 29 h 69"/>
                <a:gd name="T8" fmla="*/ 29 w 127"/>
                <a:gd name="T9" fmla="*/ 38 h 69"/>
                <a:gd name="T10" fmla="*/ 42 w 127"/>
                <a:gd name="T11" fmla="*/ 41 h 69"/>
                <a:gd name="T12" fmla="*/ 64 w 127"/>
                <a:gd name="T13" fmla="*/ 53 h 69"/>
                <a:gd name="T14" fmla="*/ 80 w 127"/>
                <a:gd name="T15" fmla="*/ 61 h 69"/>
                <a:gd name="T16" fmla="*/ 92 w 127"/>
                <a:gd name="T17" fmla="*/ 59 h 69"/>
                <a:gd name="T18" fmla="*/ 117 w 127"/>
                <a:gd name="T19" fmla="*/ 67 h 69"/>
                <a:gd name="T20" fmla="*/ 123 w 127"/>
                <a:gd name="T21" fmla="*/ 47 h 69"/>
                <a:gd name="T22" fmla="*/ 125 w 127"/>
                <a:gd name="T23" fmla="*/ 37 h 69"/>
                <a:gd name="T24" fmla="*/ 111 w 127"/>
                <a:gd name="T25" fmla="*/ 37 h 69"/>
                <a:gd name="T26" fmla="*/ 93 w 127"/>
                <a:gd name="T27" fmla="*/ 29 h 69"/>
                <a:gd name="T28" fmla="*/ 71 w 127"/>
                <a:gd name="T29" fmla="*/ 19 h 69"/>
                <a:gd name="T30" fmla="*/ 54 w 127"/>
                <a:gd name="T31" fmla="*/ 11 h 69"/>
                <a:gd name="T32" fmla="*/ 33 w 127"/>
                <a:gd name="T33" fmla="*/ 2 h 69"/>
                <a:gd name="T34" fmla="*/ 17 w 127"/>
                <a:gd name="T35" fmla="*/ 1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27" h="69">
                  <a:moveTo>
                    <a:pt x="17" y="1"/>
                  </a:moveTo>
                  <a:cubicBezTo>
                    <a:pt x="12" y="4"/>
                    <a:pt x="10" y="12"/>
                    <a:pt x="8" y="16"/>
                  </a:cubicBezTo>
                  <a:cubicBezTo>
                    <a:pt x="6" y="20"/>
                    <a:pt x="0" y="23"/>
                    <a:pt x="2" y="25"/>
                  </a:cubicBezTo>
                  <a:cubicBezTo>
                    <a:pt x="4" y="27"/>
                    <a:pt x="16" y="27"/>
                    <a:pt x="20" y="29"/>
                  </a:cubicBezTo>
                  <a:cubicBezTo>
                    <a:pt x="24" y="31"/>
                    <a:pt x="25" y="36"/>
                    <a:pt x="29" y="38"/>
                  </a:cubicBezTo>
                  <a:cubicBezTo>
                    <a:pt x="33" y="40"/>
                    <a:pt x="36" y="39"/>
                    <a:pt x="42" y="41"/>
                  </a:cubicBezTo>
                  <a:cubicBezTo>
                    <a:pt x="48" y="43"/>
                    <a:pt x="58" y="50"/>
                    <a:pt x="64" y="53"/>
                  </a:cubicBezTo>
                  <a:cubicBezTo>
                    <a:pt x="70" y="56"/>
                    <a:pt x="75" y="60"/>
                    <a:pt x="80" y="61"/>
                  </a:cubicBezTo>
                  <a:cubicBezTo>
                    <a:pt x="85" y="62"/>
                    <a:pt x="86" y="58"/>
                    <a:pt x="92" y="59"/>
                  </a:cubicBezTo>
                  <a:cubicBezTo>
                    <a:pt x="98" y="60"/>
                    <a:pt x="112" y="69"/>
                    <a:pt x="117" y="67"/>
                  </a:cubicBezTo>
                  <a:cubicBezTo>
                    <a:pt x="122" y="65"/>
                    <a:pt x="122" y="52"/>
                    <a:pt x="123" y="47"/>
                  </a:cubicBezTo>
                  <a:cubicBezTo>
                    <a:pt x="124" y="42"/>
                    <a:pt x="127" y="39"/>
                    <a:pt x="125" y="37"/>
                  </a:cubicBezTo>
                  <a:cubicBezTo>
                    <a:pt x="123" y="35"/>
                    <a:pt x="116" y="38"/>
                    <a:pt x="111" y="37"/>
                  </a:cubicBezTo>
                  <a:cubicBezTo>
                    <a:pt x="106" y="36"/>
                    <a:pt x="100" y="32"/>
                    <a:pt x="93" y="29"/>
                  </a:cubicBezTo>
                  <a:cubicBezTo>
                    <a:pt x="86" y="26"/>
                    <a:pt x="77" y="22"/>
                    <a:pt x="71" y="19"/>
                  </a:cubicBezTo>
                  <a:cubicBezTo>
                    <a:pt x="65" y="16"/>
                    <a:pt x="60" y="14"/>
                    <a:pt x="54" y="11"/>
                  </a:cubicBezTo>
                  <a:cubicBezTo>
                    <a:pt x="48" y="8"/>
                    <a:pt x="39" y="4"/>
                    <a:pt x="33" y="2"/>
                  </a:cubicBezTo>
                  <a:cubicBezTo>
                    <a:pt x="27" y="0"/>
                    <a:pt x="20" y="1"/>
                    <a:pt x="17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5" name="Freeform 134"/>
            <p:cNvSpPr>
              <a:spLocks/>
            </p:cNvSpPr>
            <p:nvPr>
              <p:custDataLst>
                <p:tags r:id="rId101"/>
              </p:custDataLst>
            </p:nvPr>
          </p:nvSpPr>
          <p:spPr bwMode="gray">
            <a:xfrm>
              <a:off x="6212089" y="2751948"/>
              <a:ext cx="1524270" cy="1078750"/>
            </a:xfrm>
            <a:custGeom>
              <a:avLst/>
              <a:gdLst>
                <a:gd name="T0" fmla="*/ 637 w 926"/>
                <a:gd name="T1" fmla="*/ 140 h 666"/>
                <a:gd name="T2" fmla="*/ 682 w 926"/>
                <a:gd name="T3" fmla="*/ 137 h 666"/>
                <a:gd name="T4" fmla="*/ 642 w 926"/>
                <a:gd name="T5" fmla="*/ 170 h 666"/>
                <a:gd name="T6" fmla="*/ 603 w 926"/>
                <a:gd name="T7" fmla="*/ 201 h 666"/>
                <a:gd name="T8" fmla="*/ 571 w 926"/>
                <a:gd name="T9" fmla="*/ 213 h 666"/>
                <a:gd name="T10" fmla="*/ 531 w 926"/>
                <a:gd name="T11" fmla="*/ 243 h 666"/>
                <a:gd name="T12" fmla="*/ 474 w 926"/>
                <a:gd name="T13" fmla="*/ 264 h 666"/>
                <a:gd name="T14" fmla="*/ 418 w 926"/>
                <a:gd name="T15" fmla="*/ 243 h 666"/>
                <a:gd name="T16" fmla="*/ 331 w 926"/>
                <a:gd name="T17" fmla="*/ 219 h 666"/>
                <a:gd name="T18" fmla="*/ 294 w 926"/>
                <a:gd name="T19" fmla="*/ 197 h 666"/>
                <a:gd name="T20" fmla="*/ 268 w 926"/>
                <a:gd name="T21" fmla="*/ 155 h 666"/>
                <a:gd name="T22" fmla="*/ 232 w 926"/>
                <a:gd name="T23" fmla="*/ 117 h 666"/>
                <a:gd name="T24" fmla="*/ 195 w 926"/>
                <a:gd name="T25" fmla="*/ 156 h 666"/>
                <a:gd name="T26" fmla="*/ 141 w 926"/>
                <a:gd name="T27" fmla="*/ 179 h 666"/>
                <a:gd name="T28" fmla="*/ 111 w 926"/>
                <a:gd name="T29" fmla="*/ 194 h 666"/>
                <a:gd name="T30" fmla="*/ 120 w 926"/>
                <a:gd name="T31" fmla="*/ 249 h 666"/>
                <a:gd name="T32" fmla="*/ 70 w 926"/>
                <a:gd name="T33" fmla="*/ 272 h 666"/>
                <a:gd name="T34" fmla="*/ 25 w 926"/>
                <a:gd name="T35" fmla="*/ 287 h 666"/>
                <a:gd name="T36" fmla="*/ 16 w 926"/>
                <a:gd name="T37" fmla="*/ 327 h 666"/>
                <a:gd name="T38" fmla="*/ 64 w 926"/>
                <a:gd name="T39" fmla="*/ 374 h 666"/>
                <a:gd name="T40" fmla="*/ 103 w 926"/>
                <a:gd name="T41" fmla="*/ 396 h 666"/>
                <a:gd name="T42" fmla="*/ 87 w 926"/>
                <a:gd name="T43" fmla="*/ 437 h 666"/>
                <a:gd name="T44" fmla="*/ 129 w 926"/>
                <a:gd name="T45" fmla="*/ 474 h 666"/>
                <a:gd name="T46" fmla="*/ 227 w 926"/>
                <a:gd name="T47" fmla="*/ 503 h 666"/>
                <a:gd name="T48" fmla="*/ 298 w 926"/>
                <a:gd name="T49" fmla="*/ 498 h 666"/>
                <a:gd name="T50" fmla="*/ 367 w 926"/>
                <a:gd name="T51" fmla="*/ 498 h 666"/>
                <a:gd name="T52" fmla="*/ 369 w 926"/>
                <a:gd name="T53" fmla="*/ 578 h 666"/>
                <a:gd name="T54" fmla="*/ 405 w 926"/>
                <a:gd name="T55" fmla="*/ 615 h 666"/>
                <a:gd name="T56" fmla="*/ 459 w 926"/>
                <a:gd name="T57" fmla="*/ 600 h 666"/>
                <a:gd name="T58" fmla="*/ 514 w 926"/>
                <a:gd name="T59" fmla="*/ 618 h 666"/>
                <a:gd name="T60" fmla="*/ 532 w 926"/>
                <a:gd name="T61" fmla="*/ 665 h 666"/>
                <a:gd name="T62" fmla="*/ 568 w 926"/>
                <a:gd name="T63" fmla="*/ 624 h 666"/>
                <a:gd name="T64" fmla="*/ 607 w 926"/>
                <a:gd name="T65" fmla="*/ 606 h 666"/>
                <a:gd name="T66" fmla="*/ 696 w 926"/>
                <a:gd name="T67" fmla="*/ 537 h 666"/>
                <a:gd name="T68" fmla="*/ 724 w 926"/>
                <a:gd name="T69" fmla="*/ 456 h 666"/>
                <a:gd name="T70" fmla="*/ 690 w 926"/>
                <a:gd name="T71" fmla="*/ 392 h 666"/>
                <a:gd name="T72" fmla="*/ 700 w 926"/>
                <a:gd name="T73" fmla="*/ 347 h 666"/>
                <a:gd name="T74" fmla="*/ 660 w 926"/>
                <a:gd name="T75" fmla="*/ 314 h 666"/>
                <a:gd name="T76" fmla="*/ 729 w 926"/>
                <a:gd name="T77" fmla="*/ 279 h 666"/>
                <a:gd name="T78" fmla="*/ 747 w 926"/>
                <a:gd name="T79" fmla="*/ 296 h 666"/>
                <a:gd name="T80" fmla="*/ 795 w 926"/>
                <a:gd name="T81" fmla="*/ 264 h 666"/>
                <a:gd name="T82" fmla="*/ 841 w 926"/>
                <a:gd name="T83" fmla="*/ 236 h 666"/>
                <a:gd name="T84" fmla="*/ 868 w 926"/>
                <a:gd name="T85" fmla="*/ 197 h 666"/>
                <a:gd name="T86" fmla="*/ 915 w 926"/>
                <a:gd name="T87" fmla="*/ 153 h 666"/>
                <a:gd name="T88" fmla="*/ 858 w 926"/>
                <a:gd name="T89" fmla="*/ 128 h 666"/>
                <a:gd name="T90" fmla="*/ 807 w 926"/>
                <a:gd name="T91" fmla="*/ 59 h 666"/>
                <a:gd name="T92" fmla="*/ 700 w 926"/>
                <a:gd name="T93" fmla="*/ 14 h 666"/>
                <a:gd name="T94" fmla="*/ 691 w 926"/>
                <a:gd name="T95" fmla="*/ 87 h 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926" h="666">
                  <a:moveTo>
                    <a:pt x="640" y="99"/>
                  </a:moveTo>
                  <a:cubicBezTo>
                    <a:pt x="637" y="101"/>
                    <a:pt x="635" y="112"/>
                    <a:pt x="634" y="116"/>
                  </a:cubicBezTo>
                  <a:cubicBezTo>
                    <a:pt x="633" y="120"/>
                    <a:pt x="636" y="122"/>
                    <a:pt x="636" y="126"/>
                  </a:cubicBezTo>
                  <a:cubicBezTo>
                    <a:pt x="636" y="130"/>
                    <a:pt x="636" y="139"/>
                    <a:pt x="637" y="140"/>
                  </a:cubicBezTo>
                  <a:cubicBezTo>
                    <a:pt x="638" y="141"/>
                    <a:pt x="641" y="132"/>
                    <a:pt x="645" y="132"/>
                  </a:cubicBezTo>
                  <a:cubicBezTo>
                    <a:pt x="649" y="132"/>
                    <a:pt x="657" y="142"/>
                    <a:pt x="661" y="141"/>
                  </a:cubicBezTo>
                  <a:cubicBezTo>
                    <a:pt x="665" y="140"/>
                    <a:pt x="667" y="129"/>
                    <a:pt x="670" y="128"/>
                  </a:cubicBezTo>
                  <a:cubicBezTo>
                    <a:pt x="673" y="127"/>
                    <a:pt x="679" y="132"/>
                    <a:pt x="682" y="137"/>
                  </a:cubicBezTo>
                  <a:cubicBezTo>
                    <a:pt x="685" y="142"/>
                    <a:pt x="694" y="154"/>
                    <a:pt x="691" y="158"/>
                  </a:cubicBezTo>
                  <a:cubicBezTo>
                    <a:pt x="688" y="162"/>
                    <a:pt x="672" y="160"/>
                    <a:pt x="666" y="161"/>
                  </a:cubicBezTo>
                  <a:cubicBezTo>
                    <a:pt x="660" y="162"/>
                    <a:pt x="658" y="163"/>
                    <a:pt x="654" y="164"/>
                  </a:cubicBezTo>
                  <a:cubicBezTo>
                    <a:pt x="650" y="165"/>
                    <a:pt x="645" y="167"/>
                    <a:pt x="642" y="170"/>
                  </a:cubicBezTo>
                  <a:cubicBezTo>
                    <a:pt x="639" y="173"/>
                    <a:pt x="638" y="182"/>
                    <a:pt x="634" y="185"/>
                  </a:cubicBezTo>
                  <a:cubicBezTo>
                    <a:pt x="630" y="188"/>
                    <a:pt x="624" y="185"/>
                    <a:pt x="621" y="186"/>
                  </a:cubicBezTo>
                  <a:cubicBezTo>
                    <a:pt x="618" y="187"/>
                    <a:pt x="616" y="192"/>
                    <a:pt x="613" y="194"/>
                  </a:cubicBezTo>
                  <a:cubicBezTo>
                    <a:pt x="610" y="196"/>
                    <a:pt x="607" y="201"/>
                    <a:pt x="603" y="201"/>
                  </a:cubicBezTo>
                  <a:cubicBezTo>
                    <a:pt x="599" y="201"/>
                    <a:pt x="593" y="196"/>
                    <a:pt x="589" y="195"/>
                  </a:cubicBezTo>
                  <a:cubicBezTo>
                    <a:pt x="585" y="194"/>
                    <a:pt x="579" y="191"/>
                    <a:pt x="576" y="192"/>
                  </a:cubicBezTo>
                  <a:cubicBezTo>
                    <a:pt x="573" y="193"/>
                    <a:pt x="571" y="197"/>
                    <a:pt x="570" y="200"/>
                  </a:cubicBezTo>
                  <a:cubicBezTo>
                    <a:pt x="569" y="203"/>
                    <a:pt x="571" y="208"/>
                    <a:pt x="571" y="213"/>
                  </a:cubicBezTo>
                  <a:cubicBezTo>
                    <a:pt x="571" y="218"/>
                    <a:pt x="570" y="224"/>
                    <a:pt x="568" y="228"/>
                  </a:cubicBezTo>
                  <a:cubicBezTo>
                    <a:pt x="566" y="232"/>
                    <a:pt x="563" y="233"/>
                    <a:pt x="559" y="236"/>
                  </a:cubicBezTo>
                  <a:cubicBezTo>
                    <a:pt x="555" y="239"/>
                    <a:pt x="549" y="245"/>
                    <a:pt x="544" y="246"/>
                  </a:cubicBezTo>
                  <a:cubicBezTo>
                    <a:pt x="539" y="247"/>
                    <a:pt x="536" y="242"/>
                    <a:pt x="531" y="243"/>
                  </a:cubicBezTo>
                  <a:cubicBezTo>
                    <a:pt x="526" y="244"/>
                    <a:pt x="521" y="248"/>
                    <a:pt x="516" y="249"/>
                  </a:cubicBezTo>
                  <a:cubicBezTo>
                    <a:pt x="511" y="250"/>
                    <a:pt x="503" y="248"/>
                    <a:pt x="498" y="249"/>
                  </a:cubicBezTo>
                  <a:cubicBezTo>
                    <a:pt x="493" y="250"/>
                    <a:pt x="490" y="252"/>
                    <a:pt x="486" y="255"/>
                  </a:cubicBezTo>
                  <a:cubicBezTo>
                    <a:pt x="482" y="258"/>
                    <a:pt x="479" y="263"/>
                    <a:pt x="474" y="264"/>
                  </a:cubicBezTo>
                  <a:cubicBezTo>
                    <a:pt x="469" y="265"/>
                    <a:pt x="462" y="262"/>
                    <a:pt x="457" y="261"/>
                  </a:cubicBezTo>
                  <a:cubicBezTo>
                    <a:pt x="452" y="260"/>
                    <a:pt x="448" y="257"/>
                    <a:pt x="444" y="255"/>
                  </a:cubicBezTo>
                  <a:cubicBezTo>
                    <a:pt x="440" y="253"/>
                    <a:pt x="439" y="248"/>
                    <a:pt x="435" y="246"/>
                  </a:cubicBezTo>
                  <a:cubicBezTo>
                    <a:pt x="431" y="244"/>
                    <a:pt x="424" y="243"/>
                    <a:pt x="418" y="243"/>
                  </a:cubicBezTo>
                  <a:cubicBezTo>
                    <a:pt x="412" y="243"/>
                    <a:pt x="409" y="243"/>
                    <a:pt x="400" y="243"/>
                  </a:cubicBezTo>
                  <a:cubicBezTo>
                    <a:pt x="391" y="243"/>
                    <a:pt x="372" y="244"/>
                    <a:pt x="364" y="243"/>
                  </a:cubicBezTo>
                  <a:cubicBezTo>
                    <a:pt x="356" y="242"/>
                    <a:pt x="357" y="243"/>
                    <a:pt x="352" y="239"/>
                  </a:cubicBezTo>
                  <a:cubicBezTo>
                    <a:pt x="347" y="235"/>
                    <a:pt x="334" y="224"/>
                    <a:pt x="331" y="219"/>
                  </a:cubicBezTo>
                  <a:cubicBezTo>
                    <a:pt x="328" y="214"/>
                    <a:pt x="336" y="208"/>
                    <a:pt x="334" y="206"/>
                  </a:cubicBezTo>
                  <a:cubicBezTo>
                    <a:pt x="332" y="204"/>
                    <a:pt x="324" y="208"/>
                    <a:pt x="321" y="206"/>
                  </a:cubicBezTo>
                  <a:cubicBezTo>
                    <a:pt x="318" y="204"/>
                    <a:pt x="316" y="196"/>
                    <a:pt x="312" y="195"/>
                  </a:cubicBezTo>
                  <a:cubicBezTo>
                    <a:pt x="308" y="194"/>
                    <a:pt x="299" y="198"/>
                    <a:pt x="294" y="197"/>
                  </a:cubicBezTo>
                  <a:cubicBezTo>
                    <a:pt x="289" y="196"/>
                    <a:pt x="286" y="192"/>
                    <a:pt x="282" y="191"/>
                  </a:cubicBezTo>
                  <a:cubicBezTo>
                    <a:pt x="278" y="190"/>
                    <a:pt x="272" y="194"/>
                    <a:pt x="270" y="191"/>
                  </a:cubicBezTo>
                  <a:cubicBezTo>
                    <a:pt x="268" y="188"/>
                    <a:pt x="267" y="179"/>
                    <a:pt x="267" y="173"/>
                  </a:cubicBezTo>
                  <a:cubicBezTo>
                    <a:pt x="267" y="167"/>
                    <a:pt x="269" y="160"/>
                    <a:pt x="268" y="155"/>
                  </a:cubicBezTo>
                  <a:cubicBezTo>
                    <a:pt x="267" y="150"/>
                    <a:pt x="264" y="147"/>
                    <a:pt x="261" y="143"/>
                  </a:cubicBezTo>
                  <a:cubicBezTo>
                    <a:pt x="258" y="139"/>
                    <a:pt x="256" y="131"/>
                    <a:pt x="252" y="129"/>
                  </a:cubicBezTo>
                  <a:cubicBezTo>
                    <a:pt x="248" y="127"/>
                    <a:pt x="241" y="131"/>
                    <a:pt x="238" y="129"/>
                  </a:cubicBezTo>
                  <a:cubicBezTo>
                    <a:pt x="235" y="127"/>
                    <a:pt x="234" y="120"/>
                    <a:pt x="232" y="117"/>
                  </a:cubicBezTo>
                  <a:cubicBezTo>
                    <a:pt x="230" y="114"/>
                    <a:pt x="227" y="108"/>
                    <a:pt x="223" y="108"/>
                  </a:cubicBezTo>
                  <a:cubicBezTo>
                    <a:pt x="219" y="108"/>
                    <a:pt x="215" y="117"/>
                    <a:pt x="210" y="120"/>
                  </a:cubicBezTo>
                  <a:cubicBezTo>
                    <a:pt x="205" y="123"/>
                    <a:pt x="194" y="119"/>
                    <a:pt x="192" y="125"/>
                  </a:cubicBezTo>
                  <a:cubicBezTo>
                    <a:pt x="190" y="131"/>
                    <a:pt x="197" y="152"/>
                    <a:pt x="195" y="156"/>
                  </a:cubicBezTo>
                  <a:cubicBezTo>
                    <a:pt x="193" y="160"/>
                    <a:pt x="186" y="150"/>
                    <a:pt x="180" y="149"/>
                  </a:cubicBezTo>
                  <a:cubicBezTo>
                    <a:pt x="174" y="148"/>
                    <a:pt x="165" y="149"/>
                    <a:pt x="160" y="150"/>
                  </a:cubicBezTo>
                  <a:cubicBezTo>
                    <a:pt x="155" y="151"/>
                    <a:pt x="151" y="148"/>
                    <a:pt x="148" y="153"/>
                  </a:cubicBezTo>
                  <a:cubicBezTo>
                    <a:pt x="145" y="158"/>
                    <a:pt x="142" y="171"/>
                    <a:pt x="141" y="179"/>
                  </a:cubicBezTo>
                  <a:cubicBezTo>
                    <a:pt x="140" y="187"/>
                    <a:pt x="146" y="202"/>
                    <a:pt x="145" y="203"/>
                  </a:cubicBezTo>
                  <a:cubicBezTo>
                    <a:pt x="144" y="204"/>
                    <a:pt x="138" y="188"/>
                    <a:pt x="136" y="186"/>
                  </a:cubicBezTo>
                  <a:cubicBezTo>
                    <a:pt x="134" y="184"/>
                    <a:pt x="136" y="188"/>
                    <a:pt x="132" y="189"/>
                  </a:cubicBezTo>
                  <a:cubicBezTo>
                    <a:pt x="128" y="190"/>
                    <a:pt x="115" y="192"/>
                    <a:pt x="111" y="194"/>
                  </a:cubicBezTo>
                  <a:cubicBezTo>
                    <a:pt x="107" y="196"/>
                    <a:pt x="107" y="198"/>
                    <a:pt x="108" y="204"/>
                  </a:cubicBezTo>
                  <a:cubicBezTo>
                    <a:pt x="109" y="210"/>
                    <a:pt x="118" y="228"/>
                    <a:pt x="118" y="233"/>
                  </a:cubicBezTo>
                  <a:cubicBezTo>
                    <a:pt x="118" y="238"/>
                    <a:pt x="109" y="234"/>
                    <a:pt x="109" y="237"/>
                  </a:cubicBezTo>
                  <a:cubicBezTo>
                    <a:pt x="109" y="240"/>
                    <a:pt x="120" y="246"/>
                    <a:pt x="120" y="249"/>
                  </a:cubicBezTo>
                  <a:cubicBezTo>
                    <a:pt x="120" y="252"/>
                    <a:pt x="116" y="256"/>
                    <a:pt x="111" y="258"/>
                  </a:cubicBezTo>
                  <a:cubicBezTo>
                    <a:pt x="106" y="260"/>
                    <a:pt x="96" y="262"/>
                    <a:pt x="91" y="264"/>
                  </a:cubicBezTo>
                  <a:cubicBezTo>
                    <a:pt x="86" y="266"/>
                    <a:pt x="84" y="268"/>
                    <a:pt x="81" y="269"/>
                  </a:cubicBezTo>
                  <a:cubicBezTo>
                    <a:pt x="78" y="270"/>
                    <a:pt x="74" y="271"/>
                    <a:pt x="70" y="272"/>
                  </a:cubicBezTo>
                  <a:cubicBezTo>
                    <a:pt x="66" y="273"/>
                    <a:pt x="61" y="273"/>
                    <a:pt x="57" y="276"/>
                  </a:cubicBezTo>
                  <a:cubicBezTo>
                    <a:pt x="53" y="279"/>
                    <a:pt x="51" y="288"/>
                    <a:pt x="48" y="290"/>
                  </a:cubicBezTo>
                  <a:cubicBezTo>
                    <a:pt x="45" y="292"/>
                    <a:pt x="40" y="287"/>
                    <a:pt x="36" y="287"/>
                  </a:cubicBezTo>
                  <a:cubicBezTo>
                    <a:pt x="32" y="287"/>
                    <a:pt x="30" y="285"/>
                    <a:pt x="25" y="287"/>
                  </a:cubicBezTo>
                  <a:cubicBezTo>
                    <a:pt x="20" y="289"/>
                    <a:pt x="6" y="295"/>
                    <a:pt x="3" y="299"/>
                  </a:cubicBezTo>
                  <a:cubicBezTo>
                    <a:pt x="0" y="303"/>
                    <a:pt x="7" y="307"/>
                    <a:pt x="7" y="311"/>
                  </a:cubicBezTo>
                  <a:cubicBezTo>
                    <a:pt x="7" y="315"/>
                    <a:pt x="2" y="318"/>
                    <a:pt x="4" y="321"/>
                  </a:cubicBezTo>
                  <a:cubicBezTo>
                    <a:pt x="6" y="324"/>
                    <a:pt x="12" y="325"/>
                    <a:pt x="16" y="327"/>
                  </a:cubicBezTo>
                  <a:cubicBezTo>
                    <a:pt x="20" y="329"/>
                    <a:pt x="27" y="330"/>
                    <a:pt x="30" y="335"/>
                  </a:cubicBezTo>
                  <a:cubicBezTo>
                    <a:pt x="33" y="340"/>
                    <a:pt x="33" y="351"/>
                    <a:pt x="37" y="356"/>
                  </a:cubicBezTo>
                  <a:cubicBezTo>
                    <a:pt x="41" y="361"/>
                    <a:pt x="51" y="360"/>
                    <a:pt x="55" y="363"/>
                  </a:cubicBezTo>
                  <a:cubicBezTo>
                    <a:pt x="59" y="366"/>
                    <a:pt x="58" y="373"/>
                    <a:pt x="64" y="374"/>
                  </a:cubicBezTo>
                  <a:cubicBezTo>
                    <a:pt x="70" y="375"/>
                    <a:pt x="84" y="372"/>
                    <a:pt x="89" y="371"/>
                  </a:cubicBezTo>
                  <a:cubicBezTo>
                    <a:pt x="94" y="370"/>
                    <a:pt x="94" y="365"/>
                    <a:pt x="97" y="366"/>
                  </a:cubicBezTo>
                  <a:cubicBezTo>
                    <a:pt x="100" y="367"/>
                    <a:pt x="105" y="375"/>
                    <a:pt x="106" y="380"/>
                  </a:cubicBezTo>
                  <a:cubicBezTo>
                    <a:pt x="107" y="385"/>
                    <a:pt x="105" y="391"/>
                    <a:pt x="103" y="396"/>
                  </a:cubicBezTo>
                  <a:cubicBezTo>
                    <a:pt x="101" y="401"/>
                    <a:pt x="92" y="409"/>
                    <a:pt x="91" y="413"/>
                  </a:cubicBezTo>
                  <a:cubicBezTo>
                    <a:pt x="90" y="417"/>
                    <a:pt x="96" y="416"/>
                    <a:pt x="97" y="419"/>
                  </a:cubicBezTo>
                  <a:cubicBezTo>
                    <a:pt x="98" y="422"/>
                    <a:pt x="101" y="426"/>
                    <a:pt x="99" y="429"/>
                  </a:cubicBezTo>
                  <a:cubicBezTo>
                    <a:pt x="97" y="432"/>
                    <a:pt x="88" y="433"/>
                    <a:pt x="87" y="437"/>
                  </a:cubicBezTo>
                  <a:cubicBezTo>
                    <a:pt x="86" y="441"/>
                    <a:pt x="88" y="448"/>
                    <a:pt x="90" y="452"/>
                  </a:cubicBezTo>
                  <a:cubicBezTo>
                    <a:pt x="92" y="456"/>
                    <a:pt x="94" y="458"/>
                    <a:pt x="99" y="462"/>
                  </a:cubicBezTo>
                  <a:cubicBezTo>
                    <a:pt x="104" y="466"/>
                    <a:pt x="113" y="471"/>
                    <a:pt x="118" y="473"/>
                  </a:cubicBezTo>
                  <a:cubicBezTo>
                    <a:pt x="123" y="475"/>
                    <a:pt x="124" y="472"/>
                    <a:pt x="129" y="474"/>
                  </a:cubicBezTo>
                  <a:cubicBezTo>
                    <a:pt x="134" y="476"/>
                    <a:pt x="136" y="478"/>
                    <a:pt x="148" y="483"/>
                  </a:cubicBezTo>
                  <a:cubicBezTo>
                    <a:pt x="160" y="488"/>
                    <a:pt x="192" y="500"/>
                    <a:pt x="203" y="504"/>
                  </a:cubicBezTo>
                  <a:cubicBezTo>
                    <a:pt x="214" y="508"/>
                    <a:pt x="213" y="510"/>
                    <a:pt x="217" y="510"/>
                  </a:cubicBezTo>
                  <a:cubicBezTo>
                    <a:pt x="221" y="510"/>
                    <a:pt x="222" y="504"/>
                    <a:pt x="227" y="503"/>
                  </a:cubicBezTo>
                  <a:cubicBezTo>
                    <a:pt x="232" y="502"/>
                    <a:pt x="242" y="506"/>
                    <a:pt x="249" y="506"/>
                  </a:cubicBezTo>
                  <a:cubicBezTo>
                    <a:pt x="256" y="506"/>
                    <a:pt x="263" y="504"/>
                    <a:pt x="268" y="506"/>
                  </a:cubicBezTo>
                  <a:cubicBezTo>
                    <a:pt x="273" y="508"/>
                    <a:pt x="274" y="517"/>
                    <a:pt x="279" y="516"/>
                  </a:cubicBezTo>
                  <a:cubicBezTo>
                    <a:pt x="284" y="515"/>
                    <a:pt x="291" y="502"/>
                    <a:pt x="298" y="498"/>
                  </a:cubicBezTo>
                  <a:cubicBezTo>
                    <a:pt x="305" y="494"/>
                    <a:pt x="314" y="494"/>
                    <a:pt x="319" y="492"/>
                  </a:cubicBezTo>
                  <a:cubicBezTo>
                    <a:pt x="324" y="490"/>
                    <a:pt x="324" y="488"/>
                    <a:pt x="328" y="488"/>
                  </a:cubicBezTo>
                  <a:cubicBezTo>
                    <a:pt x="332" y="488"/>
                    <a:pt x="339" y="490"/>
                    <a:pt x="345" y="492"/>
                  </a:cubicBezTo>
                  <a:cubicBezTo>
                    <a:pt x="351" y="494"/>
                    <a:pt x="361" y="494"/>
                    <a:pt x="367" y="498"/>
                  </a:cubicBezTo>
                  <a:cubicBezTo>
                    <a:pt x="373" y="502"/>
                    <a:pt x="378" y="508"/>
                    <a:pt x="381" y="516"/>
                  </a:cubicBezTo>
                  <a:cubicBezTo>
                    <a:pt x="384" y="524"/>
                    <a:pt x="386" y="539"/>
                    <a:pt x="384" y="546"/>
                  </a:cubicBezTo>
                  <a:cubicBezTo>
                    <a:pt x="382" y="553"/>
                    <a:pt x="371" y="556"/>
                    <a:pt x="369" y="561"/>
                  </a:cubicBezTo>
                  <a:cubicBezTo>
                    <a:pt x="367" y="566"/>
                    <a:pt x="367" y="576"/>
                    <a:pt x="369" y="578"/>
                  </a:cubicBezTo>
                  <a:cubicBezTo>
                    <a:pt x="371" y="580"/>
                    <a:pt x="376" y="571"/>
                    <a:pt x="379" y="573"/>
                  </a:cubicBezTo>
                  <a:cubicBezTo>
                    <a:pt x="382" y="575"/>
                    <a:pt x="385" y="586"/>
                    <a:pt x="388" y="590"/>
                  </a:cubicBezTo>
                  <a:cubicBezTo>
                    <a:pt x="391" y="594"/>
                    <a:pt x="391" y="595"/>
                    <a:pt x="394" y="599"/>
                  </a:cubicBezTo>
                  <a:cubicBezTo>
                    <a:pt x="397" y="603"/>
                    <a:pt x="401" y="612"/>
                    <a:pt x="405" y="615"/>
                  </a:cubicBezTo>
                  <a:cubicBezTo>
                    <a:pt x="409" y="618"/>
                    <a:pt x="415" y="618"/>
                    <a:pt x="420" y="615"/>
                  </a:cubicBezTo>
                  <a:cubicBezTo>
                    <a:pt x="425" y="612"/>
                    <a:pt x="431" y="600"/>
                    <a:pt x="435" y="596"/>
                  </a:cubicBezTo>
                  <a:cubicBezTo>
                    <a:pt x="439" y="592"/>
                    <a:pt x="440" y="589"/>
                    <a:pt x="444" y="590"/>
                  </a:cubicBezTo>
                  <a:cubicBezTo>
                    <a:pt x="448" y="591"/>
                    <a:pt x="453" y="600"/>
                    <a:pt x="459" y="600"/>
                  </a:cubicBezTo>
                  <a:cubicBezTo>
                    <a:pt x="465" y="600"/>
                    <a:pt x="474" y="589"/>
                    <a:pt x="480" y="588"/>
                  </a:cubicBezTo>
                  <a:cubicBezTo>
                    <a:pt x="486" y="587"/>
                    <a:pt x="490" y="591"/>
                    <a:pt x="495" y="594"/>
                  </a:cubicBezTo>
                  <a:cubicBezTo>
                    <a:pt x="500" y="597"/>
                    <a:pt x="505" y="604"/>
                    <a:pt x="508" y="608"/>
                  </a:cubicBezTo>
                  <a:cubicBezTo>
                    <a:pt x="511" y="612"/>
                    <a:pt x="511" y="616"/>
                    <a:pt x="514" y="618"/>
                  </a:cubicBezTo>
                  <a:cubicBezTo>
                    <a:pt x="517" y="620"/>
                    <a:pt x="524" y="618"/>
                    <a:pt x="529" y="621"/>
                  </a:cubicBezTo>
                  <a:cubicBezTo>
                    <a:pt x="534" y="624"/>
                    <a:pt x="543" y="633"/>
                    <a:pt x="543" y="638"/>
                  </a:cubicBezTo>
                  <a:cubicBezTo>
                    <a:pt x="543" y="643"/>
                    <a:pt x="533" y="650"/>
                    <a:pt x="531" y="654"/>
                  </a:cubicBezTo>
                  <a:cubicBezTo>
                    <a:pt x="529" y="658"/>
                    <a:pt x="529" y="664"/>
                    <a:pt x="532" y="665"/>
                  </a:cubicBezTo>
                  <a:cubicBezTo>
                    <a:pt x="535" y="666"/>
                    <a:pt x="543" y="663"/>
                    <a:pt x="547" y="663"/>
                  </a:cubicBezTo>
                  <a:cubicBezTo>
                    <a:pt x="551" y="663"/>
                    <a:pt x="552" y="666"/>
                    <a:pt x="555" y="662"/>
                  </a:cubicBezTo>
                  <a:cubicBezTo>
                    <a:pt x="558" y="658"/>
                    <a:pt x="565" y="642"/>
                    <a:pt x="567" y="636"/>
                  </a:cubicBezTo>
                  <a:cubicBezTo>
                    <a:pt x="569" y="630"/>
                    <a:pt x="564" y="627"/>
                    <a:pt x="568" y="624"/>
                  </a:cubicBezTo>
                  <a:cubicBezTo>
                    <a:pt x="572" y="621"/>
                    <a:pt x="584" y="619"/>
                    <a:pt x="589" y="615"/>
                  </a:cubicBezTo>
                  <a:cubicBezTo>
                    <a:pt x="594" y="611"/>
                    <a:pt x="595" y="604"/>
                    <a:pt x="597" y="600"/>
                  </a:cubicBezTo>
                  <a:cubicBezTo>
                    <a:pt x="599" y="596"/>
                    <a:pt x="599" y="589"/>
                    <a:pt x="601" y="590"/>
                  </a:cubicBezTo>
                  <a:cubicBezTo>
                    <a:pt x="603" y="591"/>
                    <a:pt x="603" y="605"/>
                    <a:pt x="607" y="606"/>
                  </a:cubicBezTo>
                  <a:cubicBezTo>
                    <a:pt x="611" y="607"/>
                    <a:pt x="616" y="599"/>
                    <a:pt x="624" y="596"/>
                  </a:cubicBezTo>
                  <a:cubicBezTo>
                    <a:pt x="632" y="593"/>
                    <a:pt x="644" y="592"/>
                    <a:pt x="654" y="585"/>
                  </a:cubicBezTo>
                  <a:cubicBezTo>
                    <a:pt x="664" y="578"/>
                    <a:pt x="677" y="565"/>
                    <a:pt x="684" y="557"/>
                  </a:cubicBezTo>
                  <a:cubicBezTo>
                    <a:pt x="691" y="549"/>
                    <a:pt x="690" y="546"/>
                    <a:pt x="696" y="537"/>
                  </a:cubicBezTo>
                  <a:cubicBezTo>
                    <a:pt x="702" y="528"/>
                    <a:pt x="712" y="515"/>
                    <a:pt x="718" y="503"/>
                  </a:cubicBezTo>
                  <a:cubicBezTo>
                    <a:pt x="724" y="491"/>
                    <a:pt x="735" y="472"/>
                    <a:pt x="733" y="467"/>
                  </a:cubicBezTo>
                  <a:cubicBezTo>
                    <a:pt x="731" y="462"/>
                    <a:pt x="709" y="475"/>
                    <a:pt x="708" y="473"/>
                  </a:cubicBezTo>
                  <a:cubicBezTo>
                    <a:pt x="707" y="471"/>
                    <a:pt x="723" y="461"/>
                    <a:pt x="724" y="456"/>
                  </a:cubicBezTo>
                  <a:cubicBezTo>
                    <a:pt x="725" y="451"/>
                    <a:pt x="718" y="450"/>
                    <a:pt x="715" y="444"/>
                  </a:cubicBezTo>
                  <a:cubicBezTo>
                    <a:pt x="712" y="438"/>
                    <a:pt x="710" y="423"/>
                    <a:pt x="708" y="417"/>
                  </a:cubicBezTo>
                  <a:cubicBezTo>
                    <a:pt x="706" y="411"/>
                    <a:pt x="705" y="411"/>
                    <a:pt x="702" y="407"/>
                  </a:cubicBezTo>
                  <a:cubicBezTo>
                    <a:pt x="699" y="403"/>
                    <a:pt x="690" y="399"/>
                    <a:pt x="690" y="392"/>
                  </a:cubicBezTo>
                  <a:cubicBezTo>
                    <a:pt x="690" y="385"/>
                    <a:pt x="698" y="373"/>
                    <a:pt x="705" y="365"/>
                  </a:cubicBezTo>
                  <a:cubicBezTo>
                    <a:pt x="712" y="357"/>
                    <a:pt x="732" y="350"/>
                    <a:pt x="733" y="345"/>
                  </a:cubicBezTo>
                  <a:cubicBezTo>
                    <a:pt x="734" y="340"/>
                    <a:pt x="719" y="336"/>
                    <a:pt x="714" y="336"/>
                  </a:cubicBezTo>
                  <a:cubicBezTo>
                    <a:pt x="709" y="336"/>
                    <a:pt x="704" y="345"/>
                    <a:pt x="700" y="347"/>
                  </a:cubicBezTo>
                  <a:cubicBezTo>
                    <a:pt x="696" y="349"/>
                    <a:pt x="690" y="354"/>
                    <a:pt x="687" y="351"/>
                  </a:cubicBezTo>
                  <a:cubicBezTo>
                    <a:pt x="684" y="348"/>
                    <a:pt x="685" y="334"/>
                    <a:pt x="682" y="330"/>
                  </a:cubicBezTo>
                  <a:cubicBezTo>
                    <a:pt x="679" y="326"/>
                    <a:pt x="670" y="329"/>
                    <a:pt x="666" y="326"/>
                  </a:cubicBezTo>
                  <a:cubicBezTo>
                    <a:pt x="662" y="323"/>
                    <a:pt x="657" y="316"/>
                    <a:pt x="660" y="314"/>
                  </a:cubicBezTo>
                  <a:cubicBezTo>
                    <a:pt x="663" y="312"/>
                    <a:pt x="677" y="315"/>
                    <a:pt x="684" y="311"/>
                  </a:cubicBezTo>
                  <a:cubicBezTo>
                    <a:pt x="691" y="307"/>
                    <a:pt x="699" y="295"/>
                    <a:pt x="703" y="290"/>
                  </a:cubicBezTo>
                  <a:cubicBezTo>
                    <a:pt x="707" y="285"/>
                    <a:pt x="705" y="283"/>
                    <a:pt x="709" y="281"/>
                  </a:cubicBezTo>
                  <a:cubicBezTo>
                    <a:pt x="713" y="279"/>
                    <a:pt x="726" y="276"/>
                    <a:pt x="729" y="279"/>
                  </a:cubicBezTo>
                  <a:cubicBezTo>
                    <a:pt x="732" y="282"/>
                    <a:pt x="729" y="290"/>
                    <a:pt x="727" y="296"/>
                  </a:cubicBezTo>
                  <a:cubicBezTo>
                    <a:pt x="725" y="302"/>
                    <a:pt x="716" y="316"/>
                    <a:pt x="718" y="317"/>
                  </a:cubicBezTo>
                  <a:cubicBezTo>
                    <a:pt x="720" y="318"/>
                    <a:pt x="736" y="308"/>
                    <a:pt x="741" y="305"/>
                  </a:cubicBezTo>
                  <a:cubicBezTo>
                    <a:pt x="746" y="302"/>
                    <a:pt x="744" y="297"/>
                    <a:pt x="747" y="296"/>
                  </a:cubicBezTo>
                  <a:cubicBezTo>
                    <a:pt x="750" y="295"/>
                    <a:pt x="756" y="297"/>
                    <a:pt x="760" y="296"/>
                  </a:cubicBezTo>
                  <a:cubicBezTo>
                    <a:pt x="764" y="295"/>
                    <a:pt x="766" y="291"/>
                    <a:pt x="769" y="288"/>
                  </a:cubicBezTo>
                  <a:cubicBezTo>
                    <a:pt x="772" y="285"/>
                    <a:pt x="776" y="279"/>
                    <a:pt x="780" y="275"/>
                  </a:cubicBezTo>
                  <a:cubicBezTo>
                    <a:pt x="784" y="271"/>
                    <a:pt x="790" y="266"/>
                    <a:pt x="795" y="264"/>
                  </a:cubicBezTo>
                  <a:cubicBezTo>
                    <a:pt x="800" y="262"/>
                    <a:pt x="806" y="266"/>
                    <a:pt x="810" y="264"/>
                  </a:cubicBezTo>
                  <a:cubicBezTo>
                    <a:pt x="814" y="262"/>
                    <a:pt x="813" y="257"/>
                    <a:pt x="817" y="255"/>
                  </a:cubicBezTo>
                  <a:cubicBezTo>
                    <a:pt x="821" y="253"/>
                    <a:pt x="830" y="254"/>
                    <a:pt x="834" y="251"/>
                  </a:cubicBezTo>
                  <a:cubicBezTo>
                    <a:pt x="838" y="248"/>
                    <a:pt x="837" y="238"/>
                    <a:pt x="841" y="236"/>
                  </a:cubicBezTo>
                  <a:cubicBezTo>
                    <a:pt x="845" y="234"/>
                    <a:pt x="854" y="238"/>
                    <a:pt x="858" y="236"/>
                  </a:cubicBezTo>
                  <a:cubicBezTo>
                    <a:pt x="862" y="234"/>
                    <a:pt x="863" y="231"/>
                    <a:pt x="864" y="227"/>
                  </a:cubicBezTo>
                  <a:cubicBezTo>
                    <a:pt x="865" y="223"/>
                    <a:pt x="863" y="215"/>
                    <a:pt x="864" y="210"/>
                  </a:cubicBezTo>
                  <a:cubicBezTo>
                    <a:pt x="865" y="205"/>
                    <a:pt x="866" y="199"/>
                    <a:pt x="868" y="197"/>
                  </a:cubicBezTo>
                  <a:cubicBezTo>
                    <a:pt x="870" y="195"/>
                    <a:pt x="875" y="195"/>
                    <a:pt x="879" y="195"/>
                  </a:cubicBezTo>
                  <a:cubicBezTo>
                    <a:pt x="883" y="195"/>
                    <a:pt x="890" y="199"/>
                    <a:pt x="895" y="195"/>
                  </a:cubicBezTo>
                  <a:cubicBezTo>
                    <a:pt x="900" y="191"/>
                    <a:pt x="906" y="178"/>
                    <a:pt x="909" y="171"/>
                  </a:cubicBezTo>
                  <a:cubicBezTo>
                    <a:pt x="912" y="164"/>
                    <a:pt x="913" y="160"/>
                    <a:pt x="915" y="153"/>
                  </a:cubicBezTo>
                  <a:cubicBezTo>
                    <a:pt x="917" y="146"/>
                    <a:pt x="926" y="130"/>
                    <a:pt x="922" y="128"/>
                  </a:cubicBezTo>
                  <a:cubicBezTo>
                    <a:pt x="918" y="126"/>
                    <a:pt x="900" y="136"/>
                    <a:pt x="892" y="140"/>
                  </a:cubicBezTo>
                  <a:cubicBezTo>
                    <a:pt x="884" y="144"/>
                    <a:pt x="877" y="152"/>
                    <a:pt x="871" y="150"/>
                  </a:cubicBezTo>
                  <a:cubicBezTo>
                    <a:pt x="865" y="148"/>
                    <a:pt x="861" y="134"/>
                    <a:pt x="858" y="128"/>
                  </a:cubicBezTo>
                  <a:cubicBezTo>
                    <a:pt x="855" y="122"/>
                    <a:pt x="857" y="116"/>
                    <a:pt x="852" y="113"/>
                  </a:cubicBezTo>
                  <a:cubicBezTo>
                    <a:pt x="847" y="110"/>
                    <a:pt x="834" y="112"/>
                    <a:pt x="828" y="107"/>
                  </a:cubicBezTo>
                  <a:cubicBezTo>
                    <a:pt x="822" y="102"/>
                    <a:pt x="818" y="91"/>
                    <a:pt x="814" y="83"/>
                  </a:cubicBezTo>
                  <a:cubicBezTo>
                    <a:pt x="810" y="75"/>
                    <a:pt x="811" y="67"/>
                    <a:pt x="807" y="59"/>
                  </a:cubicBezTo>
                  <a:cubicBezTo>
                    <a:pt x="803" y="51"/>
                    <a:pt x="796" y="43"/>
                    <a:pt x="792" y="35"/>
                  </a:cubicBezTo>
                  <a:cubicBezTo>
                    <a:pt x="788" y="27"/>
                    <a:pt x="790" y="17"/>
                    <a:pt x="783" y="11"/>
                  </a:cubicBezTo>
                  <a:cubicBezTo>
                    <a:pt x="776" y="5"/>
                    <a:pt x="761" y="0"/>
                    <a:pt x="747" y="0"/>
                  </a:cubicBezTo>
                  <a:cubicBezTo>
                    <a:pt x="733" y="0"/>
                    <a:pt x="706" y="7"/>
                    <a:pt x="700" y="14"/>
                  </a:cubicBezTo>
                  <a:cubicBezTo>
                    <a:pt x="694" y="21"/>
                    <a:pt x="708" y="36"/>
                    <a:pt x="708" y="45"/>
                  </a:cubicBezTo>
                  <a:cubicBezTo>
                    <a:pt x="708" y="54"/>
                    <a:pt x="702" y="61"/>
                    <a:pt x="700" y="66"/>
                  </a:cubicBezTo>
                  <a:cubicBezTo>
                    <a:pt x="698" y="71"/>
                    <a:pt x="695" y="71"/>
                    <a:pt x="694" y="74"/>
                  </a:cubicBezTo>
                  <a:cubicBezTo>
                    <a:pt x="693" y="77"/>
                    <a:pt x="694" y="83"/>
                    <a:pt x="691" y="87"/>
                  </a:cubicBezTo>
                  <a:cubicBezTo>
                    <a:pt x="688" y="91"/>
                    <a:pt x="685" y="96"/>
                    <a:pt x="679" y="98"/>
                  </a:cubicBezTo>
                  <a:cubicBezTo>
                    <a:pt x="673" y="100"/>
                    <a:pt x="661" y="100"/>
                    <a:pt x="655" y="101"/>
                  </a:cubicBezTo>
                  <a:cubicBezTo>
                    <a:pt x="649" y="102"/>
                    <a:pt x="643" y="97"/>
                    <a:pt x="640" y="9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6" name="Freeform 135"/>
            <p:cNvSpPr>
              <a:spLocks/>
            </p:cNvSpPr>
            <p:nvPr>
              <p:custDataLst>
                <p:tags r:id="rId102"/>
              </p:custDataLst>
            </p:nvPr>
          </p:nvSpPr>
          <p:spPr bwMode="gray">
            <a:xfrm>
              <a:off x="6583033" y="2829696"/>
              <a:ext cx="775904" cy="353104"/>
            </a:xfrm>
            <a:custGeom>
              <a:avLst/>
              <a:gdLst>
                <a:gd name="T0" fmla="*/ 4 w 472"/>
                <a:gd name="T1" fmla="*/ 66 h 218"/>
                <a:gd name="T2" fmla="*/ 7 w 472"/>
                <a:gd name="T3" fmla="*/ 78 h 218"/>
                <a:gd name="T4" fmla="*/ 28 w 472"/>
                <a:gd name="T5" fmla="*/ 81 h 218"/>
                <a:gd name="T6" fmla="*/ 45 w 472"/>
                <a:gd name="T7" fmla="*/ 113 h 218"/>
                <a:gd name="T8" fmla="*/ 43 w 472"/>
                <a:gd name="T9" fmla="*/ 123 h 218"/>
                <a:gd name="T10" fmla="*/ 40 w 472"/>
                <a:gd name="T11" fmla="*/ 141 h 218"/>
                <a:gd name="T12" fmla="*/ 57 w 472"/>
                <a:gd name="T13" fmla="*/ 147 h 218"/>
                <a:gd name="T14" fmla="*/ 88 w 472"/>
                <a:gd name="T15" fmla="*/ 149 h 218"/>
                <a:gd name="T16" fmla="*/ 103 w 472"/>
                <a:gd name="T17" fmla="*/ 161 h 218"/>
                <a:gd name="T18" fmla="*/ 118 w 472"/>
                <a:gd name="T19" fmla="*/ 185 h 218"/>
                <a:gd name="T20" fmla="*/ 133 w 472"/>
                <a:gd name="T21" fmla="*/ 197 h 218"/>
                <a:gd name="T22" fmla="*/ 156 w 472"/>
                <a:gd name="T23" fmla="*/ 197 h 218"/>
                <a:gd name="T24" fmla="*/ 199 w 472"/>
                <a:gd name="T25" fmla="*/ 197 h 218"/>
                <a:gd name="T26" fmla="*/ 238 w 472"/>
                <a:gd name="T27" fmla="*/ 215 h 218"/>
                <a:gd name="T28" fmla="*/ 252 w 472"/>
                <a:gd name="T29" fmla="*/ 213 h 218"/>
                <a:gd name="T30" fmla="*/ 271 w 472"/>
                <a:gd name="T31" fmla="*/ 204 h 218"/>
                <a:gd name="T32" fmla="*/ 282 w 472"/>
                <a:gd name="T33" fmla="*/ 200 h 218"/>
                <a:gd name="T34" fmla="*/ 297 w 472"/>
                <a:gd name="T35" fmla="*/ 200 h 218"/>
                <a:gd name="T36" fmla="*/ 322 w 472"/>
                <a:gd name="T37" fmla="*/ 195 h 218"/>
                <a:gd name="T38" fmla="*/ 342 w 472"/>
                <a:gd name="T39" fmla="*/ 183 h 218"/>
                <a:gd name="T40" fmla="*/ 349 w 472"/>
                <a:gd name="T41" fmla="*/ 168 h 218"/>
                <a:gd name="T42" fmla="*/ 349 w 472"/>
                <a:gd name="T43" fmla="*/ 150 h 218"/>
                <a:gd name="T44" fmla="*/ 354 w 472"/>
                <a:gd name="T45" fmla="*/ 141 h 218"/>
                <a:gd name="T46" fmla="*/ 385 w 472"/>
                <a:gd name="T47" fmla="*/ 153 h 218"/>
                <a:gd name="T48" fmla="*/ 393 w 472"/>
                <a:gd name="T49" fmla="*/ 144 h 218"/>
                <a:gd name="T50" fmla="*/ 400 w 472"/>
                <a:gd name="T51" fmla="*/ 135 h 218"/>
                <a:gd name="T52" fmla="*/ 417 w 472"/>
                <a:gd name="T53" fmla="*/ 131 h 218"/>
                <a:gd name="T54" fmla="*/ 430 w 472"/>
                <a:gd name="T55" fmla="*/ 113 h 218"/>
                <a:gd name="T56" fmla="*/ 469 w 472"/>
                <a:gd name="T57" fmla="*/ 110 h 218"/>
                <a:gd name="T58" fmla="*/ 451 w 472"/>
                <a:gd name="T59" fmla="*/ 81 h 218"/>
                <a:gd name="T60" fmla="*/ 436 w 472"/>
                <a:gd name="T61" fmla="*/ 90 h 218"/>
                <a:gd name="T62" fmla="*/ 420 w 472"/>
                <a:gd name="T63" fmla="*/ 83 h 218"/>
                <a:gd name="T64" fmla="*/ 412 w 472"/>
                <a:gd name="T65" fmla="*/ 92 h 218"/>
                <a:gd name="T66" fmla="*/ 415 w 472"/>
                <a:gd name="T67" fmla="*/ 78 h 218"/>
                <a:gd name="T68" fmla="*/ 408 w 472"/>
                <a:gd name="T69" fmla="*/ 66 h 218"/>
                <a:gd name="T70" fmla="*/ 418 w 472"/>
                <a:gd name="T71" fmla="*/ 47 h 218"/>
                <a:gd name="T72" fmla="*/ 403 w 472"/>
                <a:gd name="T73" fmla="*/ 47 h 218"/>
                <a:gd name="T74" fmla="*/ 391 w 472"/>
                <a:gd name="T75" fmla="*/ 44 h 218"/>
                <a:gd name="T76" fmla="*/ 352 w 472"/>
                <a:gd name="T77" fmla="*/ 65 h 218"/>
                <a:gd name="T78" fmla="*/ 334 w 472"/>
                <a:gd name="T79" fmla="*/ 66 h 218"/>
                <a:gd name="T80" fmla="*/ 316 w 472"/>
                <a:gd name="T81" fmla="*/ 69 h 218"/>
                <a:gd name="T82" fmla="*/ 303 w 472"/>
                <a:gd name="T83" fmla="*/ 66 h 218"/>
                <a:gd name="T84" fmla="*/ 294 w 472"/>
                <a:gd name="T85" fmla="*/ 56 h 218"/>
                <a:gd name="T86" fmla="*/ 286 w 472"/>
                <a:gd name="T87" fmla="*/ 44 h 218"/>
                <a:gd name="T88" fmla="*/ 267 w 472"/>
                <a:gd name="T89" fmla="*/ 38 h 218"/>
                <a:gd name="T90" fmla="*/ 226 w 472"/>
                <a:gd name="T91" fmla="*/ 41 h 218"/>
                <a:gd name="T92" fmla="*/ 207 w 472"/>
                <a:gd name="T93" fmla="*/ 17 h 218"/>
                <a:gd name="T94" fmla="*/ 162 w 472"/>
                <a:gd name="T95" fmla="*/ 3 h 218"/>
                <a:gd name="T96" fmla="*/ 148 w 472"/>
                <a:gd name="T97" fmla="*/ 35 h 218"/>
                <a:gd name="T98" fmla="*/ 147 w 472"/>
                <a:gd name="T99" fmla="*/ 48 h 218"/>
                <a:gd name="T100" fmla="*/ 142 w 472"/>
                <a:gd name="T101" fmla="*/ 48 h 218"/>
                <a:gd name="T102" fmla="*/ 136 w 472"/>
                <a:gd name="T103" fmla="*/ 56 h 218"/>
                <a:gd name="T104" fmla="*/ 112 w 472"/>
                <a:gd name="T105" fmla="*/ 53 h 218"/>
                <a:gd name="T106" fmla="*/ 100 w 472"/>
                <a:gd name="T107" fmla="*/ 47 h 218"/>
                <a:gd name="T108" fmla="*/ 85 w 472"/>
                <a:gd name="T109" fmla="*/ 36 h 218"/>
                <a:gd name="T110" fmla="*/ 73 w 472"/>
                <a:gd name="T111" fmla="*/ 30 h 218"/>
                <a:gd name="T112" fmla="*/ 55 w 472"/>
                <a:gd name="T113" fmla="*/ 29 h 218"/>
                <a:gd name="T114" fmla="*/ 42 w 472"/>
                <a:gd name="T115" fmla="*/ 37 h 218"/>
                <a:gd name="T116" fmla="*/ 33 w 472"/>
                <a:gd name="T117" fmla="*/ 47 h 218"/>
                <a:gd name="T118" fmla="*/ 16 w 472"/>
                <a:gd name="T119" fmla="*/ 54 h 218"/>
                <a:gd name="T120" fmla="*/ 4 w 472"/>
                <a:gd name="T121" fmla="*/ 66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72" h="218">
                  <a:moveTo>
                    <a:pt x="4" y="66"/>
                  </a:moveTo>
                  <a:cubicBezTo>
                    <a:pt x="0" y="71"/>
                    <a:pt x="3" y="76"/>
                    <a:pt x="7" y="78"/>
                  </a:cubicBezTo>
                  <a:cubicBezTo>
                    <a:pt x="11" y="80"/>
                    <a:pt x="22" y="75"/>
                    <a:pt x="28" y="81"/>
                  </a:cubicBezTo>
                  <a:cubicBezTo>
                    <a:pt x="34" y="87"/>
                    <a:pt x="43" y="106"/>
                    <a:pt x="45" y="113"/>
                  </a:cubicBezTo>
                  <a:cubicBezTo>
                    <a:pt x="47" y="120"/>
                    <a:pt x="44" y="118"/>
                    <a:pt x="43" y="123"/>
                  </a:cubicBezTo>
                  <a:cubicBezTo>
                    <a:pt x="42" y="128"/>
                    <a:pt x="38" y="137"/>
                    <a:pt x="40" y="141"/>
                  </a:cubicBezTo>
                  <a:cubicBezTo>
                    <a:pt x="42" y="145"/>
                    <a:pt x="49" y="146"/>
                    <a:pt x="57" y="147"/>
                  </a:cubicBezTo>
                  <a:cubicBezTo>
                    <a:pt x="65" y="148"/>
                    <a:pt x="80" y="147"/>
                    <a:pt x="88" y="149"/>
                  </a:cubicBezTo>
                  <a:cubicBezTo>
                    <a:pt x="96" y="151"/>
                    <a:pt x="98" y="155"/>
                    <a:pt x="103" y="161"/>
                  </a:cubicBezTo>
                  <a:cubicBezTo>
                    <a:pt x="108" y="167"/>
                    <a:pt x="113" y="179"/>
                    <a:pt x="118" y="185"/>
                  </a:cubicBezTo>
                  <a:cubicBezTo>
                    <a:pt x="123" y="191"/>
                    <a:pt x="127" y="195"/>
                    <a:pt x="133" y="197"/>
                  </a:cubicBezTo>
                  <a:cubicBezTo>
                    <a:pt x="139" y="199"/>
                    <a:pt x="145" y="197"/>
                    <a:pt x="156" y="197"/>
                  </a:cubicBezTo>
                  <a:cubicBezTo>
                    <a:pt x="167" y="197"/>
                    <a:pt x="185" y="194"/>
                    <a:pt x="199" y="197"/>
                  </a:cubicBezTo>
                  <a:cubicBezTo>
                    <a:pt x="213" y="200"/>
                    <a:pt x="229" y="212"/>
                    <a:pt x="238" y="215"/>
                  </a:cubicBezTo>
                  <a:cubicBezTo>
                    <a:pt x="247" y="218"/>
                    <a:pt x="247" y="215"/>
                    <a:pt x="252" y="213"/>
                  </a:cubicBezTo>
                  <a:cubicBezTo>
                    <a:pt x="257" y="211"/>
                    <a:pt x="266" y="206"/>
                    <a:pt x="271" y="204"/>
                  </a:cubicBezTo>
                  <a:cubicBezTo>
                    <a:pt x="276" y="202"/>
                    <a:pt x="278" y="201"/>
                    <a:pt x="282" y="200"/>
                  </a:cubicBezTo>
                  <a:cubicBezTo>
                    <a:pt x="286" y="199"/>
                    <a:pt x="290" y="201"/>
                    <a:pt x="297" y="200"/>
                  </a:cubicBezTo>
                  <a:cubicBezTo>
                    <a:pt x="304" y="199"/>
                    <a:pt x="315" y="198"/>
                    <a:pt x="322" y="195"/>
                  </a:cubicBezTo>
                  <a:cubicBezTo>
                    <a:pt x="329" y="192"/>
                    <a:pt x="338" y="187"/>
                    <a:pt x="342" y="183"/>
                  </a:cubicBezTo>
                  <a:cubicBezTo>
                    <a:pt x="346" y="179"/>
                    <a:pt x="348" y="173"/>
                    <a:pt x="349" y="168"/>
                  </a:cubicBezTo>
                  <a:cubicBezTo>
                    <a:pt x="350" y="163"/>
                    <a:pt x="348" y="154"/>
                    <a:pt x="349" y="150"/>
                  </a:cubicBezTo>
                  <a:cubicBezTo>
                    <a:pt x="350" y="146"/>
                    <a:pt x="348" y="140"/>
                    <a:pt x="354" y="141"/>
                  </a:cubicBezTo>
                  <a:cubicBezTo>
                    <a:pt x="360" y="142"/>
                    <a:pt x="379" y="153"/>
                    <a:pt x="385" y="153"/>
                  </a:cubicBezTo>
                  <a:cubicBezTo>
                    <a:pt x="391" y="153"/>
                    <a:pt x="391" y="147"/>
                    <a:pt x="393" y="144"/>
                  </a:cubicBezTo>
                  <a:cubicBezTo>
                    <a:pt x="395" y="141"/>
                    <a:pt x="396" y="137"/>
                    <a:pt x="400" y="135"/>
                  </a:cubicBezTo>
                  <a:cubicBezTo>
                    <a:pt x="404" y="133"/>
                    <a:pt x="412" y="135"/>
                    <a:pt x="417" y="131"/>
                  </a:cubicBezTo>
                  <a:cubicBezTo>
                    <a:pt x="422" y="127"/>
                    <a:pt x="421" y="116"/>
                    <a:pt x="430" y="113"/>
                  </a:cubicBezTo>
                  <a:cubicBezTo>
                    <a:pt x="439" y="110"/>
                    <a:pt x="466" y="115"/>
                    <a:pt x="469" y="110"/>
                  </a:cubicBezTo>
                  <a:cubicBezTo>
                    <a:pt x="472" y="105"/>
                    <a:pt x="456" y="84"/>
                    <a:pt x="451" y="81"/>
                  </a:cubicBezTo>
                  <a:cubicBezTo>
                    <a:pt x="446" y="78"/>
                    <a:pt x="441" y="90"/>
                    <a:pt x="436" y="90"/>
                  </a:cubicBezTo>
                  <a:cubicBezTo>
                    <a:pt x="431" y="90"/>
                    <a:pt x="424" y="83"/>
                    <a:pt x="420" y="83"/>
                  </a:cubicBezTo>
                  <a:cubicBezTo>
                    <a:pt x="416" y="83"/>
                    <a:pt x="413" y="93"/>
                    <a:pt x="412" y="92"/>
                  </a:cubicBezTo>
                  <a:cubicBezTo>
                    <a:pt x="411" y="91"/>
                    <a:pt x="416" y="82"/>
                    <a:pt x="415" y="78"/>
                  </a:cubicBezTo>
                  <a:cubicBezTo>
                    <a:pt x="414" y="74"/>
                    <a:pt x="408" y="71"/>
                    <a:pt x="408" y="66"/>
                  </a:cubicBezTo>
                  <a:cubicBezTo>
                    <a:pt x="408" y="61"/>
                    <a:pt x="419" y="50"/>
                    <a:pt x="418" y="47"/>
                  </a:cubicBezTo>
                  <a:cubicBezTo>
                    <a:pt x="417" y="44"/>
                    <a:pt x="407" y="47"/>
                    <a:pt x="403" y="47"/>
                  </a:cubicBezTo>
                  <a:cubicBezTo>
                    <a:pt x="399" y="47"/>
                    <a:pt x="399" y="41"/>
                    <a:pt x="391" y="44"/>
                  </a:cubicBezTo>
                  <a:cubicBezTo>
                    <a:pt x="383" y="47"/>
                    <a:pt x="361" y="61"/>
                    <a:pt x="352" y="65"/>
                  </a:cubicBezTo>
                  <a:cubicBezTo>
                    <a:pt x="343" y="69"/>
                    <a:pt x="340" y="65"/>
                    <a:pt x="334" y="66"/>
                  </a:cubicBezTo>
                  <a:cubicBezTo>
                    <a:pt x="328" y="67"/>
                    <a:pt x="321" y="69"/>
                    <a:pt x="316" y="69"/>
                  </a:cubicBezTo>
                  <a:cubicBezTo>
                    <a:pt x="311" y="69"/>
                    <a:pt x="307" y="68"/>
                    <a:pt x="303" y="66"/>
                  </a:cubicBezTo>
                  <a:cubicBezTo>
                    <a:pt x="299" y="64"/>
                    <a:pt x="297" y="60"/>
                    <a:pt x="294" y="56"/>
                  </a:cubicBezTo>
                  <a:cubicBezTo>
                    <a:pt x="291" y="52"/>
                    <a:pt x="290" y="47"/>
                    <a:pt x="286" y="44"/>
                  </a:cubicBezTo>
                  <a:cubicBezTo>
                    <a:pt x="282" y="41"/>
                    <a:pt x="277" y="38"/>
                    <a:pt x="267" y="38"/>
                  </a:cubicBezTo>
                  <a:cubicBezTo>
                    <a:pt x="257" y="38"/>
                    <a:pt x="236" y="44"/>
                    <a:pt x="226" y="41"/>
                  </a:cubicBezTo>
                  <a:cubicBezTo>
                    <a:pt x="216" y="38"/>
                    <a:pt x="218" y="23"/>
                    <a:pt x="207" y="17"/>
                  </a:cubicBezTo>
                  <a:cubicBezTo>
                    <a:pt x="196" y="11"/>
                    <a:pt x="172" y="0"/>
                    <a:pt x="162" y="3"/>
                  </a:cubicBezTo>
                  <a:cubicBezTo>
                    <a:pt x="152" y="6"/>
                    <a:pt x="150" y="28"/>
                    <a:pt x="148" y="35"/>
                  </a:cubicBezTo>
                  <a:cubicBezTo>
                    <a:pt x="146" y="42"/>
                    <a:pt x="148" y="46"/>
                    <a:pt x="147" y="48"/>
                  </a:cubicBezTo>
                  <a:cubicBezTo>
                    <a:pt x="146" y="50"/>
                    <a:pt x="144" y="47"/>
                    <a:pt x="142" y="48"/>
                  </a:cubicBezTo>
                  <a:cubicBezTo>
                    <a:pt x="140" y="49"/>
                    <a:pt x="141" y="55"/>
                    <a:pt x="136" y="56"/>
                  </a:cubicBezTo>
                  <a:cubicBezTo>
                    <a:pt x="131" y="57"/>
                    <a:pt x="118" y="54"/>
                    <a:pt x="112" y="53"/>
                  </a:cubicBezTo>
                  <a:cubicBezTo>
                    <a:pt x="106" y="52"/>
                    <a:pt x="104" y="50"/>
                    <a:pt x="100" y="47"/>
                  </a:cubicBezTo>
                  <a:cubicBezTo>
                    <a:pt x="96" y="44"/>
                    <a:pt x="89" y="39"/>
                    <a:pt x="85" y="36"/>
                  </a:cubicBezTo>
                  <a:cubicBezTo>
                    <a:pt x="81" y="33"/>
                    <a:pt x="78" y="31"/>
                    <a:pt x="73" y="30"/>
                  </a:cubicBezTo>
                  <a:cubicBezTo>
                    <a:pt x="68" y="29"/>
                    <a:pt x="60" y="28"/>
                    <a:pt x="55" y="29"/>
                  </a:cubicBezTo>
                  <a:cubicBezTo>
                    <a:pt x="50" y="30"/>
                    <a:pt x="46" y="34"/>
                    <a:pt x="42" y="37"/>
                  </a:cubicBezTo>
                  <a:cubicBezTo>
                    <a:pt x="38" y="40"/>
                    <a:pt x="37" y="44"/>
                    <a:pt x="33" y="47"/>
                  </a:cubicBezTo>
                  <a:cubicBezTo>
                    <a:pt x="29" y="50"/>
                    <a:pt x="21" y="51"/>
                    <a:pt x="16" y="54"/>
                  </a:cubicBezTo>
                  <a:cubicBezTo>
                    <a:pt x="11" y="57"/>
                    <a:pt x="6" y="64"/>
                    <a:pt x="4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7" name="Freeform 136"/>
            <p:cNvSpPr>
              <a:spLocks/>
            </p:cNvSpPr>
            <p:nvPr>
              <p:custDataLst>
                <p:tags r:id="rId103"/>
              </p:custDataLst>
            </p:nvPr>
          </p:nvSpPr>
          <p:spPr bwMode="gray">
            <a:xfrm>
              <a:off x="6578173" y="3624989"/>
              <a:ext cx="105290" cy="124721"/>
            </a:xfrm>
            <a:custGeom>
              <a:avLst/>
              <a:gdLst>
                <a:gd name="T0" fmla="*/ 36 w 63"/>
                <a:gd name="T1" fmla="*/ 73 h 77"/>
                <a:gd name="T2" fmla="*/ 48 w 63"/>
                <a:gd name="T3" fmla="*/ 42 h 77"/>
                <a:gd name="T4" fmla="*/ 63 w 63"/>
                <a:gd name="T5" fmla="*/ 34 h 77"/>
                <a:gd name="T6" fmla="*/ 54 w 63"/>
                <a:gd name="T7" fmla="*/ 21 h 77"/>
                <a:gd name="T8" fmla="*/ 24 w 63"/>
                <a:gd name="T9" fmla="*/ 15 h 77"/>
                <a:gd name="T10" fmla="*/ 6 w 63"/>
                <a:gd name="T11" fmla="*/ 0 h 77"/>
                <a:gd name="T12" fmla="*/ 11 w 63"/>
                <a:gd name="T13" fmla="*/ 10 h 77"/>
                <a:gd name="T14" fmla="*/ 0 w 63"/>
                <a:gd name="T15" fmla="*/ 28 h 77"/>
                <a:gd name="T16" fmla="*/ 11 w 63"/>
                <a:gd name="T17" fmla="*/ 33 h 77"/>
                <a:gd name="T18" fmla="*/ 17 w 63"/>
                <a:gd name="T19" fmla="*/ 67 h 77"/>
                <a:gd name="T20" fmla="*/ 21 w 63"/>
                <a:gd name="T21" fmla="*/ 75 h 77"/>
                <a:gd name="T22" fmla="*/ 33 w 63"/>
                <a:gd name="T23" fmla="*/ 69 h 77"/>
                <a:gd name="T24" fmla="*/ 30 w 63"/>
                <a:gd name="T25" fmla="*/ 73 h 77"/>
                <a:gd name="T26" fmla="*/ 36 w 63"/>
                <a:gd name="T27" fmla="*/ 7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3" h="77">
                  <a:moveTo>
                    <a:pt x="36" y="73"/>
                  </a:moveTo>
                  <a:cubicBezTo>
                    <a:pt x="39" y="30"/>
                    <a:pt x="32" y="54"/>
                    <a:pt x="48" y="42"/>
                  </a:cubicBezTo>
                  <a:cubicBezTo>
                    <a:pt x="51" y="34"/>
                    <a:pt x="56" y="37"/>
                    <a:pt x="63" y="34"/>
                  </a:cubicBezTo>
                  <a:cubicBezTo>
                    <a:pt x="62" y="26"/>
                    <a:pt x="63" y="22"/>
                    <a:pt x="54" y="21"/>
                  </a:cubicBezTo>
                  <a:cubicBezTo>
                    <a:pt x="44" y="16"/>
                    <a:pt x="36" y="16"/>
                    <a:pt x="24" y="15"/>
                  </a:cubicBezTo>
                  <a:cubicBezTo>
                    <a:pt x="22" y="6"/>
                    <a:pt x="15" y="2"/>
                    <a:pt x="6" y="0"/>
                  </a:cubicBezTo>
                  <a:cubicBezTo>
                    <a:pt x="1" y="7"/>
                    <a:pt x="4" y="9"/>
                    <a:pt x="11" y="10"/>
                  </a:cubicBezTo>
                  <a:cubicBezTo>
                    <a:pt x="9" y="23"/>
                    <a:pt x="10" y="22"/>
                    <a:pt x="0" y="28"/>
                  </a:cubicBezTo>
                  <a:cubicBezTo>
                    <a:pt x="3" y="30"/>
                    <a:pt x="10" y="29"/>
                    <a:pt x="11" y="33"/>
                  </a:cubicBezTo>
                  <a:cubicBezTo>
                    <a:pt x="15" y="44"/>
                    <a:pt x="11" y="56"/>
                    <a:pt x="17" y="67"/>
                  </a:cubicBezTo>
                  <a:cubicBezTo>
                    <a:pt x="17" y="71"/>
                    <a:pt x="18" y="73"/>
                    <a:pt x="21" y="75"/>
                  </a:cubicBezTo>
                  <a:cubicBezTo>
                    <a:pt x="22" y="77"/>
                    <a:pt x="31" y="69"/>
                    <a:pt x="33" y="69"/>
                  </a:cubicBezTo>
                  <a:cubicBezTo>
                    <a:pt x="34" y="69"/>
                    <a:pt x="30" y="72"/>
                    <a:pt x="30" y="73"/>
                  </a:cubicBezTo>
                  <a:cubicBezTo>
                    <a:pt x="30" y="74"/>
                    <a:pt x="35" y="73"/>
                    <a:pt x="36" y="7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8" name="Freeform 137"/>
            <p:cNvSpPr>
              <a:spLocks/>
            </p:cNvSpPr>
            <p:nvPr>
              <p:custDataLst>
                <p:tags r:id="rId104"/>
              </p:custDataLst>
            </p:nvPr>
          </p:nvSpPr>
          <p:spPr bwMode="gray">
            <a:xfrm>
              <a:off x="6605711" y="3565059"/>
              <a:ext cx="77752" cy="46973"/>
            </a:xfrm>
            <a:custGeom>
              <a:avLst/>
              <a:gdLst>
                <a:gd name="T0" fmla="*/ 4 w 47"/>
                <a:gd name="T1" fmla="*/ 26 h 29"/>
                <a:gd name="T2" fmla="*/ 28 w 47"/>
                <a:gd name="T3" fmla="*/ 26 h 29"/>
                <a:gd name="T4" fmla="*/ 43 w 47"/>
                <a:gd name="T5" fmla="*/ 26 h 29"/>
                <a:gd name="T6" fmla="*/ 46 w 47"/>
                <a:gd name="T7" fmla="*/ 16 h 29"/>
                <a:gd name="T8" fmla="*/ 38 w 47"/>
                <a:gd name="T9" fmla="*/ 16 h 29"/>
                <a:gd name="T10" fmla="*/ 29 w 47"/>
                <a:gd name="T11" fmla="*/ 2 h 29"/>
                <a:gd name="T12" fmla="*/ 16 w 47"/>
                <a:gd name="T13" fmla="*/ 2 h 29"/>
                <a:gd name="T14" fmla="*/ 2 w 47"/>
                <a:gd name="T15" fmla="*/ 10 h 29"/>
                <a:gd name="T16" fmla="*/ 4 w 47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29">
                  <a:moveTo>
                    <a:pt x="4" y="26"/>
                  </a:moveTo>
                  <a:cubicBezTo>
                    <a:pt x="9" y="29"/>
                    <a:pt x="22" y="26"/>
                    <a:pt x="28" y="26"/>
                  </a:cubicBezTo>
                  <a:cubicBezTo>
                    <a:pt x="34" y="26"/>
                    <a:pt x="40" y="28"/>
                    <a:pt x="43" y="26"/>
                  </a:cubicBezTo>
                  <a:cubicBezTo>
                    <a:pt x="46" y="24"/>
                    <a:pt x="47" y="18"/>
                    <a:pt x="46" y="16"/>
                  </a:cubicBezTo>
                  <a:cubicBezTo>
                    <a:pt x="45" y="14"/>
                    <a:pt x="41" y="18"/>
                    <a:pt x="38" y="16"/>
                  </a:cubicBezTo>
                  <a:cubicBezTo>
                    <a:pt x="35" y="14"/>
                    <a:pt x="33" y="4"/>
                    <a:pt x="29" y="2"/>
                  </a:cubicBezTo>
                  <a:cubicBezTo>
                    <a:pt x="25" y="0"/>
                    <a:pt x="20" y="1"/>
                    <a:pt x="16" y="2"/>
                  </a:cubicBezTo>
                  <a:cubicBezTo>
                    <a:pt x="12" y="3"/>
                    <a:pt x="4" y="6"/>
                    <a:pt x="2" y="10"/>
                  </a:cubicBezTo>
                  <a:cubicBezTo>
                    <a:pt x="0" y="14"/>
                    <a:pt x="4" y="23"/>
                    <a:pt x="4" y="2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99" name="Freeform 138"/>
            <p:cNvSpPr>
              <a:spLocks/>
            </p:cNvSpPr>
            <p:nvPr>
              <p:custDataLst>
                <p:tags r:id="rId105"/>
              </p:custDataLst>
            </p:nvPr>
          </p:nvSpPr>
          <p:spPr bwMode="gray">
            <a:xfrm>
              <a:off x="6676984" y="3571538"/>
              <a:ext cx="204100" cy="325569"/>
            </a:xfrm>
            <a:custGeom>
              <a:avLst/>
              <a:gdLst>
                <a:gd name="T0" fmla="*/ 2 w 124"/>
                <a:gd name="T1" fmla="*/ 106 h 201"/>
                <a:gd name="T2" fmla="*/ 6 w 124"/>
                <a:gd name="T3" fmla="*/ 117 h 201"/>
                <a:gd name="T4" fmla="*/ 24 w 124"/>
                <a:gd name="T5" fmla="*/ 141 h 201"/>
                <a:gd name="T6" fmla="*/ 33 w 124"/>
                <a:gd name="T7" fmla="*/ 153 h 201"/>
                <a:gd name="T8" fmla="*/ 36 w 124"/>
                <a:gd name="T9" fmla="*/ 192 h 201"/>
                <a:gd name="T10" fmla="*/ 65 w 124"/>
                <a:gd name="T11" fmla="*/ 183 h 201"/>
                <a:gd name="T12" fmla="*/ 71 w 124"/>
                <a:gd name="T13" fmla="*/ 175 h 201"/>
                <a:gd name="T14" fmla="*/ 80 w 124"/>
                <a:gd name="T15" fmla="*/ 183 h 201"/>
                <a:gd name="T16" fmla="*/ 86 w 124"/>
                <a:gd name="T17" fmla="*/ 199 h 201"/>
                <a:gd name="T18" fmla="*/ 98 w 124"/>
                <a:gd name="T19" fmla="*/ 195 h 201"/>
                <a:gd name="T20" fmla="*/ 86 w 124"/>
                <a:gd name="T21" fmla="*/ 175 h 201"/>
                <a:gd name="T22" fmla="*/ 81 w 124"/>
                <a:gd name="T23" fmla="*/ 165 h 201"/>
                <a:gd name="T24" fmla="*/ 83 w 124"/>
                <a:gd name="T25" fmla="*/ 145 h 201"/>
                <a:gd name="T26" fmla="*/ 90 w 124"/>
                <a:gd name="T27" fmla="*/ 132 h 201"/>
                <a:gd name="T28" fmla="*/ 105 w 124"/>
                <a:gd name="T29" fmla="*/ 132 h 201"/>
                <a:gd name="T30" fmla="*/ 116 w 124"/>
                <a:gd name="T31" fmla="*/ 123 h 201"/>
                <a:gd name="T32" fmla="*/ 122 w 124"/>
                <a:gd name="T33" fmla="*/ 114 h 201"/>
                <a:gd name="T34" fmla="*/ 105 w 124"/>
                <a:gd name="T35" fmla="*/ 84 h 201"/>
                <a:gd name="T36" fmla="*/ 98 w 124"/>
                <a:gd name="T37" fmla="*/ 70 h 201"/>
                <a:gd name="T38" fmla="*/ 86 w 124"/>
                <a:gd name="T39" fmla="*/ 72 h 201"/>
                <a:gd name="T40" fmla="*/ 83 w 124"/>
                <a:gd name="T41" fmla="*/ 57 h 201"/>
                <a:gd name="T42" fmla="*/ 98 w 124"/>
                <a:gd name="T43" fmla="*/ 40 h 201"/>
                <a:gd name="T44" fmla="*/ 99 w 124"/>
                <a:gd name="T45" fmla="*/ 16 h 201"/>
                <a:gd name="T46" fmla="*/ 89 w 124"/>
                <a:gd name="T47" fmla="*/ 0 h 201"/>
                <a:gd name="T48" fmla="*/ 60 w 124"/>
                <a:gd name="T49" fmla="*/ 19 h 201"/>
                <a:gd name="T50" fmla="*/ 47 w 124"/>
                <a:gd name="T51" fmla="*/ 21 h 201"/>
                <a:gd name="T52" fmla="*/ 47 w 124"/>
                <a:gd name="T53" fmla="*/ 46 h 201"/>
                <a:gd name="T54" fmla="*/ 33 w 124"/>
                <a:gd name="T55" fmla="*/ 75 h 201"/>
                <a:gd name="T56" fmla="*/ 18 w 124"/>
                <a:gd name="T57" fmla="*/ 70 h 201"/>
                <a:gd name="T58" fmla="*/ 21 w 124"/>
                <a:gd name="T59" fmla="*/ 97 h 201"/>
                <a:gd name="T60" fmla="*/ 2 w 124"/>
                <a:gd name="T61" fmla="*/ 106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24" h="201">
                  <a:moveTo>
                    <a:pt x="2" y="106"/>
                  </a:moveTo>
                  <a:cubicBezTo>
                    <a:pt x="0" y="109"/>
                    <a:pt x="2" y="111"/>
                    <a:pt x="6" y="117"/>
                  </a:cubicBezTo>
                  <a:cubicBezTo>
                    <a:pt x="10" y="123"/>
                    <a:pt x="19" y="135"/>
                    <a:pt x="24" y="141"/>
                  </a:cubicBezTo>
                  <a:cubicBezTo>
                    <a:pt x="29" y="147"/>
                    <a:pt x="31" y="145"/>
                    <a:pt x="33" y="153"/>
                  </a:cubicBezTo>
                  <a:cubicBezTo>
                    <a:pt x="35" y="161"/>
                    <a:pt x="31" y="187"/>
                    <a:pt x="36" y="192"/>
                  </a:cubicBezTo>
                  <a:cubicBezTo>
                    <a:pt x="41" y="197"/>
                    <a:pt x="59" y="186"/>
                    <a:pt x="65" y="183"/>
                  </a:cubicBezTo>
                  <a:cubicBezTo>
                    <a:pt x="71" y="180"/>
                    <a:pt x="69" y="175"/>
                    <a:pt x="71" y="175"/>
                  </a:cubicBezTo>
                  <a:cubicBezTo>
                    <a:pt x="73" y="175"/>
                    <a:pt x="77" y="179"/>
                    <a:pt x="80" y="183"/>
                  </a:cubicBezTo>
                  <a:cubicBezTo>
                    <a:pt x="83" y="187"/>
                    <a:pt x="83" y="197"/>
                    <a:pt x="86" y="199"/>
                  </a:cubicBezTo>
                  <a:cubicBezTo>
                    <a:pt x="89" y="201"/>
                    <a:pt x="98" y="199"/>
                    <a:pt x="98" y="195"/>
                  </a:cubicBezTo>
                  <a:cubicBezTo>
                    <a:pt x="98" y="191"/>
                    <a:pt x="89" y="180"/>
                    <a:pt x="86" y="175"/>
                  </a:cubicBezTo>
                  <a:cubicBezTo>
                    <a:pt x="83" y="170"/>
                    <a:pt x="81" y="170"/>
                    <a:pt x="81" y="165"/>
                  </a:cubicBezTo>
                  <a:cubicBezTo>
                    <a:pt x="81" y="160"/>
                    <a:pt x="82" y="150"/>
                    <a:pt x="83" y="145"/>
                  </a:cubicBezTo>
                  <a:cubicBezTo>
                    <a:pt x="84" y="140"/>
                    <a:pt x="86" y="134"/>
                    <a:pt x="90" y="132"/>
                  </a:cubicBezTo>
                  <a:cubicBezTo>
                    <a:pt x="94" y="130"/>
                    <a:pt x="101" y="133"/>
                    <a:pt x="105" y="132"/>
                  </a:cubicBezTo>
                  <a:cubicBezTo>
                    <a:pt x="109" y="131"/>
                    <a:pt x="113" y="126"/>
                    <a:pt x="116" y="123"/>
                  </a:cubicBezTo>
                  <a:cubicBezTo>
                    <a:pt x="119" y="120"/>
                    <a:pt x="124" y="120"/>
                    <a:pt x="122" y="114"/>
                  </a:cubicBezTo>
                  <a:cubicBezTo>
                    <a:pt x="120" y="108"/>
                    <a:pt x="109" y="91"/>
                    <a:pt x="105" y="84"/>
                  </a:cubicBezTo>
                  <a:cubicBezTo>
                    <a:pt x="101" y="77"/>
                    <a:pt x="101" y="72"/>
                    <a:pt x="98" y="70"/>
                  </a:cubicBezTo>
                  <a:cubicBezTo>
                    <a:pt x="95" y="68"/>
                    <a:pt x="88" y="74"/>
                    <a:pt x="86" y="72"/>
                  </a:cubicBezTo>
                  <a:cubicBezTo>
                    <a:pt x="84" y="70"/>
                    <a:pt x="81" y="62"/>
                    <a:pt x="83" y="57"/>
                  </a:cubicBezTo>
                  <a:cubicBezTo>
                    <a:pt x="85" y="52"/>
                    <a:pt x="95" y="47"/>
                    <a:pt x="98" y="40"/>
                  </a:cubicBezTo>
                  <a:cubicBezTo>
                    <a:pt x="101" y="33"/>
                    <a:pt x="100" y="23"/>
                    <a:pt x="99" y="16"/>
                  </a:cubicBezTo>
                  <a:cubicBezTo>
                    <a:pt x="98" y="9"/>
                    <a:pt x="95" y="0"/>
                    <a:pt x="89" y="0"/>
                  </a:cubicBezTo>
                  <a:cubicBezTo>
                    <a:pt x="83" y="0"/>
                    <a:pt x="67" y="16"/>
                    <a:pt x="60" y="19"/>
                  </a:cubicBezTo>
                  <a:cubicBezTo>
                    <a:pt x="53" y="22"/>
                    <a:pt x="49" y="17"/>
                    <a:pt x="47" y="21"/>
                  </a:cubicBezTo>
                  <a:cubicBezTo>
                    <a:pt x="45" y="25"/>
                    <a:pt x="49" y="37"/>
                    <a:pt x="47" y="46"/>
                  </a:cubicBezTo>
                  <a:cubicBezTo>
                    <a:pt x="45" y="55"/>
                    <a:pt x="38" y="71"/>
                    <a:pt x="33" y="75"/>
                  </a:cubicBezTo>
                  <a:cubicBezTo>
                    <a:pt x="28" y="79"/>
                    <a:pt x="20" y="66"/>
                    <a:pt x="18" y="70"/>
                  </a:cubicBezTo>
                  <a:cubicBezTo>
                    <a:pt x="16" y="74"/>
                    <a:pt x="23" y="91"/>
                    <a:pt x="21" y="97"/>
                  </a:cubicBezTo>
                  <a:cubicBezTo>
                    <a:pt x="19" y="103"/>
                    <a:pt x="4" y="103"/>
                    <a:pt x="2" y="10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0" name="Freeform 139"/>
            <p:cNvSpPr>
              <a:spLocks/>
            </p:cNvSpPr>
            <p:nvPr>
              <p:custDataLst>
                <p:tags r:id="rId106"/>
              </p:custDataLst>
            </p:nvPr>
          </p:nvSpPr>
          <p:spPr bwMode="gray">
            <a:xfrm>
              <a:off x="6375693" y="4047743"/>
              <a:ext cx="50216" cy="92326"/>
            </a:xfrm>
            <a:custGeom>
              <a:avLst/>
              <a:gdLst>
                <a:gd name="T0" fmla="*/ 6 w 30"/>
                <a:gd name="T1" fmla="*/ 52 h 57"/>
                <a:gd name="T2" fmla="*/ 29 w 30"/>
                <a:gd name="T3" fmla="*/ 43 h 57"/>
                <a:gd name="T4" fmla="*/ 24 w 30"/>
                <a:gd name="T5" fmla="*/ 22 h 57"/>
                <a:gd name="T6" fmla="*/ 17 w 30"/>
                <a:gd name="T7" fmla="*/ 7 h 57"/>
                <a:gd name="T8" fmla="*/ 6 w 30"/>
                <a:gd name="T9" fmla="*/ 3 h 57"/>
                <a:gd name="T10" fmla="*/ 0 w 30"/>
                <a:gd name="T11" fmla="*/ 27 h 57"/>
                <a:gd name="T12" fmla="*/ 2 w 30"/>
                <a:gd name="T13" fmla="*/ 51 h 57"/>
                <a:gd name="T14" fmla="*/ 6 w 30"/>
                <a:gd name="T15" fmla="*/ 5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57">
                  <a:moveTo>
                    <a:pt x="6" y="52"/>
                  </a:moveTo>
                  <a:cubicBezTo>
                    <a:pt x="18" y="57"/>
                    <a:pt x="23" y="53"/>
                    <a:pt x="29" y="43"/>
                  </a:cubicBezTo>
                  <a:cubicBezTo>
                    <a:pt x="30" y="34"/>
                    <a:pt x="29" y="30"/>
                    <a:pt x="24" y="22"/>
                  </a:cubicBezTo>
                  <a:cubicBezTo>
                    <a:pt x="27" y="0"/>
                    <a:pt x="27" y="15"/>
                    <a:pt x="17" y="7"/>
                  </a:cubicBezTo>
                  <a:cubicBezTo>
                    <a:pt x="14" y="1"/>
                    <a:pt x="12" y="0"/>
                    <a:pt x="6" y="3"/>
                  </a:cubicBezTo>
                  <a:cubicBezTo>
                    <a:pt x="1" y="10"/>
                    <a:pt x="3" y="19"/>
                    <a:pt x="0" y="27"/>
                  </a:cubicBezTo>
                  <a:cubicBezTo>
                    <a:pt x="1" y="35"/>
                    <a:pt x="0" y="43"/>
                    <a:pt x="2" y="51"/>
                  </a:cubicBezTo>
                  <a:cubicBezTo>
                    <a:pt x="2" y="52"/>
                    <a:pt x="6" y="53"/>
                    <a:pt x="6" y="5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1" name="Freeform 146"/>
            <p:cNvSpPr>
              <a:spLocks/>
            </p:cNvSpPr>
            <p:nvPr>
              <p:custDataLst>
                <p:tags r:id="rId107"/>
              </p:custDataLst>
            </p:nvPr>
          </p:nvSpPr>
          <p:spPr bwMode="gray">
            <a:xfrm>
              <a:off x="6100684" y="3323321"/>
              <a:ext cx="720484" cy="793884"/>
            </a:xfrm>
            <a:custGeom>
              <a:avLst/>
              <a:gdLst/>
              <a:ahLst/>
              <a:cxnLst/>
              <a:rect l="l" t="t" r="r" b="b"/>
              <a:pathLst>
                <a:path w="706099" h="778080">
                  <a:moveTo>
                    <a:pt x="599618" y="738575"/>
                  </a:moveTo>
                  <a:cubicBezTo>
                    <a:pt x="602843" y="757625"/>
                    <a:pt x="604456" y="757625"/>
                    <a:pt x="612519" y="771913"/>
                  </a:cubicBezTo>
                  <a:cubicBezTo>
                    <a:pt x="607681" y="781438"/>
                    <a:pt x="602843" y="778263"/>
                    <a:pt x="593167" y="773501"/>
                  </a:cubicBezTo>
                  <a:cubicBezTo>
                    <a:pt x="596392" y="748100"/>
                    <a:pt x="577040" y="756038"/>
                    <a:pt x="599618" y="738575"/>
                  </a:cubicBezTo>
                  <a:close/>
                  <a:moveTo>
                    <a:pt x="575428" y="711588"/>
                  </a:moveTo>
                  <a:cubicBezTo>
                    <a:pt x="580266" y="713176"/>
                    <a:pt x="585104" y="711588"/>
                    <a:pt x="588329" y="714763"/>
                  </a:cubicBezTo>
                  <a:cubicBezTo>
                    <a:pt x="591554" y="719526"/>
                    <a:pt x="577040" y="725876"/>
                    <a:pt x="573815" y="721113"/>
                  </a:cubicBezTo>
                  <a:cubicBezTo>
                    <a:pt x="572202" y="717938"/>
                    <a:pt x="575428" y="714763"/>
                    <a:pt x="575428" y="711588"/>
                  </a:cubicBezTo>
                  <a:close/>
                  <a:moveTo>
                    <a:pt x="578250" y="683212"/>
                  </a:moveTo>
                  <a:cubicBezTo>
                    <a:pt x="581476" y="684601"/>
                    <a:pt x="582685" y="688569"/>
                    <a:pt x="580266" y="695713"/>
                  </a:cubicBezTo>
                  <a:cubicBezTo>
                    <a:pt x="573815" y="694126"/>
                    <a:pt x="564139" y="686188"/>
                    <a:pt x="564139" y="686188"/>
                  </a:cubicBezTo>
                  <a:cubicBezTo>
                    <a:pt x="569784" y="683013"/>
                    <a:pt x="575025" y="681823"/>
                    <a:pt x="578250" y="683212"/>
                  </a:cubicBezTo>
                  <a:close/>
                  <a:moveTo>
                    <a:pt x="580266" y="616338"/>
                  </a:moveTo>
                  <a:cubicBezTo>
                    <a:pt x="601231" y="630626"/>
                    <a:pt x="610907" y="660788"/>
                    <a:pt x="580266" y="667138"/>
                  </a:cubicBezTo>
                  <a:cubicBezTo>
                    <a:pt x="567364" y="657613"/>
                    <a:pt x="570590" y="648088"/>
                    <a:pt x="573815" y="633801"/>
                  </a:cubicBezTo>
                  <a:cubicBezTo>
                    <a:pt x="568977" y="624276"/>
                    <a:pt x="570590" y="621101"/>
                    <a:pt x="580266" y="616338"/>
                  </a:cubicBezTo>
                  <a:close/>
                  <a:moveTo>
                    <a:pt x="589942" y="592525"/>
                  </a:moveTo>
                  <a:lnTo>
                    <a:pt x="599417" y="597089"/>
                  </a:lnTo>
                  <a:cubicBezTo>
                    <a:pt x="600425" y="598081"/>
                    <a:pt x="600425" y="599669"/>
                    <a:pt x="602844" y="605225"/>
                  </a:cubicBezTo>
                  <a:lnTo>
                    <a:pt x="597426" y="609715"/>
                  </a:lnTo>
                  <a:cubicBezTo>
                    <a:pt x="593571" y="609789"/>
                    <a:pt x="593571" y="598478"/>
                    <a:pt x="589942" y="592525"/>
                  </a:cubicBezTo>
                  <a:close/>
                  <a:moveTo>
                    <a:pt x="483499" y="235374"/>
                  </a:moveTo>
                  <a:cubicBezTo>
                    <a:pt x="488335" y="232147"/>
                    <a:pt x="496372" y="249589"/>
                    <a:pt x="498007" y="262343"/>
                  </a:cubicBezTo>
                  <a:lnTo>
                    <a:pt x="496612" y="281584"/>
                  </a:lnTo>
                  <a:cubicBezTo>
                    <a:pt x="487515" y="281701"/>
                    <a:pt x="478649" y="281924"/>
                    <a:pt x="471855" y="282419"/>
                  </a:cubicBezTo>
                  <a:cubicBezTo>
                    <a:pt x="472068" y="282114"/>
                    <a:pt x="472131" y="281764"/>
                    <a:pt x="472191" y="281398"/>
                  </a:cubicBezTo>
                  <a:cubicBezTo>
                    <a:pt x="473827" y="271871"/>
                    <a:pt x="478663" y="238524"/>
                    <a:pt x="483499" y="235374"/>
                  </a:cubicBezTo>
                  <a:close/>
                  <a:moveTo>
                    <a:pt x="656036" y="216319"/>
                  </a:moveTo>
                  <a:cubicBezTo>
                    <a:pt x="668980" y="219469"/>
                    <a:pt x="704469" y="232147"/>
                    <a:pt x="706033" y="240061"/>
                  </a:cubicBezTo>
                  <a:cubicBezTo>
                    <a:pt x="707669" y="248052"/>
                    <a:pt x="678652" y="259116"/>
                    <a:pt x="670544" y="263880"/>
                  </a:cubicBezTo>
                  <a:cubicBezTo>
                    <a:pt x="662508" y="268644"/>
                    <a:pt x="660872" y="268644"/>
                    <a:pt x="656036" y="271871"/>
                  </a:cubicBezTo>
                  <a:cubicBezTo>
                    <a:pt x="651200" y="275021"/>
                    <a:pt x="639963" y="276635"/>
                    <a:pt x="638327" y="281398"/>
                  </a:cubicBezTo>
                  <a:cubicBezTo>
                    <a:pt x="636691" y="286162"/>
                    <a:pt x="644799" y="295690"/>
                    <a:pt x="643163" y="305217"/>
                  </a:cubicBezTo>
                  <a:cubicBezTo>
                    <a:pt x="641527" y="314745"/>
                    <a:pt x="636691" y="332186"/>
                    <a:pt x="631855" y="340100"/>
                  </a:cubicBezTo>
                  <a:cubicBezTo>
                    <a:pt x="627019" y="348014"/>
                    <a:pt x="620618" y="352778"/>
                    <a:pt x="614146" y="354392"/>
                  </a:cubicBezTo>
                  <a:cubicBezTo>
                    <a:pt x="607674" y="356005"/>
                    <a:pt x="596366" y="340100"/>
                    <a:pt x="594802" y="348014"/>
                  </a:cubicBezTo>
                  <a:cubicBezTo>
                    <a:pt x="593166" y="356005"/>
                    <a:pt x="602838" y="389351"/>
                    <a:pt x="602838" y="400416"/>
                  </a:cubicBezTo>
                  <a:cubicBezTo>
                    <a:pt x="602838" y="411557"/>
                    <a:pt x="596366" y="408407"/>
                    <a:pt x="591530" y="411557"/>
                  </a:cubicBezTo>
                  <a:cubicBezTo>
                    <a:pt x="586694" y="414707"/>
                    <a:pt x="573821" y="419471"/>
                    <a:pt x="570621" y="414707"/>
                  </a:cubicBezTo>
                  <a:cubicBezTo>
                    <a:pt x="567349" y="409943"/>
                    <a:pt x="573821" y="387738"/>
                    <a:pt x="570621" y="382974"/>
                  </a:cubicBezTo>
                  <a:cubicBezTo>
                    <a:pt x="567349" y="378210"/>
                    <a:pt x="556041" y="381361"/>
                    <a:pt x="549640" y="382974"/>
                  </a:cubicBezTo>
                  <a:cubicBezTo>
                    <a:pt x="543169" y="384588"/>
                    <a:pt x="533496" y="397266"/>
                    <a:pt x="530296" y="397266"/>
                  </a:cubicBezTo>
                  <a:cubicBezTo>
                    <a:pt x="527024" y="397266"/>
                    <a:pt x="527024" y="387738"/>
                    <a:pt x="530296" y="381361"/>
                  </a:cubicBezTo>
                  <a:cubicBezTo>
                    <a:pt x="533496" y="375060"/>
                    <a:pt x="544804" y="362306"/>
                    <a:pt x="551205" y="357542"/>
                  </a:cubicBezTo>
                  <a:cubicBezTo>
                    <a:pt x="557677" y="352778"/>
                    <a:pt x="564149" y="352778"/>
                    <a:pt x="567349" y="348014"/>
                  </a:cubicBezTo>
                  <a:cubicBezTo>
                    <a:pt x="570621" y="343250"/>
                    <a:pt x="575457" y="333800"/>
                    <a:pt x="570621" y="329036"/>
                  </a:cubicBezTo>
                  <a:cubicBezTo>
                    <a:pt x="565785" y="324272"/>
                    <a:pt x="548005" y="322659"/>
                    <a:pt x="536697" y="319508"/>
                  </a:cubicBezTo>
                  <a:cubicBezTo>
                    <a:pt x="525460" y="316281"/>
                    <a:pt x="504479" y="319508"/>
                    <a:pt x="498007" y="309981"/>
                  </a:cubicBezTo>
                  <a:cubicBezTo>
                    <a:pt x="494097" y="304225"/>
                    <a:pt x="495509" y="292664"/>
                    <a:pt x="496612" y="281584"/>
                  </a:cubicBezTo>
                  <a:lnTo>
                    <a:pt x="530296" y="281398"/>
                  </a:lnTo>
                  <a:cubicBezTo>
                    <a:pt x="548005" y="281398"/>
                    <a:pt x="564149" y="284549"/>
                    <a:pt x="570621" y="281398"/>
                  </a:cubicBezTo>
                  <a:cubicBezTo>
                    <a:pt x="577022" y="278171"/>
                    <a:pt x="570621" y="268644"/>
                    <a:pt x="570621" y="262343"/>
                  </a:cubicBezTo>
                  <a:cubicBezTo>
                    <a:pt x="570621" y="255966"/>
                    <a:pt x="570621" y="249589"/>
                    <a:pt x="573821" y="244825"/>
                  </a:cubicBezTo>
                  <a:cubicBezTo>
                    <a:pt x="577022" y="240061"/>
                    <a:pt x="580293" y="233761"/>
                    <a:pt x="588330" y="230610"/>
                  </a:cubicBezTo>
                  <a:cubicBezTo>
                    <a:pt x="596366" y="227383"/>
                    <a:pt x="612510" y="222620"/>
                    <a:pt x="623819" y="221083"/>
                  </a:cubicBezTo>
                  <a:cubicBezTo>
                    <a:pt x="635127" y="219469"/>
                    <a:pt x="643163" y="213092"/>
                    <a:pt x="656036" y="216319"/>
                  </a:cubicBezTo>
                  <a:close/>
                  <a:moveTo>
                    <a:pt x="154942" y="0"/>
                  </a:moveTo>
                  <a:cubicBezTo>
                    <a:pt x="155351" y="393"/>
                    <a:pt x="155351" y="1181"/>
                    <a:pt x="157769" y="1949"/>
                  </a:cubicBezTo>
                  <a:lnTo>
                    <a:pt x="178679" y="6713"/>
                  </a:lnTo>
                  <a:cubicBezTo>
                    <a:pt x="185151" y="9940"/>
                    <a:pt x="194823" y="14704"/>
                    <a:pt x="201295" y="19468"/>
                  </a:cubicBezTo>
                  <a:cubicBezTo>
                    <a:pt x="207767" y="24231"/>
                    <a:pt x="210967" y="32146"/>
                    <a:pt x="215803" y="33759"/>
                  </a:cubicBezTo>
                  <a:cubicBezTo>
                    <a:pt x="220639" y="35296"/>
                    <a:pt x="227111" y="32146"/>
                    <a:pt x="235148" y="30532"/>
                  </a:cubicBezTo>
                  <a:cubicBezTo>
                    <a:pt x="243185" y="28995"/>
                    <a:pt x="257693" y="16241"/>
                    <a:pt x="265801" y="21004"/>
                  </a:cubicBezTo>
                  <a:cubicBezTo>
                    <a:pt x="273837" y="25768"/>
                    <a:pt x="280309" y="49587"/>
                    <a:pt x="280309" y="59115"/>
                  </a:cubicBezTo>
                  <a:cubicBezTo>
                    <a:pt x="280309" y="68642"/>
                    <a:pt x="267436" y="70256"/>
                    <a:pt x="264165" y="76556"/>
                  </a:cubicBezTo>
                  <a:cubicBezTo>
                    <a:pt x="260965" y="82933"/>
                    <a:pt x="259329" y="90847"/>
                    <a:pt x="259329" y="97225"/>
                  </a:cubicBezTo>
                  <a:cubicBezTo>
                    <a:pt x="259329" y="103602"/>
                    <a:pt x="270637" y="111516"/>
                    <a:pt x="269001" y="116280"/>
                  </a:cubicBezTo>
                  <a:cubicBezTo>
                    <a:pt x="267436" y="121044"/>
                    <a:pt x="257693" y="121044"/>
                    <a:pt x="254493" y="125807"/>
                  </a:cubicBezTo>
                  <a:cubicBezTo>
                    <a:pt x="251292" y="130571"/>
                    <a:pt x="246456" y="136948"/>
                    <a:pt x="249656" y="144862"/>
                  </a:cubicBezTo>
                  <a:cubicBezTo>
                    <a:pt x="252857" y="152776"/>
                    <a:pt x="262529" y="165454"/>
                    <a:pt x="270637" y="171832"/>
                  </a:cubicBezTo>
                  <a:cubicBezTo>
                    <a:pt x="278673" y="178209"/>
                    <a:pt x="298018" y="176595"/>
                    <a:pt x="299654" y="186123"/>
                  </a:cubicBezTo>
                  <a:cubicBezTo>
                    <a:pt x="301290" y="195650"/>
                    <a:pt x="280309" y="217856"/>
                    <a:pt x="280309" y="225847"/>
                  </a:cubicBezTo>
                  <a:cubicBezTo>
                    <a:pt x="280309" y="233761"/>
                    <a:pt x="293182" y="232147"/>
                    <a:pt x="299654" y="235374"/>
                  </a:cubicBezTo>
                  <a:cubicBezTo>
                    <a:pt x="306126" y="238524"/>
                    <a:pt x="315798" y="243288"/>
                    <a:pt x="322199" y="248052"/>
                  </a:cubicBezTo>
                  <a:cubicBezTo>
                    <a:pt x="328671" y="252816"/>
                    <a:pt x="335143" y="255966"/>
                    <a:pt x="341615" y="259116"/>
                  </a:cubicBezTo>
                  <a:cubicBezTo>
                    <a:pt x="348015" y="262343"/>
                    <a:pt x="357688" y="265493"/>
                    <a:pt x="367360" y="268644"/>
                  </a:cubicBezTo>
                  <a:cubicBezTo>
                    <a:pt x="377032" y="271871"/>
                    <a:pt x="388340" y="279785"/>
                    <a:pt x="396448" y="282935"/>
                  </a:cubicBezTo>
                  <a:cubicBezTo>
                    <a:pt x="404485" y="286162"/>
                    <a:pt x="406120" y="284549"/>
                    <a:pt x="414157" y="286162"/>
                  </a:cubicBezTo>
                  <a:cubicBezTo>
                    <a:pt x="422193" y="287699"/>
                    <a:pt x="441609" y="292463"/>
                    <a:pt x="449646" y="292463"/>
                  </a:cubicBezTo>
                  <a:cubicBezTo>
                    <a:pt x="457682" y="292463"/>
                    <a:pt x="451282" y="284549"/>
                    <a:pt x="464154" y="282935"/>
                  </a:cubicBezTo>
                  <a:cubicBezTo>
                    <a:pt x="466201" y="282691"/>
                    <a:pt x="468820" y="282485"/>
                    <a:pt x="471855" y="282419"/>
                  </a:cubicBezTo>
                  <a:cubicBezTo>
                    <a:pt x="470382" y="290816"/>
                    <a:pt x="467418" y="289616"/>
                    <a:pt x="468990" y="297226"/>
                  </a:cubicBezTo>
                  <a:cubicBezTo>
                    <a:pt x="470626" y="305217"/>
                    <a:pt x="483499" y="319508"/>
                    <a:pt x="483499" y="325809"/>
                  </a:cubicBezTo>
                  <a:cubicBezTo>
                    <a:pt x="483499" y="332186"/>
                    <a:pt x="467355" y="335336"/>
                    <a:pt x="467355" y="338487"/>
                  </a:cubicBezTo>
                  <a:cubicBezTo>
                    <a:pt x="467355" y="341714"/>
                    <a:pt x="481863" y="344864"/>
                    <a:pt x="486699" y="348014"/>
                  </a:cubicBezTo>
                  <a:cubicBezTo>
                    <a:pt x="491535" y="351241"/>
                    <a:pt x="493171" y="352778"/>
                    <a:pt x="493171" y="362306"/>
                  </a:cubicBezTo>
                  <a:cubicBezTo>
                    <a:pt x="493171" y="371833"/>
                    <a:pt x="493171" y="397266"/>
                    <a:pt x="488335" y="405180"/>
                  </a:cubicBezTo>
                  <a:cubicBezTo>
                    <a:pt x="483499" y="413170"/>
                    <a:pt x="465790" y="406793"/>
                    <a:pt x="459318" y="411557"/>
                  </a:cubicBezTo>
                  <a:cubicBezTo>
                    <a:pt x="452846" y="416321"/>
                    <a:pt x="454482" y="432149"/>
                    <a:pt x="448010" y="438526"/>
                  </a:cubicBezTo>
                  <a:cubicBezTo>
                    <a:pt x="441609" y="444903"/>
                    <a:pt x="433502" y="448053"/>
                    <a:pt x="423829" y="454431"/>
                  </a:cubicBezTo>
                  <a:cubicBezTo>
                    <a:pt x="414157" y="460731"/>
                    <a:pt x="393177" y="465495"/>
                    <a:pt x="385140" y="473486"/>
                  </a:cubicBezTo>
                  <a:cubicBezTo>
                    <a:pt x="377032" y="481400"/>
                    <a:pt x="380304" y="492541"/>
                    <a:pt x="372196" y="500455"/>
                  </a:cubicBezTo>
                  <a:cubicBezTo>
                    <a:pt x="364160" y="508369"/>
                    <a:pt x="344815" y="513133"/>
                    <a:pt x="338343" y="521124"/>
                  </a:cubicBezTo>
                  <a:cubicBezTo>
                    <a:pt x="331942" y="529038"/>
                    <a:pt x="336778" y="543329"/>
                    <a:pt x="331942" y="548093"/>
                  </a:cubicBezTo>
                  <a:cubicBezTo>
                    <a:pt x="327106" y="552856"/>
                    <a:pt x="320634" y="544866"/>
                    <a:pt x="312526" y="548093"/>
                  </a:cubicBezTo>
                  <a:cubicBezTo>
                    <a:pt x="304490" y="551243"/>
                    <a:pt x="288346" y="557620"/>
                    <a:pt x="283510" y="567148"/>
                  </a:cubicBezTo>
                  <a:cubicBezTo>
                    <a:pt x="278673" y="576675"/>
                    <a:pt x="283510" y="587740"/>
                    <a:pt x="283510" y="602031"/>
                  </a:cubicBezTo>
                  <a:cubicBezTo>
                    <a:pt x="283510" y="616322"/>
                    <a:pt x="286781" y="636991"/>
                    <a:pt x="283510" y="652819"/>
                  </a:cubicBezTo>
                  <a:cubicBezTo>
                    <a:pt x="280309" y="668724"/>
                    <a:pt x="269001" y="686165"/>
                    <a:pt x="260965" y="700456"/>
                  </a:cubicBezTo>
                  <a:cubicBezTo>
                    <a:pt x="252857" y="714748"/>
                    <a:pt x="244820" y="727426"/>
                    <a:pt x="236784" y="735416"/>
                  </a:cubicBezTo>
                  <a:cubicBezTo>
                    <a:pt x="230703" y="741352"/>
                    <a:pt x="228303" y="756234"/>
                    <a:pt x="220672" y="753936"/>
                  </a:cubicBezTo>
                  <a:lnTo>
                    <a:pt x="210967" y="744944"/>
                  </a:lnTo>
                  <a:cubicBezTo>
                    <a:pt x="194823" y="722662"/>
                    <a:pt x="157769" y="643291"/>
                    <a:pt x="139989" y="597267"/>
                  </a:cubicBezTo>
                  <a:cubicBezTo>
                    <a:pt x="122281" y="551243"/>
                    <a:pt x="112608" y="495691"/>
                    <a:pt x="104501" y="463958"/>
                  </a:cubicBezTo>
                  <a:cubicBezTo>
                    <a:pt x="96464" y="432149"/>
                    <a:pt x="101300" y="414707"/>
                    <a:pt x="94828" y="409943"/>
                  </a:cubicBezTo>
                  <a:cubicBezTo>
                    <a:pt x="88427" y="405180"/>
                    <a:pt x="77119" y="436912"/>
                    <a:pt x="65811" y="438526"/>
                  </a:cubicBezTo>
                  <a:cubicBezTo>
                    <a:pt x="54503" y="440139"/>
                    <a:pt x="28758" y="425848"/>
                    <a:pt x="22286" y="419471"/>
                  </a:cubicBezTo>
                  <a:cubicBezTo>
                    <a:pt x="15814" y="413170"/>
                    <a:pt x="17450" y="402029"/>
                    <a:pt x="22286" y="397266"/>
                  </a:cubicBezTo>
                  <a:cubicBezTo>
                    <a:pt x="27122" y="392502"/>
                    <a:pt x="54503" y="389351"/>
                    <a:pt x="51303" y="387738"/>
                  </a:cubicBezTo>
                  <a:cubicBezTo>
                    <a:pt x="48102" y="386124"/>
                    <a:pt x="12614" y="387738"/>
                    <a:pt x="4506" y="382974"/>
                  </a:cubicBezTo>
                  <a:cubicBezTo>
                    <a:pt x="-3531" y="378210"/>
                    <a:pt x="1306" y="367069"/>
                    <a:pt x="2941" y="362306"/>
                  </a:cubicBezTo>
                  <a:lnTo>
                    <a:pt x="19014" y="349628"/>
                  </a:lnTo>
                  <a:cubicBezTo>
                    <a:pt x="27122" y="348014"/>
                    <a:pt x="44831" y="351241"/>
                    <a:pt x="52939" y="349628"/>
                  </a:cubicBezTo>
                  <a:cubicBezTo>
                    <a:pt x="60975" y="348014"/>
                    <a:pt x="64176" y="343250"/>
                    <a:pt x="65811" y="338487"/>
                  </a:cubicBezTo>
                  <a:lnTo>
                    <a:pt x="65811" y="319508"/>
                  </a:lnTo>
                  <a:cubicBezTo>
                    <a:pt x="64176" y="314745"/>
                    <a:pt x="54503" y="316281"/>
                    <a:pt x="51303" y="311518"/>
                  </a:cubicBezTo>
                  <a:cubicBezTo>
                    <a:pt x="48102" y="306754"/>
                    <a:pt x="46467" y="294076"/>
                    <a:pt x="41631" y="287699"/>
                  </a:cubicBezTo>
                  <a:cubicBezTo>
                    <a:pt x="36794" y="281398"/>
                    <a:pt x="20650" y="273407"/>
                    <a:pt x="22286" y="268644"/>
                  </a:cubicBezTo>
                  <a:cubicBezTo>
                    <a:pt x="23851" y="263880"/>
                    <a:pt x="46467" y="259116"/>
                    <a:pt x="56139" y="257579"/>
                  </a:cubicBezTo>
                  <a:cubicBezTo>
                    <a:pt x="65811" y="255966"/>
                    <a:pt x="77119" y="263880"/>
                    <a:pt x="85156" y="257579"/>
                  </a:cubicBezTo>
                  <a:cubicBezTo>
                    <a:pt x="93264" y="251202"/>
                    <a:pt x="89992" y="233761"/>
                    <a:pt x="99664" y="221083"/>
                  </a:cubicBezTo>
                  <a:cubicBezTo>
                    <a:pt x="109337" y="208328"/>
                    <a:pt x="133518" y="192500"/>
                    <a:pt x="143190" y="178209"/>
                  </a:cubicBezTo>
                  <a:cubicBezTo>
                    <a:pt x="152933" y="163918"/>
                    <a:pt x="164170" y="141712"/>
                    <a:pt x="162606" y="130571"/>
                  </a:cubicBezTo>
                  <a:cubicBezTo>
                    <a:pt x="160970" y="119430"/>
                    <a:pt x="136789" y="124194"/>
                    <a:pt x="130317" y="114666"/>
                  </a:cubicBezTo>
                  <a:cubicBezTo>
                    <a:pt x="123845" y="105139"/>
                    <a:pt x="123845" y="82933"/>
                    <a:pt x="122281" y="76556"/>
                  </a:cubicBezTo>
                  <a:cubicBezTo>
                    <a:pt x="121076" y="71917"/>
                    <a:pt x="117250" y="74110"/>
                    <a:pt x="115809" y="73406"/>
                  </a:cubicBezTo>
                  <a:cubicBezTo>
                    <a:pt x="117444" y="70256"/>
                    <a:pt x="127117" y="57501"/>
                    <a:pt x="128681" y="52737"/>
                  </a:cubicBezTo>
                  <a:cubicBezTo>
                    <a:pt x="130317" y="47974"/>
                    <a:pt x="128681" y="46437"/>
                    <a:pt x="123845" y="43287"/>
                  </a:cubicBezTo>
                  <a:cubicBezTo>
                    <a:pt x="119009" y="40060"/>
                    <a:pt x="102936" y="33759"/>
                    <a:pt x="99664" y="28995"/>
                  </a:cubicBezTo>
                  <a:cubicBezTo>
                    <a:pt x="96464" y="24231"/>
                    <a:pt x="99664" y="14704"/>
                    <a:pt x="104501" y="9940"/>
                  </a:cubicBezTo>
                  <a:cubicBezTo>
                    <a:pt x="109337" y="5176"/>
                    <a:pt x="125481" y="3563"/>
                    <a:pt x="128681" y="1949"/>
                  </a:cubicBezTo>
                  <a:lnTo>
                    <a:pt x="125706" y="4890"/>
                  </a:lnTo>
                  <a:lnTo>
                    <a:pt x="106136" y="9940"/>
                  </a:lnTo>
                  <a:cubicBezTo>
                    <a:pt x="99664" y="13090"/>
                    <a:pt x="106136" y="21004"/>
                    <a:pt x="106136" y="24231"/>
                  </a:cubicBezTo>
                  <a:lnTo>
                    <a:pt x="125706" y="4890"/>
                  </a:lnTo>
                  <a:cubicBezTo>
                    <a:pt x="135262" y="2946"/>
                    <a:pt x="145405" y="1227"/>
                    <a:pt x="149662" y="4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2" name="Freeform 147"/>
            <p:cNvSpPr>
              <a:spLocks/>
            </p:cNvSpPr>
            <p:nvPr>
              <p:custDataLst>
                <p:tags r:id="rId108"/>
              </p:custDataLst>
            </p:nvPr>
          </p:nvSpPr>
          <p:spPr bwMode="gray">
            <a:xfrm>
              <a:off x="6803332" y="3775626"/>
              <a:ext cx="205720" cy="370922"/>
            </a:xfrm>
            <a:custGeom>
              <a:avLst/>
              <a:gdLst>
                <a:gd name="T0" fmla="*/ 65 w 125"/>
                <a:gd name="T1" fmla="*/ 217 h 229"/>
                <a:gd name="T2" fmla="*/ 50 w 125"/>
                <a:gd name="T3" fmla="*/ 208 h 229"/>
                <a:gd name="T4" fmla="*/ 46 w 125"/>
                <a:gd name="T5" fmla="*/ 192 h 229"/>
                <a:gd name="T6" fmla="*/ 43 w 125"/>
                <a:gd name="T7" fmla="*/ 180 h 229"/>
                <a:gd name="T8" fmla="*/ 46 w 125"/>
                <a:gd name="T9" fmla="*/ 168 h 229"/>
                <a:gd name="T10" fmla="*/ 34 w 125"/>
                <a:gd name="T11" fmla="*/ 171 h 229"/>
                <a:gd name="T12" fmla="*/ 28 w 125"/>
                <a:gd name="T13" fmla="*/ 157 h 229"/>
                <a:gd name="T14" fmla="*/ 41 w 125"/>
                <a:gd name="T15" fmla="*/ 142 h 229"/>
                <a:gd name="T16" fmla="*/ 43 w 125"/>
                <a:gd name="T17" fmla="*/ 127 h 229"/>
                <a:gd name="T18" fmla="*/ 44 w 125"/>
                <a:gd name="T19" fmla="*/ 112 h 229"/>
                <a:gd name="T20" fmla="*/ 53 w 125"/>
                <a:gd name="T21" fmla="*/ 108 h 229"/>
                <a:gd name="T22" fmla="*/ 58 w 125"/>
                <a:gd name="T23" fmla="*/ 124 h 229"/>
                <a:gd name="T24" fmla="*/ 71 w 125"/>
                <a:gd name="T25" fmla="*/ 126 h 229"/>
                <a:gd name="T26" fmla="*/ 82 w 125"/>
                <a:gd name="T27" fmla="*/ 139 h 229"/>
                <a:gd name="T28" fmla="*/ 91 w 125"/>
                <a:gd name="T29" fmla="*/ 153 h 229"/>
                <a:gd name="T30" fmla="*/ 101 w 125"/>
                <a:gd name="T31" fmla="*/ 157 h 229"/>
                <a:gd name="T32" fmla="*/ 112 w 125"/>
                <a:gd name="T33" fmla="*/ 159 h 229"/>
                <a:gd name="T34" fmla="*/ 100 w 125"/>
                <a:gd name="T35" fmla="*/ 147 h 229"/>
                <a:gd name="T36" fmla="*/ 83 w 125"/>
                <a:gd name="T37" fmla="*/ 126 h 229"/>
                <a:gd name="T38" fmla="*/ 83 w 125"/>
                <a:gd name="T39" fmla="*/ 100 h 229"/>
                <a:gd name="T40" fmla="*/ 106 w 125"/>
                <a:gd name="T41" fmla="*/ 99 h 229"/>
                <a:gd name="T42" fmla="*/ 122 w 125"/>
                <a:gd name="T43" fmla="*/ 94 h 229"/>
                <a:gd name="T44" fmla="*/ 124 w 125"/>
                <a:gd name="T45" fmla="*/ 73 h 229"/>
                <a:gd name="T46" fmla="*/ 113 w 125"/>
                <a:gd name="T47" fmla="*/ 63 h 229"/>
                <a:gd name="T48" fmla="*/ 115 w 125"/>
                <a:gd name="T49" fmla="*/ 46 h 229"/>
                <a:gd name="T50" fmla="*/ 97 w 125"/>
                <a:gd name="T51" fmla="*/ 33 h 229"/>
                <a:gd name="T52" fmla="*/ 83 w 125"/>
                <a:gd name="T53" fmla="*/ 39 h 229"/>
                <a:gd name="T54" fmla="*/ 68 w 125"/>
                <a:gd name="T55" fmla="*/ 36 h 229"/>
                <a:gd name="T56" fmla="*/ 58 w 125"/>
                <a:gd name="T57" fmla="*/ 46 h 229"/>
                <a:gd name="T58" fmla="*/ 62 w 125"/>
                <a:gd name="T59" fmla="*/ 19 h 229"/>
                <a:gd name="T60" fmla="*/ 50 w 125"/>
                <a:gd name="T61" fmla="*/ 9 h 229"/>
                <a:gd name="T62" fmla="*/ 43 w 125"/>
                <a:gd name="T63" fmla="*/ 0 h 229"/>
                <a:gd name="T64" fmla="*/ 17 w 125"/>
                <a:gd name="T65" fmla="*/ 7 h 229"/>
                <a:gd name="T66" fmla="*/ 5 w 125"/>
                <a:gd name="T67" fmla="*/ 18 h 229"/>
                <a:gd name="T68" fmla="*/ 5 w 125"/>
                <a:gd name="T69" fmla="*/ 37 h 229"/>
                <a:gd name="T70" fmla="*/ 17 w 125"/>
                <a:gd name="T71" fmla="*/ 57 h 229"/>
                <a:gd name="T72" fmla="*/ 16 w 125"/>
                <a:gd name="T73" fmla="*/ 73 h 229"/>
                <a:gd name="T74" fmla="*/ 3 w 125"/>
                <a:gd name="T75" fmla="*/ 63 h 229"/>
                <a:gd name="T76" fmla="*/ 1 w 125"/>
                <a:gd name="T77" fmla="*/ 57 h 229"/>
                <a:gd name="T78" fmla="*/ 7 w 125"/>
                <a:gd name="T79" fmla="*/ 90 h 229"/>
                <a:gd name="T80" fmla="*/ 8 w 125"/>
                <a:gd name="T81" fmla="*/ 100 h 229"/>
                <a:gd name="T82" fmla="*/ 17 w 125"/>
                <a:gd name="T83" fmla="*/ 111 h 229"/>
                <a:gd name="T84" fmla="*/ 5 w 125"/>
                <a:gd name="T85" fmla="*/ 117 h 229"/>
                <a:gd name="T86" fmla="*/ 2 w 125"/>
                <a:gd name="T87" fmla="*/ 124 h 229"/>
                <a:gd name="T88" fmla="*/ 14 w 125"/>
                <a:gd name="T89" fmla="*/ 150 h 229"/>
                <a:gd name="T90" fmla="*/ 14 w 125"/>
                <a:gd name="T91" fmla="*/ 163 h 229"/>
                <a:gd name="T92" fmla="*/ 25 w 125"/>
                <a:gd name="T93" fmla="*/ 192 h 229"/>
                <a:gd name="T94" fmla="*/ 38 w 125"/>
                <a:gd name="T95" fmla="*/ 213 h 229"/>
                <a:gd name="T96" fmla="*/ 58 w 125"/>
                <a:gd name="T97" fmla="*/ 229 h 229"/>
                <a:gd name="T98" fmla="*/ 65 w 125"/>
                <a:gd name="T99" fmla="*/ 217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5" h="229">
                  <a:moveTo>
                    <a:pt x="65" y="217"/>
                  </a:moveTo>
                  <a:cubicBezTo>
                    <a:pt x="64" y="214"/>
                    <a:pt x="53" y="212"/>
                    <a:pt x="50" y="208"/>
                  </a:cubicBezTo>
                  <a:cubicBezTo>
                    <a:pt x="47" y="204"/>
                    <a:pt x="47" y="197"/>
                    <a:pt x="46" y="192"/>
                  </a:cubicBezTo>
                  <a:cubicBezTo>
                    <a:pt x="45" y="187"/>
                    <a:pt x="43" y="184"/>
                    <a:pt x="43" y="180"/>
                  </a:cubicBezTo>
                  <a:cubicBezTo>
                    <a:pt x="43" y="176"/>
                    <a:pt x="47" y="169"/>
                    <a:pt x="46" y="168"/>
                  </a:cubicBezTo>
                  <a:cubicBezTo>
                    <a:pt x="45" y="167"/>
                    <a:pt x="37" y="173"/>
                    <a:pt x="34" y="171"/>
                  </a:cubicBezTo>
                  <a:cubicBezTo>
                    <a:pt x="31" y="169"/>
                    <a:pt x="27" y="162"/>
                    <a:pt x="28" y="157"/>
                  </a:cubicBezTo>
                  <a:cubicBezTo>
                    <a:pt x="29" y="152"/>
                    <a:pt x="39" y="147"/>
                    <a:pt x="41" y="142"/>
                  </a:cubicBezTo>
                  <a:cubicBezTo>
                    <a:pt x="43" y="137"/>
                    <a:pt x="43" y="132"/>
                    <a:pt x="43" y="127"/>
                  </a:cubicBezTo>
                  <a:cubicBezTo>
                    <a:pt x="43" y="122"/>
                    <a:pt x="42" y="115"/>
                    <a:pt x="44" y="112"/>
                  </a:cubicBezTo>
                  <a:cubicBezTo>
                    <a:pt x="46" y="109"/>
                    <a:pt x="51" y="106"/>
                    <a:pt x="53" y="108"/>
                  </a:cubicBezTo>
                  <a:cubicBezTo>
                    <a:pt x="55" y="110"/>
                    <a:pt x="55" y="121"/>
                    <a:pt x="58" y="124"/>
                  </a:cubicBezTo>
                  <a:cubicBezTo>
                    <a:pt x="61" y="127"/>
                    <a:pt x="67" y="124"/>
                    <a:pt x="71" y="126"/>
                  </a:cubicBezTo>
                  <a:cubicBezTo>
                    <a:pt x="75" y="128"/>
                    <a:pt x="79" y="134"/>
                    <a:pt x="82" y="139"/>
                  </a:cubicBezTo>
                  <a:cubicBezTo>
                    <a:pt x="85" y="144"/>
                    <a:pt x="88" y="150"/>
                    <a:pt x="91" y="153"/>
                  </a:cubicBezTo>
                  <a:cubicBezTo>
                    <a:pt x="94" y="156"/>
                    <a:pt x="97" y="156"/>
                    <a:pt x="101" y="157"/>
                  </a:cubicBezTo>
                  <a:cubicBezTo>
                    <a:pt x="105" y="158"/>
                    <a:pt x="112" y="161"/>
                    <a:pt x="112" y="159"/>
                  </a:cubicBezTo>
                  <a:cubicBezTo>
                    <a:pt x="112" y="157"/>
                    <a:pt x="105" y="152"/>
                    <a:pt x="100" y="147"/>
                  </a:cubicBezTo>
                  <a:cubicBezTo>
                    <a:pt x="95" y="142"/>
                    <a:pt x="86" y="134"/>
                    <a:pt x="83" y="126"/>
                  </a:cubicBezTo>
                  <a:cubicBezTo>
                    <a:pt x="80" y="118"/>
                    <a:pt x="79" y="104"/>
                    <a:pt x="83" y="100"/>
                  </a:cubicBezTo>
                  <a:cubicBezTo>
                    <a:pt x="87" y="96"/>
                    <a:pt x="100" y="100"/>
                    <a:pt x="106" y="99"/>
                  </a:cubicBezTo>
                  <a:cubicBezTo>
                    <a:pt x="112" y="98"/>
                    <a:pt x="119" y="98"/>
                    <a:pt x="122" y="94"/>
                  </a:cubicBezTo>
                  <a:cubicBezTo>
                    <a:pt x="125" y="90"/>
                    <a:pt x="125" y="78"/>
                    <a:pt x="124" y="73"/>
                  </a:cubicBezTo>
                  <a:cubicBezTo>
                    <a:pt x="123" y="68"/>
                    <a:pt x="114" y="67"/>
                    <a:pt x="113" y="63"/>
                  </a:cubicBezTo>
                  <a:cubicBezTo>
                    <a:pt x="112" y="59"/>
                    <a:pt x="118" y="51"/>
                    <a:pt x="115" y="46"/>
                  </a:cubicBezTo>
                  <a:cubicBezTo>
                    <a:pt x="112" y="41"/>
                    <a:pt x="102" y="34"/>
                    <a:pt x="97" y="33"/>
                  </a:cubicBezTo>
                  <a:cubicBezTo>
                    <a:pt x="92" y="32"/>
                    <a:pt x="88" y="39"/>
                    <a:pt x="83" y="39"/>
                  </a:cubicBezTo>
                  <a:cubicBezTo>
                    <a:pt x="78" y="39"/>
                    <a:pt x="72" y="35"/>
                    <a:pt x="68" y="36"/>
                  </a:cubicBezTo>
                  <a:cubicBezTo>
                    <a:pt x="64" y="37"/>
                    <a:pt x="59" y="49"/>
                    <a:pt x="58" y="46"/>
                  </a:cubicBezTo>
                  <a:cubicBezTo>
                    <a:pt x="57" y="43"/>
                    <a:pt x="63" y="25"/>
                    <a:pt x="62" y="19"/>
                  </a:cubicBezTo>
                  <a:cubicBezTo>
                    <a:pt x="61" y="13"/>
                    <a:pt x="53" y="12"/>
                    <a:pt x="50" y="9"/>
                  </a:cubicBezTo>
                  <a:cubicBezTo>
                    <a:pt x="47" y="6"/>
                    <a:pt x="48" y="0"/>
                    <a:pt x="43" y="0"/>
                  </a:cubicBezTo>
                  <a:cubicBezTo>
                    <a:pt x="38" y="0"/>
                    <a:pt x="23" y="4"/>
                    <a:pt x="17" y="7"/>
                  </a:cubicBezTo>
                  <a:cubicBezTo>
                    <a:pt x="11" y="10"/>
                    <a:pt x="7" y="13"/>
                    <a:pt x="5" y="18"/>
                  </a:cubicBezTo>
                  <a:cubicBezTo>
                    <a:pt x="3" y="23"/>
                    <a:pt x="3" y="30"/>
                    <a:pt x="5" y="37"/>
                  </a:cubicBezTo>
                  <a:cubicBezTo>
                    <a:pt x="7" y="44"/>
                    <a:pt x="15" y="51"/>
                    <a:pt x="17" y="57"/>
                  </a:cubicBezTo>
                  <a:cubicBezTo>
                    <a:pt x="19" y="63"/>
                    <a:pt x="18" y="72"/>
                    <a:pt x="16" y="73"/>
                  </a:cubicBezTo>
                  <a:cubicBezTo>
                    <a:pt x="14" y="74"/>
                    <a:pt x="5" y="66"/>
                    <a:pt x="3" y="63"/>
                  </a:cubicBezTo>
                  <a:cubicBezTo>
                    <a:pt x="1" y="60"/>
                    <a:pt x="0" y="53"/>
                    <a:pt x="1" y="57"/>
                  </a:cubicBezTo>
                  <a:cubicBezTo>
                    <a:pt x="2" y="61"/>
                    <a:pt x="6" y="83"/>
                    <a:pt x="7" y="90"/>
                  </a:cubicBezTo>
                  <a:cubicBezTo>
                    <a:pt x="8" y="97"/>
                    <a:pt x="6" y="97"/>
                    <a:pt x="8" y="100"/>
                  </a:cubicBezTo>
                  <a:cubicBezTo>
                    <a:pt x="10" y="103"/>
                    <a:pt x="17" y="108"/>
                    <a:pt x="17" y="111"/>
                  </a:cubicBezTo>
                  <a:cubicBezTo>
                    <a:pt x="17" y="114"/>
                    <a:pt x="7" y="115"/>
                    <a:pt x="5" y="117"/>
                  </a:cubicBezTo>
                  <a:cubicBezTo>
                    <a:pt x="3" y="119"/>
                    <a:pt x="1" y="119"/>
                    <a:pt x="2" y="124"/>
                  </a:cubicBezTo>
                  <a:cubicBezTo>
                    <a:pt x="3" y="129"/>
                    <a:pt x="12" y="144"/>
                    <a:pt x="14" y="150"/>
                  </a:cubicBezTo>
                  <a:cubicBezTo>
                    <a:pt x="16" y="156"/>
                    <a:pt x="12" y="156"/>
                    <a:pt x="14" y="163"/>
                  </a:cubicBezTo>
                  <a:cubicBezTo>
                    <a:pt x="16" y="170"/>
                    <a:pt x="21" y="184"/>
                    <a:pt x="25" y="192"/>
                  </a:cubicBezTo>
                  <a:cubicBezTo>
                    <a:pt x="29" y="200"/>
                    <a:pt x="33" y="207"/>
                    <a:pt x="38" y="213"/>
                  </a:cubicBezTo>
                  <a:cubicBezTo>
                    <a:pt x="43" y="219"/>
                    <a:pt x="53" y="229"/>
                    <a:pt x="58" y="229"/>
                  </a:cubicBezTo>
                  <a:cubicBezTo>
                    <a:pt x="63" y="229"/>
                    <a:pt x="66" y="220"/>
                    <a:pt x="65" y="21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3" name="Freeform 148"/>
            <p:cNvSpPr>
              <a:spLocks/>
            </p:cNvSpPr>
            <p:nvPr>
              <p:custDataLst>
                <p:tags r:id="rId109"/>
              </p:custDataLst>
            </p:nvPr>
          </p:nvSpPr>
          <p:spPr bwMode="gray">
            <a:xfrm>
              <a:off x="6928059" y="3696258"/>
              <a:ext cx="179803" cy="380641"/>
            </a:xfrm>
            <a:custGeom>
              <a:avLst/>
              <a:gdLst>
                <a:gd name="T0" fmla="*/ 33 w 109"/>
                <a:gd name="T1" fmla="*/ 202 h 235"/>
                <a:gd name="T2" fmla="*/ 49 w 109"/>
                <a:gd name="T3" fmla="*/ 187 h 235"/>
                <a:gd name="T4" fmla="*/ 75 w 109"/>
                <a:gd name="T5" fmla="*/ 176 h 235"/>
                <a:gd name="T6" fmla="*/ 75 w 109"/>
                <a:gd name="T7" fmla="*/ 148 h 235"/>
                <a:gd name="T8" fmla="*/ 54 w 109"/>
                <a:gd name="T9" fmla="*/ 143 h 235"/>
                <a:gd name="T10" fmla="*/ 76 w 109"/>
                <a:gd name="T11" fmla="*/ 139 h 235"/>
                <a:gd name="T12" fmla="*/ 64 w 109"/>
                <a:gd name="T13" fmla="*/ 110 h 235"/>
                <a:gd name="T14" fmla="*/ 45 w 109"/>
                <a:gd name="T15" fmla="*/ 86 h 235"/>
                <a:gd name="T16" fmla="*/ 25 w 109"/>
                <a:gd name="T17" fmla="*/ 70 h 235"/>
                <a:gd name="T18" fmla="*/ 39 w 109"/>
                <a:gd name="T19" fmla="*/ 53 h 235"/>
                <a:gd name="T20" fmla="*/ 27 w 109"/>
                <a:gd name="T21" fmla="*/ 45 h 235"/>
                <a:gd name="T22" fmla="*/ 20 w 109"/>
                <a:gd name="T23" fmla="*/ 38 h 235"/>
                <a:gd name="T24" fmla="*/ 6 w 109"/>
                <a:gd name="T25" fmla="*/ 28 h 235"/>
                <a:gd name="T26" fmla="*/ 0 w 109"/>
                <a:gd name="T27" fmla="*/ 16 h 235"/>
                <a:gd name="T28" fmla="*/ 6 w 109"/>
                <a:gd name="T29" fmla="*/ 7 h 235"/>
                <a:gd name="T30" fmla="*/ 19 w 109"/>
                <a:gd name="T31" fmla="*/ 16 h 235"/>
                <a:gd name="T32" fmla="*/ 34 w 109"/>
                <a:gd name="T33" fmla="*/ 10 h 235"/>
                <a:gd name="T34" fmla="*/ 45 w 109"/>
                <a:gd name="T35" fmla="*/ 4 h 235"/>
                <a:gd name="T36" fmla="*/ 81 w 109"/>
                <a:gd name="T37" fmla="*/ 32 h 235"/>
                <a:gd name="T38" fmla="*/ 63 w 109"/>
                <a:gd name="T39" fmla="*/ 49 h 235"/>
                <a:gd name="T40" fmla="*/ 51 w 109"/>
                <a:gd name="T41" fmla="*/ 65 h 235"/>
                <a:gd name="T42" fmla="*/ 55 w 109"/>
                <a:gd name="T43" fmla="*/ 82 h 235"/>
                <a:gd name="T44" fmla="*/ 79 w 109"/>
                <a:gd name="T45" fmla="*/ 110 h 235"/>
                <a:gd name="T46" fmla="*/ 94 w 109"/>
                <a:gd name="T47" fmla="*/ 130 h 235"/>
                <a:gd name="T48" fmla="*/ 105 w 109"/>
                <a:gd name="T49" fmla="*/ 154 h 235"/>
                <a:gd name="T50" fmla="*/ 105 w 109"/>
                <a:gd name="T51" fmla="*/ 193 h 235"/>
                <a:gd name="T52" fmla="*/ 81 w 109"/>
                <a:gd name="T53" fmla="*/ 197 h 235"/>
                <a:gd name="T54" fmla="*/ 64 w 109"/>
                <a:gd name="T55" fmla="*/ 209 h 235"/>
                <a:gd name="T56" fmla="*/ 61 w 109"/>
                <a:gd name="T57" fmla="*/ 221 h 235"/>
                <a:gd name="T58" fmla="*/ 43 w 109"/>
                <a:gd name="T59" fmla="*/ 235 h 235"/>
                <a:gd name="T60" fmla="*/ 36 w 109"/>
                <a:gd name="T61" fmla="*/ 220 h 235"/>
                <a:gd name="T62" fmla="*/ 33 w 109"/>
                <a:gd name="T63" fmla="*/ 202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9" h="235">
                  <a:moveTo>
                    <a:pt x="33" y="202"/>
                  </a:moveTo>
                  <a:cubicBezTo>
                    <a:pt x="35" y="197"/>
                    <a:pt x="42" y="191"/>
                    <a:pt x="49" y="187"/>
                  </a:cubicBezTo>
                  <a:cubicBezTo>
                    <a:pt x="56" y="183"/>
                    <a:pt x="71" y="182"/>
                    <a:pt x="75" y="176"/>
                  </a:cubicBezTo>
                  <a:cubicBezTo>
                    <a:pt x="79" y="170"/>
                    <a:pt x="78" y="153"/>
                    <a:pt x="75" y="148"/>
                  </a:cubicBezTo>
                  <a:cubicBezTo>
                    <a:pt x="72" y="143"/>
                    <a:pt x="54" y="144"/>
                    <a:pt x="54" y="143"/>
                  </a:cubicBezTo>
                  <a:cubicBezTo>
                    <a:pt x="54" y="142"/>
                    <a:pt x="74" y="144"/>
                    <a:pt x="76" y="139"/>
                  </a:cubicBezTo>
                  <a:cubicBezTo>
                    <a:pt x="78" y="134"/>
                    <a:pt x="69" y="119"/>
                    <a:pt x="64" y="110"/>
                  </a:cubicBezTo>
                  <a:cubicBezTo>
                    <a:pt x="59" y="101"/>
                    <a:pt x="51" y="93"/>
                    <a:pt x="45" y="86"/>
                  </a:cubicBezTo>
                  <a:cubicBezTo>
                    <a:pt x="39" y="79"/>
                    <a:pt x="26" y="75"/>
                    <a:pt x="25" y="70"/>
                  </a:cubicBezTo>
                  <a:cubicBezTo>
                    <a:pt x="24" y="65"/>
                    <a:pt x="39" y="57"/>
                    <a:pt x="39" y="53"/>
                  </a:cubicBezTo>
                  <a:cubicBezTo>
                    <a:pt x="39" y="49"/>
                    <a:pt x="30" y="47"/>
                    <a:pt x="27" y="45"/>
                  </a:cubicBezTo>
                  <a:cubicBezTo>
                    <a:pt x="24" y="43"/>
                    <a:pt x="23" y="41"/>
                    <a:pt x="20" y="38"/>
                  </a:cubicBezTo>
                  <a:cubicBezTo>
                    <a:pt x="17" y="35"/>
                    <a:pt x="9" y="32"/>
                    <a:pt x="6" y="28"/>
                  </a:cubicBezTo>
                  <a:cubicBezTo>
                    <a:pt x="3" y="24"/>
                    <a:pt x="0" y="19"/>
                    <a:pt x="0" y="16"/>
                  </a:cubicBezTo>
                  <a:cubicBezTo>
                    <a:pt x="0" y="13"/>
                    <a:pt x="3" y="7"/>
                    <a:pt x="6" y="7"/>
                  </a:cubicBezTo>
                  <a:cubicBezTo>
                    <a:pt x="9" y="7"/>
                    <a:pt x="14" y="15"/>
                    <a:pt x="19" y="16"/>
                  </a:cubicBezTo>
                  <a:cubicBezTo>
                    <a:pt x="24" y="17"/>
                    <a:pt x="30" y="12"/>
                    <a:pt x="34" y="10"/>
                  </a:cubicBezTo>
                  <a:cubicBezTo>
                    <a:pt x="38" y="8"/>
                    <a:pt x="37" y="0"/>
                    <a:pt x="45" y="4"/>
                  </a:cubicBezTo>
                  <a:cubicBezTo>
                    <a:pt x="53" y="8"/>
                    <a:pt x="78" y="25"/>
                    <a:pt x="81" y="32"/>
                  </a:cubicBezTo>
                  <a:cubicBezTo>
                    <a:pt x="84" y="39"/>
                    <a:pt x="68" y="43"/>
                    <a:pt x="63" y="49"/>
                  </a:cubicBezTo>
                  <a:cubicBezTo>
                    <a:pt x="58" y="55"/>
                    <a:pt x="52" y="60"/>
                    <a:pt x="51" y="65"/>
                  </a:cubicBezTo>
                  <a:cubicBezTo>
                    <a:pt x="50" y="70"/>
                    <a:pt x="50" y="75"/>
                    <a:pt x="55" y="82"/>
                  </a:cubicBezTo>
                  <a:cubicBezTo>
                    <a:pt x="60" y="89"/>
                    <a:pt x="72" y="102"/>
                    <a:pt x="79" y="110"/>
                  </a:cubicBezTo>
                  <a:cubicBezTo>
                    <a:pt x="86" y="118"/>
                    <a:pt x="90" y="123"/>
                    <a:pt x="94" y="130"/>
                  </a:cubicBezTo>
                  <a:cubicBezTo>
                    <a:pt x="98" y="137"/>
                    <a:pt x="103" y="144"/>
                    <a:pt x="105" y="154"/>
                  </a:cubicBezTo>
                  <a:cubicBezTo>
                    <a:pt x="107" y="164"/>
                    <a:pt x="109" y="186"/>
                    <a:pt x="105" y="193"/>
                  </a:cubicBezTo>
                  <a:cubicBezTo>
                    <a:pt x="101" y="200"/>
                    <a:pt x="88" y="194"/>
                    <a:pt x="81" y="197"/>
                  </a:cubicBezTo>
                  <a:cubicBezTo>
                    <a:pt x="74" y="200"/>
                    <a:pt x="67" y="205"/>
                    <a:pt x="64" y="209"/>
                  </a:cubicBezTo>
                  <a:cubicBezTo>
                    <a:pt x="61" y="213"/>
                    <a:pt x="65" y="217"/>
                    <a:pt x="61" y="221"/>
                  </a:cubicBezTo>
                  <a:cubicBezTo>
                    <a:pt x="57" y="225"/>
                    <a:pt x="47" y="235"/>
                    <a:pt x="43" y="235"/>
                  </a:cubicBezTo>
                  <a:cubicBezTo>
                    <a:pt x="39" y="235"/>
                    <a:pt x="37" y="225"/>
                    <a:pt x="36" y="220"/>
                  </a:cubicBezTo>
                  <a:cubicBezTo>
                    <a:pt x="35" y="215"/>
                    <a:pt x="31" y="207"/>
                    <a:pt x="33" y="20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4" name="Freeform 154"/>
            <p:cNvSpPr>
              <a:spLocks/>
            </p:cNvSpPr>
            <p:nvPr>
              <p:custDataLst>
                <p:tags r:id="rId110"/>
              </p:custDataLst>
            </p:nvPr>
          </p:nvSpPr>
          <p:spPr bwMode="gray">
            <a:xfrm>
              <a:off x="8487966" y="5189663"/>
              <a:ext cx="296431" cy="422754"/>
            </a:xfrm>
            <a:custGeom>
              <a:avLst/>
              <a:gdLst>
                <a:gd name="T0" fmla="*/ 36 w 180"/>
                <a:gd name="T1" fmla="*/ 244 h 261"/>
                <a:gd name="T2" fmla="*/ 55 w 180"/>
                <a:gd name="T3" fmla="*/ 237 h 261"/>
                <a:gd name="T4" fmla="*/ 66 w 180"/>
                <a:gd name="T5" fmla="*/ 214 h 261"/>
                <a:gd name="T6" fmla="*/ 81 w 180"/>
                <a:gd name="T7" fmla="*/ 198 h 261"/>
                <a:gd name="T8" fmla="*/ 85 w 180"/>
                <a:gd name="T9" fmla="*/ 186 h 261"/>
                <a:gd name="T10" fmla="*/ 108 w 180"/>
                <a:gd name="T11" fmla="*/ 186 h 261"/>
                <a:gd name="T12" fmla="*/ 96 w 180"/>
                <a:gd name="T13" fmla="*/ 172 h 261"/>
                <a:gd name="T14" fmla="*/ 105 w 180"/>
                <a:gd name="T15" fmla="*/ 156 h 261"/>
                <a:gd name="T16" fmla="*/ 121 w 180"/>
                <a:gd name="T17" fmla="*/ 136 h 261"/>
                <a:gd name="T18" fmla="*/ 129 w 180"/>
                <a:gd name="T19" fmla="*/ 129 h 261"/>
                <a:gd name="T20" fmla="*/ 142 w 180"/>
                <a:gd name="T21" fmla="*/ 135 h 261"/>
                <a:gd name="T22" fmla="*/ 156 w 180"/>
                <a:gd name="T23" fmla="*/ 108 h 261"/>
                <a:gd name="T24" fmla="*/ 162 w 180"/>
                <a:gd name="T25" fmla="*/ 97 h 261"/>
                <a:gd name="T26" fmla="*/ 175 w 180"/>
                <a:gd name="T27" fmla="*/ 82 h 261"/>
                <a:gd name="T28" fmla="*/ 178 w 180"/>
                <a:gd name="T29" fmla="*/ 64 h 261"/>
                <a:gd name="T30" fmla="*/ 162 w 180"/>
                <a:gd name="T31" fmla="*/ 69 h 261"/>
                <a:gd name="T32" fmla="*/ 147 w 180"/>
                <a:gd name="T33" fmla="*/ 60 h 261"/>
                <a:gd name="T34" fmla="*/ 144 w 180"/>
                <a:gd name="T35" fmla="*/ 34 h 261"/>
                <a:gd name="T36" fmla="*/ 135 w 180"/>
                <a:gd name="T37" fmla="*/ 27 h 261"/>
                <a:gd name="T38" fmla="*/ 124 w 180"/>
                <a:gd name="T39" fmla="*/ 19 h 261"/>
                <a:gd name="T40" fmla="*/ 112 w 180"/>
                <a:gd name="T41" fmla="*/ 9 h 261"/>
                <a:gd name="T42" fmla="*/ 100 w 180"/>
                <a:gd name="T43" fmla="*/ 3 h 261"/>
                <a:gd name="T44" fmla="*/ 103 w 180"/>
                <a:gd name="T45" fmla="*/ 27 h 261"/>
                <a:gd name="T46" fmla="*/ 121 w 180"/>
                <a:gd name="T47" fmla="*/ 52 h 261"/>
                <a:gd name="T48" fmla="*/ 130 w 180"/>
                <a:gd name="T49" fmla="*/ 72 h 261"/>
                <a:gd name="T50" fmla="*/ 123 w 180"/>
                <a:gd name="T51" fmla="*/ 84 h 261"/>
                <a:gd name="T52" fmla="*/ 114 w 180"/>
                <a:gd name="T53" fmla="*/ 91 h 261"/>
                <a:gd name="T54" fmla="*/ 136 w 180"/>
                <a:gd name="T55" fmla="*/ 115 h 261"/>
                <a:gd name="T56" fmla="*/ 121 w 180"/>
                <a:gd name="T57" fmla="*/ 132 h 261"/>
                <a:gd name="T58" fmla="*/ 103 w 180"/>
                <a:gd name="T59" fmla="*/ 129 h 261"/>
                <a:gd name="T60" fmla="*/ 99 w 180"/>
                <a:gd name="T61" fmla="*/ 117 h 261"/>
                <a:gd name="T62" fmla="*/ 79 w 180"/>
                <a:gd name="T63" fmla="*/ 129 h 261"/>
                <a:gd name="T64" fmla="*/ 79 w 180"/>
                <a:gd name="T65" fmla="*/ 142 h 261"/>
                <a:gd name="T66" fmla="*/ 75 w 180"/>
                <a:gd name="T67" fmla="*/ 157 h 261"/>
                <a:gd name="T68" fmla="*/ 45 w 180"/>
                <a:gd name="T69" fmla="*/ 186 h 261"/>
                <a:gd name="T70" fmla="*/ 28 w 180"/>
                <a:gd name="T71" fmla="*/ 189 h 261"/>
                <a:gd name="T72" fmla="*/ 4 w 180"/>
                <a:gd name="T73" fmla="*/ 210 h 261"/>
                <a:gd name="T74" fmla="*/ 3 w 180"/>
                <a:gd name="T75" fmla="*/ 229 h 261"/>
                <a:gd name="T76" fmla="*/ 15 w 180"/>
                <a:gd name="T77" fmla="*/ 237 h 261"/>
                <a:gd name="T78" fmla="*/ 19 w 180"/>
                <a:gd name="T79" fmla="*/ 258 h 261"/>
                <a:gd name="T80" fmla="*/ 33 w 180"/>
                <a:gd name="T81" fmla="*/ 256 h 261"/>
                <a:gd name="T82" fmla="*/ 36 w 180"/>
                <a:gd name="T83" fmla="*/ 244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80" h="261">
                  <a:moveTo>
                    <a:pt x="36" y="244"/>
                  </a:moveTo>
                  <a:cubicBezTo>
                    <a:pt x="40" y="241"/>
                    <a:pt x="50" y="242"/>
                    <a:pt x="55" y="237"/>
                  </a:cubicBezTo>
                  <a:cubicBezTo>
                    <a:pt x="60" y="232"/>
                    <a:pt x="62" y="220"/>
                    <a:pt x="66" y="214"/>
                  </a:cubicBezTo>
                  <a:cubicBezTo>
                    <a:pt x="70" y="208"/>
                    <a:pt x="78" y="203"/>
                    <a:pt x="81" y="198"/>
                  </a:cubicBezTo>
                  <a:cubicBezTo>
                    <a:pt x="84" y="193"/>
                    <a:pt x="81" y="188"/>
                    <a:pt x="85" y="186"/>
                  </a:cubicBezTo>
                  <a:cubicBezTo>
                    <a:pt x="89" y="184"/>
                    <a:pt x="106" y="188"/>
                    <a:pt x="108" y="186"/>
                  </a:cubicBezTo>
                  <a:cubicBezTo>
                    <a:pt x="110" y="184"/>
                    <a:pt x="97" y="177"/>
                    <a:pt x="96" y="172"/>
                  </a:cubicBezTo>
                  <a:cubicBezTo>
                    <a:pt x="95" y="167"/>
                    <a:pt x="101" y="162"/>
                    <a:pt x="105" y="156"/>
                  </a:cubicBezTo>
                  <a:cubicBezTo>
                    <a:pt x="109" y="150"/>
                    <a:pt x="117" y="141"/>
                    <a:pt x="121" y="136"/>
                  </a:cubicBezTo>
                  <a:cubicBezTo>
                    <a:pt x="125" y="131"/>
                    <a:pt x="126" y="129"/>
                    <a:pt x="129" y="129"/>
                  </a:cubicBezTo>
                  <a:cubicBezTo>
                    <a:pt x="132" y="129"/>
                    <a:pt x="138" y="138"/>
                    <a:pt x="142" y="135"/>
                  </a:cubicBezTo>
                  <a:cubicBezTo>
                    <a:pt x="146" y="132"/>
                    <a:pt x="153" y="114"/>
                    <a:pt x="156" y="108"/>
                  </a:cubicBezTo>
                  <a:cubicBezTo>
                    <a:pt x="159" y="102"/>
                    <a:pt x="159" y="101"/>
                    <a:pt x="162" y="97"/>
                  </a:cubicBezTo>
                  <a:cubicBezTo>
                    <a:pt x="165" y="93"/>
                    <a:pt x="172" y="87"/>
                    <a:pt x="175" y="82"/>
                  </a:cubicBezTo>
                  <a:cubicBezTo>
                    <a:pt x="178" y="77"/>
                    <a:pt x="180" y="66"/>
                    <a:pt x="178" y="64"/>
                  </a:cubicBezTo>
                  <a:cubicBezTo>
                    <a:pt x="176" y="62"/>
                    <a:pt x="167" y="70"/>
                    <a:pt x="162" y="69"/>
                  </a:cubicBezTo>
                  <a:cubicBezTo>
                    <a:pt x="157" y="68"/>
                    <a:pt x="150" y="66"/>
                    <a:pt x="147" y="60"/>
                  </a:cubicBezTo>
                  <a:cubicBezTo>
                    <a:pt x="144" y="54"/>
                    <a:pt x="146" y="39"/>
                    <a:pt x="144" y="34"/>
                  </a:cubicBezTo>
                  <a:cubicBezTo>
                    <a:pt x="142" y="29"/>
                    <a:pt x="138" y="29"/>
                    <a:pt x="135" y="27"/>
                  </a:cubicBezTo>
                  <a:cubicBezTo>
                    <a:pt x="132" y="25"/>
                    <a:pt x="128" y="22"/>
                    <a:pt x="124" y="19"/>
                  </a:cubicBezTo>
                  <a:cubicBezTo>
                    <a:pt x="120" y="16"/>
                    <a:pt x="116" y="12"/>
                    <a:pt x="112" y="9"/>
                  </a:cubicBezTo>
                  <a:cubicBezTo>
                    <a:pt x="108" y="6"/>
                    <a:pt x="101" y="0"/>
                    <a:pt x="100" y="3"/>
                  </a:cubicBezTo>
                  <a:cubicBezTo>
                    <a:pt x="99" y="6"/>
                    <a:pt x="100" y="19"/>
                    <a:pt x="103" y="27"/>
                  </a:cubicBezTo>
                  <a:cubicBezTo>
                    <a:pt x="106" y="35"/>
                    <a:pt x="117" y="45"/>
                    <a:pt x="121" y="52"/>
                  </a:cubicBezTo>
                  <a:cubicBezTo>
                    <a:pt x="125" y="59"/>
                    <a:pt x="130" y="67"/>
                    <a:pt x="130" y="72"/>
                  </a:cubicBezTo>
                  <a:cubicBezTo>
                    <a:pt x="130" y="77"/>
                    <a:pt x="126" y="81"/>
                    <a:pt x="123" y="84"/>
                  </a:cubicBezTo>
                  <a:cubicBezTo>
                    <a:pt x="120" y="87"/>
                    <a:pt x="112" y="86"/>
                    <a:pt x="114" y="91"/>
                  </a:cubicBezTo>
                  <a:cubicBezTo>
                    <a:pt x="116" y="96"/>
                    <a:pt x="135" y="108"/>
                    <a:pt x="136" y="115"/>
                  </a:cubicBezTo>
                  <a:cubicBezTo>
                    <a:pt x="137" y="122"/>
                    <a:pt x="126" y="130"/>
                    <a:pt x="121" y="132"/>
                  </a:cubicBezTo>
                  <a:cubicBezTo>
                    <a:pt x="116" y="134"/>
                    <a:pt x="107" y="131"/>
                    <a:pt x="103" y="129"/>
                  </a:cubicBezTo>
                  <a:cubicBezTo>
                    <a:pt x="99" y="127"/>
                    <a:pt x="103" y="117"/>
                    <a:pt x="99" y="117"/>
                  </a:cubicBezTo>
                  <a:cubicBezTo>
                    <a:pt x="95" y="117"/>
                    <a:pt x="82" y="125"/>
                    <a:pt x="79" y="129"/>
                  </a:cubicBezTo>
                  <a:cubicBezTo>
                    <a:pt x="76" y="133"/>
                    <a:pt x="80" y="137"/>
                    <a:pt x="79" y="142"/>
                  </a:cubicBezTo>
                  <a:cubicBezTo>
                    <a:pt x="78" y="147"/>
                    <a:pt x="81" y="150"/>
                    <a:pt x="75" y="157"/>
                  </a:cubicBezTo>
                  <a:cubicBezTo>
                    <a:pt x="69" y="164"/>
                    <a:pt x="53" y="181"/>
                    <a:pt x="45" y="186"/>
                  </a:cubicBezTo>
                  <a:cubicBezTo>
                    <a:pt x="37" y="191"/>
                    <a:pt x="35" y="185"/>
                    <a:pt x="28" y="189"/>
                  </a:cubicBezTo>
                  <a:cubicBezTo>
                    <a:pt x="21" y="193"/>
                    <a:pt x="8" y="203"/>
                    <a:pt x="4" y="210"/>
                  </a:cubicBezTo>
                  <a:cubicBezTo>
                    <a:pt x="0" y="217"/>
                    <a:pt x="1" y="225"/>
                    <a:pt x="3" y="229"/>
                  </a:cubicBezTo>
                  <a:cubicBezTo>
                    <a:pt x="5" y="233"/>
                    <a:pt x="12" y="232"/>
                    <a:pt x="15" y="237"/>
                  </a:cubicBezTo>
                  <a:cubicBezTo>
                    <a:pt x="18" y="242"/>
                    <a:pt x="16" y="255"/>
                    <a:pt x="19" y="258"/>
                  </a:cubicBezTo>
                  <a:cubicBezTo>
                    <a:pt x="22" y="261"/>
                    <a:pt x="30" y="258"/>
                    <a:pt x="33" y="256"/>
                  </a:cubicBezTo>
                  <a:cubicBezTo>
                    <a:pt x="36" y="254"/>
                    <a:pt x="32" y="247"/>
                    <a:pt x="36" y="24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5" name="Freeform 164"/>
            <p:cNvSpPr>
              <a:spLocks/>
            </p:cNvSpPr>
            <p:nvPr>
              <p:custDataLst>
                <p:tags r:id="rId111"/>
              </p:custDataLst>
            </p:nvPr>
          </p:nvSpPr>
          <p:spPr bwMode="gray">
            <a:xfrm>
              <a:off x="7347597" y="3762669"/>
              <a:ext cx="183042" cy="378924"/>
            </a:xfrm>
            <a:custGeom>
              <a:avLst/>
              <a:gdLst/>
              <a:ahLst/>
              <a:cxnLst/>
              <a:rect l="l" t="t" r="r" b="b"/>
              <a:pathLst>
                <a:path w="179388" h="371381">
                  <a:moveTo>
                    <a:pt x="84324" y="270723"/>
                  </a:moveTo>
                  <a:lnTo>
                    <a:pt x="84038" y="271462"/>
                  </a:lnTo>
                  <a:cubicBezTo>
                    <a:pt x="78442" y="272731"/>
                    <a:pt x="79725" y="272085"/>
                    <a:pt x="84324" y="270723"/>
                  </a:cubicBezTo>
                  <a:close/>
                  <a:moveTo>
                    <a:pt x="54140" y="47625"/>
                  </a:moveTo>
                  <a:cubicBezTo>
                    <a:pt x="58584" y="47228"/>
                    <a:pt x="62220" y="48418"/>
                    <a:pt x="67877" y="53975"/>
                  </a:cubicBezTo>
                  <a:cubicBezTo>
                    <a:pt x="69493" y="65087"/>
                    <a:pt x="69493" y="74612"/>
                    <a:pt x="64645" y="84137"/>
                  </a:cubicBezTo>
                  <a:cubicBezTo>
                    <a:pt x="72725" y="103187"/>
                    <a:pt x="71109" y="115887"/>
                    <a:pt x="50099" y="120650"/>
                  </a:cubicBezTo>
                  <a:cubicBezTo>
                    <a:pt x="32322" y="142875"/>
                    <a:pt x="48483" y="144462"/>
                    <a:pt x="72725" y="146050"/>
                  </a:cubicBezTo>
                  <a:cubicBezTo>
                    <a:pt x="79190" y="174625"/>
                    <a:pt x="79190" y="168275"/>
                    <a:pt x="117976" y="169862"/>
                  </a:cubicBezTo>
                  <a:cubicBezTo>
                    <a:pt x="113128" y="193675"/>
                    <a:pt x="121208" y="201612"/>
                    <a:pt x="142218" y="211137"/>
                  </a:cubicBezTo>
                  <a:cubicBezTo>
                    <a:pt x="145450" y="236537"/>
                    <a:pt x="148682" y="239712"/>
                    <a:pt x="159995" y="258762"/>
                  </a:cubicBezTo>
                  <a:cubicBezTo>
                    <a:pt x="161611" y="290513"/>
                    <a:pt x="161611" y="303213"/>
                    <a:pt x="179388" y="327025"/>
                  </a:cubicBezTo>
                  <a:cubicBezTo>
                    <a:pt x="156763" y="341313"/>
                    <a:pt x="176156" y="352425"/>
                    <a:pt x="142218" y="355600"/>
                  </a:cubicBezTo>
                  <a:lnTo>
                    <a:pt x="137370" y="371078"/>
                  </a:lnTo>
                  <a:cubicBezTo>
                    <a:pt x="134945" y="372269"/>
                    <a:pt x="130905" y="369888"/>
                    <a:pt x="122824" y="365125"/>
                  </a:cubicBezTo>
                  <a:cubicBezTo>
                    <a:pt x="114744" y="354013"/>
                    <a:pt x="105047" y="346075"/>
                    <a:pt x="98583" y="331788"/>
                  </a:cubicBezTo>
                  <a:cubicBezTo>
                    <a:pt x="98583" y="315913"/>
                    <a:pt x="124441" y="276225"/>
                    <a:pt x="122824" y="266700"/>
                  </a:cubicBezTo>
                  <a:cubicBezTo>
                    <a:pt x="122554" y="260449"/>
                    <a:pt x="94803" y="267516"/>
                    <a:pt x="84324" y="270723"/>
                  </a:cubicBezTo>
                  <a:cubicBezTo>
                    <a:pt x="100983" y="262770"/>
                    <a:pt x="61496" y="226831"/>
                    <a:pt x="69493" y="209550"/>
                  </a:cubicBezTo>
                  <a:cubicBezTo>
                    <a:pt x="59796" y="200025"/>
                    <a:pt x="32322" y="215900"/>
                    <a:pt x="25857" y="212725"/>
                  </a:cubicBezTo>
                  <a:cubicBezTo>
                    <a:pt x="33938" y="207962"/>
                    <a:pt x="40402" y="207962"/>
                    <a:pt x="30706" y="193675"/>
                  </a:cubicBezTo>
                  <a:cubicBezTo>
                    <a:pt x="27474" y="188912"/>
                    <a:pt x="16161" y="182562"/>
                    <a:pt x="16161" y="182562"/>
                  </a:cubicBezTo>
                  <a:cubicBezTo>
                    <a:pt x="21009" y="155575"/>
                    <a:pt x="12929" y="147637"/>
                    <a:pt x="0" y="127000"/>
                  </a:cubicBezTo>
                  <a:cubicBezTo>
                    <a:pt x="4848" y="117475"/>
                    <a:pt x="9696" y="114300"/>
                    <a:pt x="14545" y="106362"/>
                  </a:cubicBezTo>
                  <a:cubicBezTo>
                    <a:pt x="14545" y="93662"/>
                    <a:pt x="12929" y="80962"/>
                    <a:pt x="16161" y="69850"/>
                  </a:cubicBezTo>
                  <a:cubicBezTo>
                    <a:pt x="17777" y="61912"/>
                    <a:pt x="35554" y="60325"/>
                    <a:pt x="35554" y="50800"/>
                  </a:cubicBezTo>
                  <a:cubicBezTo>
                    <a:pt x="44443" y="50006"/>
                    <a:pt x="49695" y="48022"/>
                    <a:pt x="54140" y="47625"/>
                  </a:cubicBezTo>
                  <a:close/>
                  <a:moveTo>
                    <a:pt x="55562" y="0"/>
                  </a:moveTo>
                  <a:cubicBezTo>
                    <a:pt x="60325" y="12700"/>
                    <a:pt x="53975" y="22225"/>
                    <a:pt x="69850" y="26988"/>
                  </a:cubicBezTo>
                  <a:cubicBezTo>
                    <a:pt x="58738" y="41275"/>
                    <a:pt x="53975" y="26988"/>
                    <a:pt x="46037" y="17463"/>
                  </a:cubicBezTo>
                  <a:cubicBezTo>
                    <a:pt x="49212" y="1588"/>
                    <a:pt x="46037" y="7938"/>
                    <a:pt x="55562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6" name="Freeform 166"/>
            <p:cNvSpPr>
              <a:spLocks/>
            </p:cNvSpPr>
            <p:nvPr>
              <p:custDataLst>
                <p:tags r:id="rId112"/>
              </p:custDataLst>
            </p:nvPr>
          </p:nvSpPr>
          <p:spPr bwMode="gray">
            <a:xfrm>
              <a:off x="7465845" y="3139066"/>
              <a:ext cx="150646" cy="153876"/>
            </a:xfrm>
            <a:custGeom>
              <a:avLst/>
              <a:gdLst>
                <a:gd name="T0" fmla="*/ 1 w 91"/>
                <a:gd name="T1" fmla="*/ 61 h 95"/>
                <a:gd name="T2" fmla="*/ 12 w 91"/>
                <a:gd name="T3" fmla="*/ 63 h 95"/>
                <a:gd name="T4" fmla="*/ 9 w 91"/>
                <a:gd name="T5" fmla="*/ 84 h 95"/>
                <a:gd name="T6" fmla="*/ 4 w 91"/>
                <a:gd name="T7" fmla="*/ 94 h 95"/>
                <a:gd name="T8" fmla="*/ 24 w 91"/>
                <a:gd name="T9" fmla="*/ 90 h 95"/>
                <a:gd name="T10" fmla="*/ 51 w 91"/>
                <a:gd name="T11" fmla="*/ 69 h 95"/>
                <a:gd name="T12" fmla="*/ 58 w 91"/>
                <a:gd name="T13" fmla="*/ 52 h 95"/>
                <a:gd name="T14" fmla="*/ 79 w 91"/>
                <a:gd name="T15" fmla="*/ 37 h 95"/>
                <a:gd name="T16" fmla="*/ 91 w 91"/>
                <a:gd name="T17" fmla="*/ 13 h 95"/>
                <a:gd name="T18" fmla="*/ 78 w 91"/>
                <a:gd name="T19" fmla="*/ 1 h 95"/>
                <a:gd name="T20" fmla="*/ 72 w 91"/>
                <a:gd name="T21" fmla="*/ 9 h 95"/>
                <a:gd name="T22" fmla="*/ 55 w 91"/>
                <a:gd name="T23" fmla="*/ 13 h 95"/>
                <a:gd name="T24" fmla="*/ 46 w 91"/>
                <a:gd name="T25" fmla="*/ 24 h 95"/>
                <a:gd name="T26" fmla="*/ 31 w 91"/>
                <a:gd name="T27" fmla="*/ 28 h 95"/>
                <a:gd name="T28" fmla="*/ 6 w 91"/>
                <a:gd name="T29" fmla="*/ 46 h 95"/>
                <a:gd name="T30" fmla="*/ 1 w 91"/>
                <a:gd name="T31" fmla="*/ 6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1" h="95">
                  <a:moveTo>
                    <a:pt x="1" y="61"/>
                  </a:moveTo>
                  <a:cubicBezTo>
                    <a:pt x="2" y="64"/>
                    <a:pt x="11" y="59"/>
                    <a:pt x="12" y="63"/>
                  </a:cubicBezTo>
                  <a:cubicBezTo>
                    <a:pt x="13" y="67"/>
                    <a:pt x="10" y="79"/>
                    <a:pt x="9" y="84"/>
                  </a:cubicBezTo>
                  <a:cubicBezTo>
                    <a:pt x="8" y="89"/>
                    <a:pt x="2" y="93"/>
                    <a:pt x="4" y="94"/>
                  </a:cubicBezTo>
                  <a:cubicBezTo>
                    <a:pt x="6" y="95"/>
                    <a:pt x="16" y="94"/>
                    <a:pt x="24" y="90"/>
                  </a:cubicBezTo>
                  <a:cubicBezTo>
                    <a:pt x="32" y="86"/>
                    <a:pt x="45" y="75"/>
                    <a:pt x="51" y="69"/>
                  </a:cubicBezTo>
                  <a:cubicBezTo>
                    <a:pt x="57" y="63"/>
                    <a:pt x="53" y="57"/>
                    <a:pt x="58" y="52"/>
                  </a:cubicBezTo>
                  <a:cubicBezTo>
                    <a:pt x="63" y="47"/>
                    <a:pt x="74" y="43"/>
                    <a:pt x="79" y="37"/>
                  </a:cubicBezTo>
                  <a:cubicBezTo>
                    <a:pt x="84" y="31"/>
                    <a:pt x="91" y="19"/>
                    <a:pt x="91" y="13"/>
                  </a:cubicBezTo>
                  <a:cubicBezTo>
                    <a:pt x="91" y="7"/>
                    <a:pt x="81" y="2"/>
                    <a:pt x="78" y="1"/>
                  </a:cubicBezTo>
                  <a:cubicBezTo>
                    <a:pt x="75" y="0"/>
                    <a:pt x="76" y="7"/>
                    <a:pt x="72" y="9"/>
                  </a:cubicBezTo>
                  <a:cubicBezTo>
                    <a:pt x="68" y="11"/>
                    <a:pt x="59" y="10"/>
                    <a:pt x="55" y="13"/>
                  </a:cubicBezTo>
                  <a:cubicBezTo>
                    <a:pt x="51" y="16"/>
                    <a:pt x="50" y="21"/>
                    <a:pt x="46" y="24"/>
                  </a:cubicBezTo>
                  <a:cubicBezTo>
                    <a:pt x="42" y="27"/>
                    <a:pt x="38" y="24"/>
                    <a:pt x="31" y="28"/>
                  </a:cubicBezTo>
                  <a:cubicBezTo>
                    <a:pt x="24" y="32"/>
                    <a:pt x="11" y="42"/>
                    <a:pt x="6" y="46"/>
                  </a:cubicBezTo>
                  <a:cubicBezTo>
                    <a:pt x="1" y="50"/>
                    <a:pt x="0" y="58"/>
                    <a:pt x="1" y="6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7" name="Freeform 168"/>
            <p:cNvSpPr>
              <a:spLocks/>
            </p:cNvSpPr>
            <p:nvPr>
              <p:custDataLst>
                <p:tags r:id="rId113"/>
              </p:custDataLst>
            </p:nvPr>
          </p:nvSpPr>
          <p:spPr bwMode="gray">
            <a:xfrm>
              <a:off x="7480425" y="3250828"/>
              <a:ext cx="115009" cy="157116"/>
            </a:xfrm>
            <a:custGeom>
              <a:avLst/>
              <a:gdLst>
                <a:gd name="T0" fmla="*/ 0 w 69"/>
                <a:gd name="T1" fmla="*/ 24 h 97"/>
                <a:gd name="T2" fmla="*/ 24 w 69"/>
                <a:gd name="T3" fmla="*/ 15 h 97"/>
                <a:gd name="T4" fmla="*/ 39 w 69"/>
                <a:gd name="T5" fmla="*/ 0 h 97"/>
                <a:gd name="T6" fmla="*/ 58 w 69"/>
                <a:gd name="T7" fmla="*/ 21 h 97"/>
                <a:gd name="T8" fmla="*/ 69 w 69"/>
                <a:gd name="T9" fmla="*/ 45 h 97"/>
                <a:gd name="T10" fmla="*/ 34 w 69"/>
                <a:gd name="T11" fmla="*/ 87 h 97"/>
                <a:gd name="T12" fmla="*/ 22 w 69"/>
                <a:gd name="T13" fmla="*/ 94 h 97"/>
                <a:gd name="T14" fmla="*/ 21 w 69"/>
                <a:gd name="T15" fmla="*/ 54 h 97"/>
                <a:gd name="T16" fmla="*/ 7 w 69"/>
                <a:gd name="T17" fmla="*/ 30 h 97"/>
                <a:gd name="T18" fmla="*/ 0 w 69"/>
                <a:gd name="T19" fmla="*/ 24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9" h="97">
                  <a:moveTo>
                    <a:pt x="0" y="24"/>
                  </a:moveTo>
                  <a:cubicBezTo>
                    <a:pt x="19" y="21"/>
                    <a:pt x="11" y="25"/>
                    <a:pt x="24" y="15"/>
                  </a:cubicBezTo>
                  <a:cubicBezTo>
                    <a:pt x="32" y="9"/>
                    <a:pt x="28" y="2"/>
                    <a:pt x="39" y="0"/>
                  </a:cubicBezTo>
                  <a:cubicBezTo>
                    <a:pt x="49" y="2"/>
                    <a:pt x="48" y="16"/>
                    <a:pt x="58" y="21"/>
                  </a:cubicBezTo>
                  <a:cubicBezTo>
                    <a:pt x="64" y="28"/>
                    <a:pt x="64" y="37"/>
                    <a:pt x="69" y="45"/>
                  </a:cubicBezTo>
                  <a:cubicBezTo>
                    <a:pt x="66" y="74"/>
                    <a:pt x="65" y="83"/>
                    <a:pt x="34" y="87"/>
                  </a:cubicBezTo>
                  <a:cubicBezTo>
                    <a:pt x="26" y="91"/>
                    <a:pt x="30" y="97"/>
                    <a:pt x="22" y="94"/>
                  </a:cubicBezTo>
                  <a:cubicBezTo>
                    <a:pt x="20" y="81"/>
                    <a:pt x="13" y="69"/>
                    <a:pt x="21" y="54"/>
                  </a:cubicBezTo>
                  <a:cubicBezTo>
                    <a:pt x="19" y="42"/>
                    <a:pt x="20" y="33"/>
                    <a:pt x="7" y="30"/>
                  </a:cubicBezTo>
                  <a:cubicBezTo>
                    <a:pt x="2" y="26"/>
                    <a:pt x="4" y="28"/>
                    <a:pt x="0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8" name="Freeform 169"/>
            <p:cNvSpPr>
              <a:spLocks/>
            </p:cNvSpPr>
            <p:nvPr>
              <p:custDataLst>
                <p:tags r:id="rId114"/>
              </p:custDataLst>
            </p:nvPr>
          </p:nvSpPr>
          <p:spPr bwMode="gray">
            <a:xfrm>
              <a:off x="6931298" y="3921403"/>
              <a:ext cx="126348" cy="110143"/>
            </a:xfrm>
            <a:custGeom>
              <a:avLst/>
              <a:gdLst>
                <a:gd name="T0" fmla="*/ 47 w 77"/>
                <a:gd name="T1" fmla="*/ 3 h 68"/>
                <a:gd name="T2" fmla="*/ 76 w 77"/>
                <a:gd name="T3" fmla="*/ 10 h 68"/>
                <a:gd name="T4" fmla="*/ 68 w 77"/>
                <a:gd name="T5" fmla="*/ 37 h 68"/>
                <a:gd name="T6" fmla="*/ 56 w 77"/>
                <a:gd name="T7" fmla="*/ 46 h 68"/>
                <a:gd name="T8" fmla="*/ 44 w 77"/>
                <a:gd name="T9" fmla="*/ 48 h 68"/>
                <a:gd name="T10" fmla="*/ 35 w 77"/>
                <a:gd name="T11" fmla="*/ 61 h 68"/>
                <a:gd name="T12" fmla="*/ 23 w 77"/>
                <a:gd name="T13" fmla="*/ 61 h 68"/>
                <a:gd name="T14" fmla="*/ 8 w 77"/>
                <a:gd name="T15" fmla="*/ 39 h 68"/>
                <a:gd name="T16" fmla="*/ 44 w 77"/>
                <a:gd name="T17" fmla="*/ 7 h 68"/>
                <a:gd name="T18" fmla="*/ 47 w 77"/>
                <a:gd name="T19" fmla="*/ 3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7" h="68">
                  <a:moveTo>
                    <a:pt x="47" y="3"/>
                  </a:moveTo>
                  <a:cubicBezTo>
                    <a:pt x="57" y="5"/>
                    <a:pt x="67" y="3"/>
                    <a:pt x="76" y="10"/>
                  </a:cubicBezTo>
                  <a:cubicBezTo>
                    <a:pt x="75" y="20"/>
                    <a:pt x="77" y="32"/>
                    <a:pt x="68" y="37"/>
                  </a:cubicBezTo>
                  <a:cubicBezTo>
                    <a:pt x="64" y="43"/>
                    <a:pt x="63" y="45"/>
                    <a:pt x="56" y="46"/>
                  </a:cubicBezTo>
                  <a:cubicBezTo>
                    <a:pt x="52" y="49"/>
                    <a:pt x="47" y="46"/>
                    <a:pt x="44" y="48"/>
                  </a:cubicBezTo>
                  <a:cubicBezTo>
                    <a:pt x="41" y="50"/>
                    <a:pt x="38" y="59"/>
                    <a:pt x="35" y="61"/>
                  </a:cubicBezTo>
                  <a:cubicBezTo>
                    <a:pt x="31" y="68"/>
                    <a:pt x="30" y="65"/>
                    <a:pt x="23" y="61"/>
                  </a:cubicBezTo>
                  <a:cubicBezTo>
                    <a:pt x="18" y="54"/>
                    <a:pt x="13" y="46"/>
                    <a:pt x="8" y="39"/>
                  </a:cubicBezTo>
                  <a:cubicBezTo>
                    <a:pt x="0" y="0"/>
                    <a:pt x="1" y="10"/>
                    <a:pt x="44" y="7"/>
                  </a:cubicBezTo>
                  <a:cubicBezTo>
                    <a:pt x="50" y="4"/>
                    <a:pt x="51" y="5"/>
                    <a:pt x="47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09" name="Freeform 170"/>
            <p:cNvSpPr>
              <a:spLocks/>
            </p:cNvSpPr>
            <p:nvPr>
              <p:custDataLst>
                <p:tags r:id="rId115"/>
              </p:custDataLst>
            </p:nvPr>
          </p:nvSpPr>
          <p:spPr bwMode="gray">
            <a:xfrm>
              <a:off x="6864885" y="3727034"/>
              <a:ext cx="189522" cy="205708"/>
            </a:xfrm>
            <a:custGeom>
              <a:avLst/>
              <a:gdLst>
                <a:gd name="T0" fmla="*/ 11 w 115"/>
                <a:gd name="T1" fmla="*/ 15 h 127"/>
                <a:gd name="T2" fmla="*/ 35 w 115"/>
                <a:gd name="T3" fmla="*/ 6 h 127"/>
                <a:gd name="T4" fmla="*/ 38 w 115"/>
                <a:gd name="T5" fmla="*/ 1 h 127"/>
                <a:gd name="T6" fmla="*/ 44 w 115"/>
                <a:gd name="T7" fmla="*/ 9 h 127"/>
                <a:gd name="T8" fmla="*/ 65 w 115"/>
                <a:gd name="T9" fmla="*/ 22 h 127"/>
                <a:gd name="T10" fmla="*/ 75 w 115"/>
                <a:gd name="T11" fmla="*/ 33 h 127"/>
                <a:gd name="T12" fmla="*/ 63 w 115"/>
                <a:gd name="T13" fmla="*/ 48 h 127"/>
                <a:gd name="T14" fmla="*/ 89 w 115"/>
                <a:gd name="T15" fmla="*/ 70 h 127"/>
                <a:gd name="T16" fmla="*/ 96 w 115"/>
                <a:gd name="T17" fmla="*/ 85 h 127"/>
                <a:gd name="T18" fmla="*/ 108 w 115"/>
                <a:gd name="T19" fmla="*/ 99 h 127"/>
                <a:gd name="T20" fmla="*/ 115 w 115"/>
                <a:gd name="T21" fmla="*/ 111 h 127"/>
                <a:gd name="T22" fmla="*/ 110 w 115"/>
                <a:gd name="T23" fmla="*/ 124 h 127"/>
                <a:gd name="T24" fmla="*/ 90 w 115"/>
                <a:gd name="T25" fmla="*/ 123 h 127"/>
                <a:gd name="T26" fmla="*/ 83 w 115"/>
                <a:gd name="T27" fmla="*/ 103 h 127"/>
                <a:gd name="T28" fmla="*/ 75 w 115"/>
                <a:gd name="T29" fmla="*/ 73 h 127"/>
                <a:gd name="T30" fmla="*/ 59 w 115"/>
                <a:gd name="T31" fmla="*/ 61 h 127"/>
                <a:gd name="T32" fmla="*/ 44 w 115"/>
                <a:gd name="T33" fmla="*/ 69 h 127"/>
                <a:gd name="T34" fmla="*/ 24 w 115"/>
                <a:gd name="T35" fmla="*/ 69 h 127"/>
                <a:gd name="T36" fmla="*/ 27 w 115"/>
                <a:gd name="T37" fmla="*/ 51 h 127"/>
                <a:gd name="T38" fmla="*/ 9 w 115"/>
                <a:gd name="T39" fmla="*/ 36 h 127"/>
                <a:gd name="T40" fmla="*/ 8 w 115"/>
                <a:gd name="T41" fmla="*/ 25 h 127"/>
                <a:gd name="T42" fmla="*/ 11 w 115"/>
                <a:gd name="T43" fmla="*/ 1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5" h="127">
                  <a:moveTo>
                    <a:pt x="11" y="15"/>
                  </a:moveTo>
                  <a:cubicBezTo>
                    <a:pt x="31" y="11"/>
                    <a:pt x="23" y="8"/>
                    <a:pt x="35" y="6"/>
                  </a:cubicBezTo>
                  <a:cubicBezTo>
                    <a:pt x="36" y="4"/>
                    <a:pt x="36" y="2"/>
                    <a:pt x="38" y="1"/>
                  </a:cubicBezTo>
                  <a:cubicBezTo>
                    <a:pt x="42" y="0"/>
                    <a:pt x="43" y="8"/>
                    <a:pt x="44" y="9"/>
                  </a:cubicBezTo>
                  <a:cubicBezTo>
                    <a:pt x="49" y="16"/>
                    <a:pt x="57" y="20"/>
                    <a:pt x="65" y="22"/>
                  </a:cubicBezTo>
                  <a:cubicBezTo>
                    <a:pt x="71" y="27"/>
                    <a:pt x="74" y="25"/>
                    <a:pt x="75" y="33"/>
                  </a:cubicBezTo>
                  <a:cubicBezTo>
                    <a:pt x="73" y="43"/>
                    <a:pt x="71" y="43"/>
                    <a:pt x="63" y="48"/>
                  </a:cubicBezTo>
                  <a:cubicBezTo>
                    <a:pt x="69" y="59"/>
                    <a:pt x="76" y="67"/>
                    <a:pt x="89" y="70"/>
                  </a:cubicBezTo>
                  <a:cubicBezTo>
                    <a:pt x="94" y="76"/>
                    <a:pt x="93" y="80"/>
                    <a:pt x="96" y="85"/>
                  </a:cubicBezTo>
                  <a:cubicBezTo>
                    <a:pt x="99" y="90"/>
                    <a:pt x="105" y="95"/>
                    <a:pt x="108" y="99"/>
                  </a:cubicBezTo>
                  <a:cubicBezTo>
                    <a:pt x="110" y="103"/>
                    <a:pt x="115" y="107"/>
                    <a:pt x="115" y="111"/>
                  </a:cubicBezTo>
                  <a:cubicBezTo>
                    <a:pt x="115" y="115"/>
                    <a:pt x="114" y="122"/>
                    <a:pt x="110" y="124"/>
                  </a:cubicBezTo>
                  <a:cubicBezTo>
                    <a:pt x="103" y="124"/>
                    <a:pt x="95" y="127"/>
                    <a:pt x="90" y="123"/>
                  </a:cubicBezTo>
                  <a:cubicBezTo>
                    <a:pt x="81" y="117"/>
                    <a:pt x="94" y="108"/>
                    <a:pt x="83" y="103"/>
                  </a:cubicBezTo>
                  <a:cubicBezTo>
                    <a:pt x="74" y="91"/>
                    <a:pt x="80" y="92"/>
                    <a:pt x="75" y="73"/>
                  </a:cubicBezTo>
                  <a:cubicBezTo>
                    <a:pt x="74" y="68"/>
                    <a:pt x="63" y="64"/>
                    <a:pt x="59" y="61"/>
                  </a:cubicBezTo>
                  <a:cubicBezTo>
                    <a:pt x="54" y="60"/>
                    <a:pt x="50" y="68"/>
                    <a:pt x="44" y="69"/>
                  </a:cubicBezTo>
                  <a:cubicBezTo>
                    <a:pt x="38" y="70"/>
                    <a:pt x="27" y="72"/>
                    <a:pt x="24" y="69"/>
                  </a:cubicBezTo>
                  <a:cubicBezTo>
                    <a:pt x="17" y="68"/>
                    <a:pt x="29" y="56"/>
                    <a:pt x="27" y="51"/>
                  </a:cubicBezTo>
                  <a:cubicBezTo>
                    <a:pt x="25" y="46"/>
                    <a:pt x="12" y="40"/>
                    <a:pt x="9" y="36"/>
                  </a:cubicBezTo>
                  <a:cubicBezTo>
                    <a:pt x="5" y="30"/>
                    <a:pt x="0" y="28"/>
                    <a:pt x="8" y="25"/>
                  </a:cubicBezTo>
                  <a:cubicBezTo>
                    <a:pt x="9" y="18"/>
                    <a:pt x="8" y="21"/>
                    <a:pt x="11" y="1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0" name="Freeform 171"/>
            <p:cNvSpPr>
              <a:spLocks/>
            </p:cNvSpPr>
            <p:nvPr>
              <p:custDataLst>
                <p:tags r:id="rId116"/>
              </p:custDataLst>
            </p:nvPr>
          </p:nvSpPr>
          <p:spPr bwMode="gray">
            <a:xfrm>
              <a:off x="7213150" y="4162745"/>
              <a:ext cx="27538" cy="29155"/>
            </a:xfrm>
            <a:custGeom>
              <a:avLst/>
              <a:gdLst>
                <a:gd name="T0" fmla="*/ 0 w 17"/>
                <a:gd name="T1" fmla="*/ 9 h 18"/>
                <a:gd name="T2" fmla="*/ 14 w 17"/>
                <a:gd name="T3" fmla="*/ 13 h 18"/>
                <a:gd name="T4" fmla="*/ 6 w 17"/>
                <a:gd name="T5" fmla="*/ 3 h 18"/>
                <a:gd name="T6" fmla="*/ 0 w 17"/>
                <a:gd name="T7" fmla="*/ 9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9"/>
                  </a:moveTo>
                  <a:cubicBezTo>
                    <a:pt x="3" y="18"/>
                    <a:pt x="6" y="18"/>
                    <a:pt x="14" y="13"/>
                  </a:cubicBezTo>
                  <a:cubicBezTo>
                    <a:pt x="17" y="3"/>
                    <a:pt x="17" y="0"/>
                    <a:pt x="6" y="3"/>
                  </a:cubicBezTo>
                  <a:cubicBezTo>
                    <a:pt x="2" y="10"/>
                    <a:pt x="4" y="9"/>
                    <a:pt x="0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1" name="Freeform 172"/>
            <p:cNvSpPr>
              <a:spLocks/>
            </p:cNvSpPr>
            <p:nvPr>
              <p:custDataLst>
                <p:tags r:id="rId117"/>
              </p:custDataLst>
            </p:nvPr>
          </p:nvSpPr>
          <p:spPr bwMode="gray">
            <a:xfrm>
              <a:off x="7336259" y="3654145"/>
              <a:ext cx="82612" cy="93945"/>
            </a:xfrm>
            <a:custGeom>
              <a:avLst/>
              <a:gdLst>
                <a:gd name="T0" fmla="*/ 4 w 50"/>
                <a:gd name="T1" fmla="*/ 24 h 58"/>
                <a:gd name="T2" fmla="*/ 16 w 50"/>
                <a:gd name="T3" fmla="*/ 22 h 58"/>
                <a:gd name="T4" fmla="*/ 22 w 50"/>
                <a:gd name="T5" fmla="*/ 12 h 58"/>
                <a:gd name="T6" fmla="*/ 37 w 50"/>
                <a:gd name="T7" fmla="*/ 0 h 58"/>
                <a:gd name="T8" fmla="*/ 38 w 50"/>
                <a:gd name="T9" fmla="*/ 22 h 58"/>
                <a:gd name="T10" fmla="*/ 25 w 50"/>
                <a:gd name="T11" fmla="*/ 39 h 58"/>
                <a:gd name="T12" fmla="*/ 17 w 50"/>
                <a:gd name="T13" fmla="*/ 46 h 58"/>
                <a:gd name="T14" fmla="*/ 4 w 50"/>
                <a:gd name="T15" fmla="*/ 30 h 58"/>
                <a:gd name="T16" fmla="*/ 4 w 50"/>
                <a:gd name="T17" fmla="*/ 2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58">
                  <a:moveTo>
                    <a:pt x="4" y="24"/>
                  </a:moveTo>
                  <a:cubicBezTo>
                    <a:pt x="8" y="23"/>
                    <a:pt x="13" y="25"/>
                    <a:pt x="16" y="22"/>
                  </a:cubicBezTo>
                  <a:cubicBezTo>
                    <a:pt x="32" y="8"/>
                    <a:pt x="6" y="15"/>
                    <a:pt x="22" y="12"/>
                  </a:cubicBezTo>
                  <a:cubicBezTo>
                    <a:pt x="29" y="7"/>
                    <a:pt x="28" y="2"/>
                    <a:pt x="37" y="0"/>
                  </a:cubicBezTo>
                  <a:cubicBezTo>
                    <a:pt x="50" y="2"/>
                    <a:pt x="44" y="14"/>
                    <a:pt x="38" y="22"/>
                  </a:cubicBezTo>
                  <a:cubicBezTo>
                    <a:pt x="34" y="40"/>
                    <a:pt x="40" y="36"/>
                    <a:pt x="25" y="39"/>
                  </a:cubicBezTo>
                  <a:cubicBezTo>
                    <a:pt x="24" y="45"/>
                    <a:pt x="22" y="58"/>
                    <a:pt x="17" y="46"/>
                  </a:cubicBezTo>
                  <a:cubicBezTo>
                    <a:pt x="15" y="37"/>
                    <a:pt x="11" y="35"/>
                    <a:pt x="4" y="30"/>
                  </a:cubicBezTo>
                  <a:cubicBezTo>
                    <a:pt x="2" y="24"/>
                    <a:pt x="0" y="26"/>
                    <a:pt x="4" y="2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2" name="Freeform 205"/>
            <p:cNvSpPr>
              <a:spLocks/>
            </p:cNvSpPr>
            <p:nvPr>
              <p:custDataLst>
                <p:tags r:id="rId118"/>
              </p:custDataLst>
            </p:nvPr>
          </p:nvSpPr>
          <p:spPr bwMode="gray">
            <a:xfrm>
              <a:off x="8193682" y="4530427"/>
              <a:ext cx="50883" cy="38874"/>
            </a:xfrm>
            <a:custGeom>
              <a:avLst/>
              <a:gdLst>
                <a:gd name="T0" fmla="*/ 1 w 31"/>
                <a:gd name="T1" fmla="*/ 0 h 24"/>
                <a:gd name="T2" fmla="*/ 12 w 31"/>
                <a:gd name="T3" fmla="*/ 3 h 24"/>
                <a:gd name="T4" fmla="*/ 31 w 31"/>
                <a:gd name="T5" fmla="*/ 14 h 24"/>
                <a:gd name="T6" fmla="*/ 3 w 31"/>
                <a:gd name="T7" fmla="*/ 14 h 24"/>
                <a:gd name="T8" fmla="*/ 1 w 31"/>
                <a:gd name="T9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24">
                  <a:moveTo>
                    <a:pt x="1" y="0"/>
                  </a:moveTo>
                  <a:cubicBezTo>
                    <a:pt x="5" y="1"/>
                    <a:pt x="9" y="1"/>
                    <a:pt x="12" y="3"/>
                  </a:cubicBezTo>
                  <a:cubicBezTo>
                    <a:pt x="25" y="11"/>
                    <a:pt x="8" y="10"/>
                    <a:pt x="31" y="14"/>
                  </a:cubicBezTo>
                  <a:cubicBezTo>
                    <a:pt x="24" y="24"/>
                    <a:pt x="12" y="16"/>
                    <a:pt x="3" y="14"/>
                  </a:cubicBezTo>
                  <a:cubicBezTo>
                    <a:pt x="0" y="7"/>
                    <a:pt x="4" y="7"/>
                    <a:pt x="1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3" name="Freeform 206"/>
            <p:cNvSpPr>
              <a:spLocks/>
            </p:cNvSpPr>
            <p:nvPr>
              <p:custDataLst>
                <p:tags r:id="rId119"/>
              </p:custDataLst>
            </p:nvPr>
          </p:nvSpPr>
          <p:spPr bwMode="gray">
            <a:xfrm>
              <a:off x="7906442" y="4342537"/>
              <a:ext cx="241281" cy="205708"/>
            </a:xfrm>
            <a:custGeom>
              <a:avLst/>
              <a:gdLst>
                <a:gd name="T0" fmla="*/ 0 w 123"/>
                <a:gd name="T1" fmla="*/ 80 h 106"/>
                <a:gd name="T2" fmla="*/ 0 w 123"/>
                <a:gd name="T3" fmla="*/ 33 h 106"/>
                <a:gd name="T4" fmla="*/ 0 w 123"/>
                <a:gd name="T5" fmla="*/ 0 h 106"/>
                <a:gd name="T6" fmla="*/ 32 w 123"/>
                <a:gd name="T7" fmla="*/ 9 h 106"/>
                <a:gd name="T8" fmla="*/ 57 w 123"/>
                <a:gd name="T9" fmla="*/ 25 h 106"/>
                <a:gd name="T10" fmla="*/ 57 w 123"/>
                <a:gd name="T11" fmla="*/ 33 h 106"/>
                <a:gd name="T12" fmla="*/ 88 w 123"/>
                <a:gd name="T13" fmla="*/ 49 h 106"/>
                <a:gd name="T14" fmla="*/ 72 w 123"/>
                <a:gd name="T15" fmla="*/ 57 h 106"/>
                <a:gd name="T16" fmla="*/ 81 w 123"/>
                <a:gd name="T17" fmla="*/ 57 h 106"/>
                <a:gd name="T18" fmla="*/ 88 w 123"/>
                <a:gd name="T19" fmla="*/ 65 h 106"/>
                <a:gd name="T20" fmla="*/ 97 w 123"/>
                <a:gd name="T21" fmla="*/ 80 h 106"/>
                <a:gd name="T22" fmla="*/ 104 w 123"/>
                <a:gd name="T23" fmla="*/ 80 h 106"/>
                <a:gd name="T24" fmla="*/ 104 w 123"/>
                <a:gd name="T25" fmla="*/ 90 h 106"/>
                <a:gd name="T26" fmla="*/ 122 w 123"/>
                <a:gd name="T27" fmla="*/ 99 h 106"/>
                <a:gd name="T28" fmla="*/ 122 w 123"/>
                <a:gd name="T29" fmla="*/ 105 h 106"/>
                <a:gd name="T30" fmla="*/ 81 w 123"/>
                <a:gd name="T31" fmla="*/ 99 h 106"/>
                <a:gd name="T32" fmla="*/ 63 w 123"/>
                <a:gd name="T33" fmla="*/ 65 h 106"/>
                <a:gd name="T34" fmla="*/ 47 w 123"/>
                <a:gd name="T35" fmla="*/ 65 h 106"/>
                <a:gd name="T36" fmla="*/ 40 w 123"/>
                <a:gd name="T37" fmla="*/ 65 h 106"/>
                <a:gd name="T38" fmla="*/ 23 w 123"/>
                <a:gd name="T39" fmla="*/ 74 h 106"/>
                <a:gd name="T40" fmla="*/ 32 w 123"/>
                <a:gd name="T41" fmla="*/ 80 h 106"/>
                <a:gd name="T42" fmla="*/ 15 w 123"/>
                <a:gd name="T43" fmla="*/ 80 h 106"/>
                <a:gd name="T44" fmla="*/ 0 w 123"/>
                <a:gd name="T45" fmla="*/ 8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3" h="106">
                  <a:moveTo>
                    <a:pt x="0" y="80"/>
                  </a:moveTo>
                  <a:lnTo>
                    <a:pt x="0" y="33"/>
                  </a:lnTo>
                  <a:lnTo>
                    <a:pt x="0" y="0"/>
                  </a:lnTo>
                  <a:lnTo>
                    <a:pt x="32" y="9"/>
                  </a:lnTo>
                  <a:lnTo>
                    <a:pt x="57" y="25"/>
                  </a:lnTo>
                  <a:lnTo>
                    <a:pt x="57" y="33"/>
                  </a:lnTo>
                  <a:lnTo>
                    <a:pt x="88" y="49"/>
                  </a:lnTo>
                  <a:lnTo>
                    <a:pt x="72" y="57"/>
                  </a:lnTo>
                  <a:lnTo>
                    <a:pt x="81" y="57"/>
                  </a:lnTo>
                  <a:lnTo>
                    <a:pt x="88" y="65"/>
                  </a:lnTo>
                  <a:lnTo>
                    <a:pt x="97" y="80"/>
                  </a:lnTo>
                  <a:lnTo>
                    <a:pt x="104" y="80"/>
                  </a:lnTo>
                  <a:lnTo>
                    <a:pt x="104" y="90"/>
                  </a:lnTo>
                  <a:lnTo>
                    <a:pt x="122" y="99"/>
                  </a:lnTo>
                  <a:lnTo>
                    <a:pt x="122" y="105"/>
                  </a:lnTo>
                  <a:lnTo>
                    <a:pt x="81" y="99"/>
                  </a:lnTo>
                  <a:lnTo>
                    <a:pt x="63" y="65"/>
                  </a:lnTo>
                  <a:lnTo>
                    <a:pt x="47" y="65"/>
                  </a:lnTo>
                  <a:lnTo>
                    <a:pt x="40" y="65"/>
                  </a:lnTo>
                  <a:lnTo>
                    <a:pt x="23" y="74"/>
                  </a:lnTo>
                  <a:lnTo>
                    <a:pt x="32" y="80"/>
                  </a:lnTo>
                  <a:lnTo>
                    <a:pt x="15" y="80"/>
                  </a:lnTo>
                  <a:lnTo>
                    <a:pt x="0" y="8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4" name="Freeform 207"/>
            <p:cNvSpPr>
              <a:spLocks/>
            </p:cNvSpPr>
            <p:nvPr>
              <p:custDataLst>
                <p:tags r:id="rId120"/>
              </p:custDataLst>
            </p:nvPr>
          </p:nvSpPr>
          <p:spPr bwMode="gray">
            <a:xfrm>
              <a:off x="8080427" y="4373312"/>
              <a:ext cx="111613" cy="64790"/>
            </a:xfrm>
            <a:custGeom>
              <a:avLst/>
              <a:gdLst>
                <a:gd name="T0" fmla="*/ 0 w 57"/>
                <a:gd name="T1" fmla="*/ 16 h 33"/>
                <a:gd name="T2" fmla="*/ 16 w 57"/>
                <a:gd name="T3" fmla="*/ 32 h 33"/>
                <a:gd name="T4" fmla="*/ 34 w 57"/>
                <a:gd name="T5" fmla="*/ 32 h 33"/>
                <a:gd name="T6" fmla="*/ 49 w 57"/>
                <a:gd name="T7" fmla="*/ 23 h 33"/>
                <a:gd name="T8" fmla="*/ 56 w 57"/>
                <a:gd name="T9" fmla="*/ 8 h 33"/>
                <a:gd name="T10" fmla="*/ 56 w 57"/>
                <a:gd name="T11" fmla="*/ 0 h 33"/>
                <a:gd name="T12" fmla="*/ 49 w 57"/>
                <a:gd name="T13" fmla="*/ 0 h 33"/>
                <a:gd name="T14" fmla="*/ 49 w 57"/>
                <a:gd name="T15" fmla="*/ 16 h 33"/>
                <a:gd name="T16" fmla="*/ 41 w 57"/>
                <a:gd name="T17" fmla="*/ 16 h 33"/>
                <a:gd name="T18" fmla="*/ 34 w 57"/>
                <a:gd name="T19" fmla="*/ 16 h 33"/>
                <a:gd name="T20" fmla="*/ 0 w 57"/>
                <a:gd name="T21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7" h="33">
                  <a:moveTo>
                    <a:pt x="0" y="16"/>
                  </a:moveTo>
                  <a:lnTo>
                    <a:pt x="16" y="32"/>
                  </a:lnTo>
                  <a:lnTo>
                    <a:pt x="34" y="32"/>
                  </a:lnTo>
                  <a:lnTo>
                    <a:pt x="49" y="23"/>
                  </a:lnTo>
                  <a:lnTo>
                    <a:pt x="56" y="8"/>
                  </a:lnTo>
                  <a:lnTo>
                    <a:pt x="56" y="0"/>
                  </a:lnTo>
                  <a:lnTo>
                    <a:pt x="49" y="0"/>
                  </a:lnTo>
                  <a:lnTo>
                    <a:pt x="49" y="16"/>
                  </a:lnTo>
                  <a:lnTo>
                    <a:pt x="41" y="16"/>
                  </a:lnTo>
                  <a:lnTo>
                    <a:pt x="34" y="16"/>
                  </a:lnTo>
                  <a:lnTo>
                    <a:pt x="0" y="1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5" name="Freeform 208"/>
            <p:cNvSpPr>
              <a:spLocks/>
            </p:cNvSpPr>
            <p:nvPr>
              <p:custDataLst>
                <p:tags r:id="rId121"/>
              </p:custDataLst>
            </p:nvPr>
          </p:nvSpPr>
          <p:spPr bwMode="gray">
            <a:xfrm>
              <a:off x="8160854" y="4360354"/>
              <a:ext cx="49241" cy="32395"/>
            </a:xfrm>
            <a:custGeom>
              <a:avLst/>
              <a:gdLst>
                <a:gd name="T0" fmla="*/ 0 w 25"/>
                <a:gd name="T1" fmla="*/ 0 h 17"/>
                <a:gd name="T2" fmla="*/ 15 w 25"/>
                <a:gd name="T3" fmla="*/ 8 h 17"/>
                <a:gd name="T4" fmla="*/ 24 w 25"/>
                <a:gd name="T5" fmla="*/ 16 h 17"/>
                <a:gd name="T6" fmla="*/ 24 w 25"/>
                <a:gd name="T7" fmla="*/ 8 h 17"/>
                <a:gd name="T8" fmla="*/ 0 w 25"/>
                <a:gd name="T9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17">
                  <a:moveTo>
                    <a:pt x="0" y="0"/>
                  </a:moveTo>
                  <a:lnTo>
                    <a:pt x="15" y="8"/>
                  </a:lnTo>
                  <a:lnTo>
                    <a:pt x="24" y="16"/>
                  </a:lnTo>
                  <a:lnTo>
                    <a:pt x="24" y="8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6" name="Freeform 209"/>
            <p:cNvSpPr>
              <a:spLocks/>
            </p:cNvSpPr>
            <p:nvPr>
              <p:custDataLst>
                <p:tags r:id="rId122"/>
              </p:custDataLst>
            </p:nvPr>
          </p:nvSpPr>
          <p:spPr bwMode="gray">
            <a:xfrm>
              <a:off x="8256053" y="4405707"/>
              <a:ext cx="36110" cy="46973"/>
            </a:xfrm>
            <a:custGeom>
              <a:avLst/>
              <a:gdLst>
                <a:gd name="T0" fmla="*/ 0 w 18"/>
                <a:gd name="T1" fmla="*/ 0 h 25"/>
                <a:gd name="T2" fmla="*/ 8 w 18"/>
                <a:gd name="T3" fmla="*/ 24 h 25"/>
                <a:gd name="T4" fmla="*/ 17 w 18"/>
                <a:gd name="T5" fmla="*/ 16 h 25"/>
                <a:gd name="T6" fmla="*/ 0 w 18"/>
                <a:gd name="T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25">
                  <a:moveTo>
                    <a:pt x="0" y="0"/>
                  </a:moveTo>
                  <a:lnTo>
                    <a:pt x="8" y="24"/>
                  </a:lnTo>
                  <a:lnTo>
                    <a:pt x="17" y="1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7" name="Freeform 210"/>
            <p:cNvSpPr>
              <a:spLocks/>
            </p:cNvSpPr>
            <p:nvPr>
              <p:custDataLst>
                <p:tags r:id="rId123"/>
              </p:custDataLst>
            </p:nvPr>
          </p:nvSpPr>
          <p:spPr bwMode="gray">
            <a:xfrm>
              <a:off x="8367667" y="4496413"/>
              <a:ext cx="32827" cy="32395"/>
            </a:xfrm>
            <a:custGeom>
              <a:avLst/>
              <a:gdLst>
                <a:gd name="T0" fmla="*/ 0 w 17"/>
                <a:gd name="T1" fmla="*/ 0 h 17"/>
                <a:gd name="T2" fmla="*/ 0 w 17"/>
                <a:gd name="T3" fmla="*/ 16 h 17"/>
                <a:gd name="T4" fmla="*/ 16 w 17"/>
                <a:gd name="T5" fmla="*/ 16 h 17"/>
                <a:gd name="T6" fmla="*/ 0 w 17"/>
                <a:gd name="T7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7">
                  <a:moveTo>
                    <a:pt x="0" y="0"/>
                  </a:moveTo>
                  <a:lnTo>
                    <a:pt x="0" y="16"/>
                  </a:lnTo>
                  <a:lnTo>
                    <a:pt x="16" y="1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8" name="Freeform 213"/>
            <p:cNvSpPr>
              <a:spLocks/>
            </p:cNvSpPr>
            <p:nvPr>
              <p:custDataLst>
                <p:tags r:id="rId124"/>
              </p:custDataLst>
            </p:nvPr>
          </p:nvSpPr>
          <p:spPr bwMode="gray">
            <a:xfrm>
              <a:off x="6879463" y="4102814"/>
              <a:ext cx="480772" cy="140642"/>
            </a:xfrm>
            <a:custGeom>
              <a:avLst/>
              <a:gdLst/>
              <a:ahLst/>
              <a:cxnLst/>
              <a:rect l="l" t="t" r="r" b="b"/>
              <a:pathLst>
                <a:path w="471173" h="137842">
                  <a:moveTo>
                    <a:pt x="406205" y="0"/>
                  </a:moveTo>
                  <a:lnTo>
                    <a:pt x="423398" y="16764"/>
                  </a:lnTo>
                  <a:lnTo>
                    <a:pt x="423398" y="33528"/>
                  </a:lnTo>
                  <a:lnTo>
                    <a:pt x="471173" y="46562"/>
                  </a:lnTo>
                  <a:lnTo>
                    <a:pt x="436787" y="46562"/>
                  </a:lnTo>
                  <a:lnTo>
                    <a:pt x="452053" y="63326"/>
                  </a:lnTo>
                  <a:lnTo>
                    <a:pt x="436787" y="63326"/>
                  </a:lnTo>
                  <a:lnTo>
                    <a:pt x="392841" y="63326"/>
                  </a:lnTo>
                  <a:lnTo>
                    <a:pt x="346993" y="121078"/>
                  </a:lnTo>
                  <a:lnTo>
                    <a:pt x="329800" y="137842"/>
                  </a:lnTo>
                  <a:lnTo>
                    <a:pt x="299218" y="121078"/>
                  </a:lnTo>
                  <a:lnTo>
                    <a:pt x="282025" y="137842"/>
                  </a:lnTo>
                  <a:lnTo>
                    <a:pt x="251468" y="137842"/>
                  </a:lnTo>
                  <a:lnTo>
                    <a:pt x="222813" y="121078"/>
                  </a:lnTo>
                  <a:lnTo>
                    <a:pt x="270563" y="121078"/>
                  </a:lnTo>
                  <a:lnTo>
                    <a:pt x="270563" y="93138"/>
                  </a:lnTo>
                  <a:lnTo>
                    <a:pt x="299218" y="93138"/>
                  </a:lnTo>
                  <a:lnTo>
                    <a:pt x="329800" y="63326"/>
                  </a:lnTo>
                  <a:lnTo>
                    <a:pt x="346993" y="63326"/>
                  </a:lnTo>
                  <a:lnTo>
                    <a:pt x="358455" y="63326"/>
                  </a:lnTo>
                  <a:lnTo>
                    <a:pt x="375648" y="46562"/>
                  </a:lnTo>
                  <a:lnTo>
                    <a:pt x="358455" y="46562"/>
                  </a:lnTo>
                  <a:lnTo>
                    <a:pt x="375648" y="33528"/>
                  </a:lnTo>
                  <a:close/>
                  <a:moveTo>
                    <a:pt x="0" y="0"/>
                  </a:moveTo>
                  <a:lnTo>
                    <a:pt x="17728" y="16764"/>
                  </a:lnTo>
                  <a:lnTo>
                    <a:pt x="35457" y="33528"/>
                  </a:lnTo>
                  <a:lnTo>
                    <a:pt x="47275" y="16764"/>
                  </a:lnTo>
                  <a:lnTo>
                    <a:pt x="84701" y="46562"/>
                  </a:lnTo>
                  <a:lnTo>
                    <a:pt x="84701" y="93138"/>
                  </a:lnTo>
                  <a:lnTo>
                    <a:pt x="96520" y="137842"/>
                  </a:lnTo>
                  <a:lnTo>
                    <a:pt x="84701" y="137842"/>
                  </a:lnTo>
                  <a:lnTo>
                    <a:pt x="35457" y="93138"/>
                  </a:lnTo>
                  <a:lnTo>
                    <a:pt x="0" y="63326"/>
                  </a:lnTo>
                  <a:lnTo>
                    <a:pt x="0" y="1676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19" name="Freeform 215"/>
            <p:cNvSpPr>
              <a:spLocks/>
            </p:cNvSpPr>
            <p:nvPr>
              <p:custDataLst>
                <p:tags r:id="rId125"/>
              </p:custDataLst>
            </p:nvPr>
          </p:nvSpPr>
          <p:spPr bwMode="gray">
            <a:xfrm>
              <a:off x="7217197" y="4149787"/>
              <a:ext cx="49425" cy="32395"/>
            </a:xfrm>
            <a:custGeom>
              <a:avLst/>
              <a:gdLst>
                <a:gd name="T0" fmla="*/ 0 w 25"/>
                <a:gd name="T1" fmla="*/ 16 h 17"/>
                <a:gd name="T2" fmla="*/ 9 w 25"/>
                <a:gd name="T3" fmla="*/ 16 h 17"/>
                <a:gd name="T4" fmla="*/ 15 w 25"/>
                <a:gd name="T5" fmla="*/ 16 h 17"/>
                <a:gd name="T6" fmla="*/ 24 w 25"/>
                <a:gd name="T7" fmla="*/ 0 h 17"/>
                <a:gd name="T8" fmla="*/ 15 w 25"/>
                <a:gd name="T9" fmla="*/ 0 h 17"/>
                <a:gd name="T10" fmla="*/ 0 w 25"/>
                <a:gd name="T11" fmla="*/ 16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17">
                  <a:moveTo>
                    <a:pt x="0" y="16"/>
                  </a:moveTo>
                  <a:lnTo>
                    <a:pt x="9" y="16"/>
                  </a:lnTo>
                  <a:lnTo>
                    <a:pt x="15" y="16"/>
                  </a:lnTo>
                  <a:lnTo>
                    <a:pt x="24" y="0"/>
                  </a:lnTo>
                  <a:lnTo>
                    <a:pt x="15" y="0"/>
                  </a:lnTo>
                  <a:lnTo>
                    <a:pt x="0" y="16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0" name="Oval 216"/>
            <p:cNvSpPr>
              <a:spLocks noChangeArrowheads="1"/>
            </p:cNvSpPr>
            <p:nvPr>
              <p:custDataLst>
                <p:tags r:id="rId126"/>
              </p:custDataLst>
            </p:nvPr>
          </p:nvSpPr>
          <p:spPr bwMode="gray">
            <a:xfrm>
              <a:off x="6948658" y="4212957"/>
              <a:ext cx="28007" cy="27536"/>
            </a:xfrm>
            <a:prstGeom prst="ellipse">
              <a:avLst/>
            </a:pr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321" name="Group 233"/>
            <p:cNvGrpSpPr>
              <a:grpSpLocks/>
            </p:cNvGrpSpPr>
            <p:nvPr>
              <p:custDataLst>
                <p:tags r:id="rId127"/>
              </p:custDataLst>
            </p:nvPr>
          </p:nvGrpSpPr>
          <p:grpSpPr bwMode="auto">
            <a:xfrm>
              <a:off x="5543095" y="2696876"/>
              <a:ext cx="1035079" cy="505360"/>
              <a:chOff x="3419" y="1862"/>
              <a:chExt cx="629" cy="312"/>
            </a:xfrm>
            <a:grpFill/>
          </p:grpSpPr>
          <p:sp>
            <p:nvSpPr>
              <p:cNvPr id="376" name="Freeform 234"/>
              <p:cNvSpPr>
                <a:spLocks/>
              </p:cNvSpPr>
              <p:nvPr>
                <p:custDataLst>
                  <p:tags r:id="rId176"/>
                </p:custDataLst>
              </p:nvPr>
            </p:nvSpPr>
            <p:spPr bwMode="gray">
              <a:xfrm>
                <a:off x="3692" y="1862"/>
                <a:ext cx="356" cy="312"/>
              </a:xfrm>
              <a:custGeom>
                <a:avLst/>
                <a:gdLst>
                  <a:gd name="T0" fmla="*/ 0 w 356"/>
                  <a:gd name="T1" fmla="*/ 25 h 312"/>
                  <a:gd name="T2" fmla="*/ 75 w 356"/>
                  <a:gd name="T3" fmla="*/ 0 h 312"/>
                  <a:gd name="T4" fmla="*/ 99 w 356"/>
                  <a:gd name="T5" fmla="*/ 27 h 312"/>
                  <a:gd name="T6" fmla="*/ 114 w 356"/>
                  <a:gd name="T7" fmla="*/ 12 h 312"/>
                  <a:gd name="T8" fmla="*/ 154 w 356"/>
                  <a:gd name="T9" fmla="*/ 40 h 312"/>
                  <a:gd name="T10" fmla="*/ 160 w 356"/>
                  <a:gd name="T11" fmla="*/ 42 h 312"/>
                  <a:gd name="T12" fmla="*/ 187 w 356"/>
                  <a:gd name="T13" fmla="*/ 30 h 312"/>
                  <a:gd name="T14" fmla="*/ 191 w 356"/>
                  <a:gd name="T15" fmla="*/ 28 h 312"/>
                  <a:gd name="T16" fmla="*/ 196 w 356"/>
                  <a:gd name="T17" fmla="*/ 42 h 312"/>
                  <a:gd name="T18" fmla="*/ 214 w 356"/>
                  <a:gd name="T19" fmla="*/ 54 h 312"/>
                  <a:gd name="T20" fmla="*/ 226 w 356"/>
                  <a:gd name="T21" fmla="*/ 70 h 312"/>
                  <a:gd name="T22" fmla="*/ 233 w 356"/>
                  <a:gd name="T23" fmla="*/ 85 h 312"/>
                  <a:gd name="T24" fmla="*/ 232 w 356"/>
                  <a:gd name="T25" fmla="*/ 100 h 312"/>
                  <a:gd name="T26" fmla="*/ 236 w 356"/>
                  <a:gd name="T27" fmla="*/ 103 h 312"/>
                  <a:gd name="T28" fmla="*/ 248 w 356"/>
                  <a:gd name="T29" fmla="*/ 108 h 312"/>
                  <a:gd name="T30" fmla="*/ 265 w 356"/>
                  <a:gd name="T31" fmla="*/ 105 h 312"/>
                  <a:gd name="T32" fmla="*/ 277 w 356"/>
                  <a:gd name="T33" fmla="*/ 112 h 312"/>
                  <a:gd name="T34" fmla="*/ 287 w 356"/>
                  <a:gd name="T35" fmla="*/ 108 h 312"/>
                  <a:gd name="T36" fmla="*/ 302 w 356"/>
                  <a:gd name="T37" fmla="*/ 114 h 312"/>
                  <a:gd name="T38" fmla="*/ 320 w 356"/>
                  <a:gd name="T39" fmla="*/ 130 h 312"/>
                  <a:gd name="T40" fmla="*/ 353 w 356"/>
                  <a:gd name="T41" fmla="*/ 138 h 312"/>
                  <a:gd name="T42" fmla="*/ 340 w 356"/>
                  <a:gd name="T43" fmla="*/ 152 h 312"/>
                  <a:gd name="T44" fmla="*/ 329 w 356"/>
                  <a:gd name="T45" fmla="*/ 157 h 312"/>
                  <a:gd name="T46" fmla="*/ 328 w 356"/>
                  <a:gd name="T47" fmla="*/ 175 h 312"/>
                  <a:gd name="T48" fmla="*/ 323 w 356"/>
                  <a:gd name="T49" fmla="*/ 195 h 312"/>
                  <a:gd name="T50" fmla="*/ 319 w 356"/>
                  <a:gd name="T51" fmla="*/ 192 h 312"/>
                  <a:gd name="T52" fmla="*/ 305 w 356"/>
                  <a:gd name="T53" fmla="*/ 183 h 312"/>
                  <a:gd name="T54" fmla="*/ 281 w 356"/>
                  <a:gd name="T55" fmla="*/ 195 h 312"/>
                  <a:gd name="T56" fmla="*/ 274 w 356"/>
                  <a:gd name="T57" fmla="*/ 214 h 312"/>
                  <a:gd name="T58" fmla="*/ 278 w 356"/>
                  <a:gd name="T59" fmla="*/ 234 h 312"/>
                  <a:gd name="T60" fmla="*/ 268 w 356"/>
                  <a:gd name="T61" fmla="*/ 226 h 312"/>
                  <a:gd name="T62" fmla="*/ 241 w 356"/>
                  <a:gd name="T63" fmla="*/ 232 h 312"/>
                  <a:gd name="T64" fmla="*/ 247 w 356"/>
                  <a:gd name="T65" fmla="*/ 261 h 312"/>
                  <a:gd name="T66" fmla="*/ 245 w 356"/>
                  <a:gd name="T67" fmla="*/ 274 h 312"/>
                  <a:gd name="T68" fmla="*/ 254 w 356"/>
                  <a:gd name="T69" fmla="*/ 283 h 312"/>
                  <a:gd name="T70" fmla="*/ 242 w 356"/>
                  <a:gd name="T71" fmla="*/ 287 h 312"/>
                  <a:gd name="T72" fmla="*/ 196 w 356"/>
                  <a:gd name="T73" fmla="*/ 309 h 312"/>
                  <a:gd name="T74" fmla="*/ 208 w 356"/>
                  <a:gd name="T75" fmla="*/ 282 h 312"/>
                  <a:gd name="T76" fmla="*/ 172 w 356"/>
                  <a:gd name="T77" fmla="*/ 279 h 312"/>
                  <a:gd name="T78" fmla="*/ 144 w 356"/>
                  <a:gd name="T79" fmla="*/ 270 h 312"/>
                  <a:gd name="T80" fmla="*/ 124 w 356"/>
                  <a:gd name="T81" fmla="*/ 283 h 312"/>
                  <a:gd name="T82" fmla="*/ 109 w 356"/>
                  <a:gd name="T83" fmla="*/ 279 h 312"/>
                  <a:gd name="T84" fmla="*/ 79 w 356"/>
                  <a:gd name="T85" fmla="*/ 292 h 312"/>
                  <a:gd name="T86" fmla="*/ 51 w 356"/>
                  <a:gd name="T87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12">
                    <a:moveTo>
                      <a:pt x="0" y="25"/>
                    </a:moveTo>
                    <a:cubicBezTo>
                      <a:pt x="10" y="28"/>
                      <a:pt x="59" y="0"/>
                      <a:pt x="75" y="0"/>
                    </a:cubicBezTo>
                    <a:cubicBezTo>
                      <a:pt x="91" y="0"/>
                      <a:pt x="92" y="25"/>
                      <a:pt x="99" y="27"/>
                    </a:cubicBezTo>
                    <a:cubicBezTo>
                      <a:pt x="106" y="29"/>
                      <a:pt x="105" y="10"/>
                      <a:pt x="114" y="12"/>
                    </a:cubicBezTo>
                    <a:cubicBezTo>
                      <a:pt x="123" y="14"/>
                      <a:pt x="146" y="35"/>
                      <a:pt x="154" y="40"/>
                    </a:cubicBezTo>
                    <a:cubicBezTo>
                      <a:pt x="162" y="45"/>
                      <a:pt x="155" y="44"/>
                      <a:pt x="160" y="42"/>
                    </a:cubicBezTo>
                    <a:cubicBezTo>
                      <a:pt x="166" y="32"/>
                      <a:pt x="176" y="31"/>
                      <a:pt x="187" y="30"/>
                    </a:cubicBezTo>
                    <a:cubicBezTo>
                      <a:pt x="188" y="29"/>
                      <a:pt x="190" y="27"/>
                      <a:pt x="191" y="28"/>
                    </a:cubicBezTo>
                    <a:cubicBezTo>
                      <a:pt x="194" y="29"/>
                      <a:pt x="195" y="41"/>
                      <a:pt x="196" y="42"/>
                    </a:cubicBezTo>
                    <a:cubicBezTo>
                      <a:pt x="198" y="46"/>
                      <a:pt x="210" y="52"/>
                      <a:pt x="214" y="54"/>
                    </a:cubicBezTo>
                    <a:cubicBezTo>
                      <a:pt x="218" y="60"/>
                      <a:pt x="222" y="64"/>
                      <a:pt x="226" y="70"/>
                    </a:cubicBezTo>
                    <a:cubicBezTo>
                      <a:pt x="228" y="76"/>
                      <a:pt x="232" y="80"/>
                      <a:pt x="233" y="85"/>
                    </a:cubicBezTo>
                    <a:cubicBezTo>
                      <a:pt x="234" y="90"/>
                      <a:pt x="231" y="97"/>
                      <a:pt x="232" y="100"/>
                    </a:cubicBezTo>
                    <a:cubicBezTo>
                      <a:pt x="233" y="106"/>
                      <a:pt x="233" y="102"/>
                      <a:pt x="236" y="103"/>
                    </a:cubicBezTo>
                    <a:cubicBezTo>
                      <a:pt x="239" y="104"/>
                      <a:pt x="243" y="108"/>
                      <a:pt x="248" y="108"/>
                    </a:cubicBezTo>
                    <a:cubicBezTo>
                      <a:pt x="254" y="104"/>
                      <a:pt x="258" y="106"/>
                      <a:pt x="265" y="105"/>
                    </a:cubicBezTo>
                    <a:cubicBezTo>
                      <a:pt x="269" y="110"/>
                      <a:pt x="271" y="111"/>
                      <a:pt x="277" y="112"/>
                    </a:cubicBezTo>
                    <a:cubicBezTo>
                      <a:pt x="281" y="111"/>
                      <a:pt x="283" y="108"/>
                      <a:pt x="287" y="108"/>
                    </a:cubicBezTo>
                    <a:cubicBezTo>
                      <a:pt x="291" y="108"/>
                      <a:pt x="299" y="111"/>
                      <a:pt x="302" y="114"/>
                    </a:cubicBezTo>
                    <a:cubicBezTo>
                      <a:pt x="306" y="120"/>
                      <a:pt x="314" y="127"/>
                      <a:pt x="320" y="130"/>
                    </a:cubicBezTo>
                    <a:cubicBezTo>
                      <a:pt x="329" y="141"/>
                      <a:pt x="338" y="136"/>
                      <a:pt x="353" y="138"/>
                    </a:cubicBezTo>
                    <a:cubicBezTo>
                      <a:pt x="356" y="142"/>
                      <a:pt x="344" y="149"/>
                      <a:pt x="340" y="152"/>
                    </a:cubicBezTo>
                    <a:cubicBezTo>
                      <a:pt x="336" y="155"/>
                      <a:pt x="331" y="153"/>
                      <a:pt x="329" y="157"/>
                    </a:cubicBezTo>
                    <a:cubicBezTo>
                      <a:pt x="325" y="162"/>
                      <a:pt x="329" y="169"/>
                      <a:pt x="328" y="175"/>
                    </a:cubicBezTo>
                    <a:cubicBezTo>
                      <a:pt x="327" y="181"/>
                      <a:pt x="324" y="192"/>
                      <a:pt x="323" y="195"/>
                    </a:cubicBezTo>
                    <a:cubicBezTo>
                      <a:pt x="323" y="197"/>
                      <a:pt x="320" y="193"/>
                      <a:pt x="319" y="192"/>
                    </a:cubicBezTo>
                    <a:cubicBezTo>
                      <a:pt x="314" y="189"/>
                      <a:pt x="310" y="186"/>
                      <a:pt x="305" y="183"/>
                    </a:cubicBezTo>
                    <a:cubicBezTo>
                      <a:pt x="287" y="186"/>
                      <a:pt x="286" y="182"/>
                      <a:pt x="281" y="195"/>
                    </a:cubicBezTo>
                    <a:cubicBezTo>
                      <a:pt x="277" y="200"/>
                      <a:pt x="275" y="207"/>
                      <a:pt x="274" y="214"/>
                    </a:cubicBezTo>
                    <a:cubicBezTo>
                      <a:pt x="274" y="220"/>
                      <a:pt x="279" y="232"/>
                      <a:pt x="278" y="234"/>
                    </a:cubicBezTo>
                    <a:cubicBezTo>
                      <a:pt x="274" y="230"/>
                      <a:pt x="273" y="229"/>
                      <a:pt x="268" y="226"/>
                    </a:cubicBezTo>
                    <a:cubicBezTo>
                      <a:pt x="263" y="226"/>
                      <a:pt x="244" y="226"/>
                      <a:pt x="241" y="232"/>
                    </a:cubicBezTo>
                    <a:cubicBezTo>
                      <a:pt x="238" y="238"/>
                      <a:pt x="246" y="254"/>
                      <a:pt x="247" y="261"/>
                    </a:cubicBezTo>
                    <a:cubicBezTo>
                      <a:pt x="246" y="265"/>
                      <a:pt x="244" y="270"/>
                      <a:pt x="245" y="274"/>
                    </a:cubicBezTo>
                    <a:cubicBezTo>
                      <a:pt x="246" y="278"/>
                      <a:pt x="254" y="283"/>
                      <a:pt x="254" y="283"/>
                    </a:cubicBezTo>
                    <a:cubicBezTo>
                      <a:pt x="254" y="285"/>
                      <a:pt x="248" y="284"/>
                      <a:pt x="242" y="287"/>
                    </a:cubicBezTo>
                    <a:cubicBezTo>
                      <a:pt x="232" y="291"/>
                      <a:pt x="202" y="310"/>
                      <a:pt x="196" y="309"/>
                    </a:cubicBezTo>
                    <a:cubicBezTo>
                      <a:pt x="190" y="308"/>
                      <a:pt x="212" y="287"/>
                      <a:pt x="208" y="282"/>
                    </a:cubicBezTo>
                    <a:cubicBezTo>
                      <a:pt x="204" y="277"/>
                      <a:pt x="183" y="281"/>
                      <a:pt x="172" y="279"/>
                    </a:cubicBezTo>
                    <a:cubicBezTo>
                      <a:pt x="161" y="277"/>
                      <a:pt x="152" y="269"/>
                      <a:pt x="144" y="270"/>
                    </a:cubicBezTo>
                    <a:cubicBezTo>
                      <a:pt x="136" y="271"/>
                      <a:pt x="130" y="282"/>
                      <a:pt x="124" y="283"/>
                    </a:cubicBezTo>
                    <a:cubicBezTo>
                      <a:pt x="118" y="284"/>
                      <a:pt x="116" y="278"/>
                      <a:pt x="109" y="279"/>
                    </a:cubicBezTo>
                    <a:cubicBezTo>
                      <a:pt x="102" y="280"/>
                      <a:pt x="89" y="287"/>
                      <a:pt x="79" y="292"/>
                    </a:cubicBezTo>
                    <a:cubicBezTo>
                      <a:pt x="69" y="297"/>
                      <a:pt x="57" y="308"/>
                      <a:pt x="51" y="312"/>
                    </a:cubicBez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7" name="Freeform 235"/>
              <p:cNvSpPr>
                <a:spLocks/>
              </p:cNvSpPr>
              <p:nvPr>
                <p:custDataLst>
                  <p:tags r:id="rId177"/>
                </p:custDataLst>
              </p:nvPr>
            </p:nvSpPr>
            <p:spPr bwMode="gray">
              <a:xfrm>
                <a:off x="3419" y="1864"/>
                <a:ext cx="339" cy="308"/>
              </a:xfrm>
              <a:custGeom>
                <a:avLst/>
                <a:gdLst>
                  <a:gd name="T0" fmla="*/ 339 w 339"/>
                  <a:gd name="T1" fmla="*/ 0 h 308"/>
                  <a:gd name="T2" fmla="*/ 273 w 339"/>
                  <a:gd name="T3" fmla="*/ 23 h 308"/>
                  <a:gd name="T4" fmla="*/ 252 w 339"/>
                  <a:gd name="T5" fmla="*/ 31 h 308"/>
                  <a:gd name="T6" fmla="*/ 233 w 339"/>
                  <a:gd name="T7" fmla="*/ 34 h 308"/>
                  <a:gd name="T8" fmla="*/ 226 w 339"/>
                  <a:gd name="T9" fmla="*/ 55 h 308"/>
                  <a:gd name="T10" fmla="*/ 216 w 339"/>
                  <a:gd name="T11" fmla="*/ 74 h 308"/>
                  <a:gd name="T12" fmla="*/ 221 w 339"/>
                  <a:gd name="T13" fmla="*/ 92 h 308"/>
                  <a:gd name="T14" fmla="*/ 228 w 339"/>
                  <a:gd name="T15" fmla="*/ 103 h 308"/>
                  <a:gd name="T16" fmla="*/ 221 w 339"/>
                  <a:gd name="T17" fmla="*/ 112 h 308"/>
                  <a:gd name="T18" fmla="*/ 194 w 339"/>
                  <a:gd name="T19" fmla="*/ 109 h 308"/>
                  <a:gd name="T20" fmla="*/ 180 w 339"/>
                  <a:gd name="T21" fmla="*/ 101 h 308"/>
                  <a:gd name="T22" fmla="*/ 164 w 339"/>
                  <a:gd name="T23" fmla="*/ 100 h 308"/>
                  <a:gd name="T24" fmla="*/ 147 w 339"/>
                  <a:gd name="T25" fmla="*/ 110 h 308"/>
                  <a:gd name="T26" fmla="*/ 101 w 339"/>
                  <a:gd name="T27" fmla="*/ 86 h 308"/>
                  <a:gd name="T28" fmla="*/ 66 w 339"/>
                  <a:gd name="T29" fmla="*/ 88 h 308"/>
                  <a:gd name="T30" fmla="*/ 54 w 339"/>
                  <a:gd name="T31" fmla="*/ 97 h 308"/>
                  <a:gd name="T32" fmla="*/ 36 w 339"/>
                  <a:gd name="T33" fmla="*/ 116 h 308"/>
                  <a:gd name="T34" fmla="*/ 23 w 339"/>
                  <a:gd name="T35" fmla="*/ 118 h 308"/>
                  <a:gd name="T36" fmla="*/ 12 w 339"/>
                  <a:gd name="T37" fmla="*/ 142 h 308"/>
                  <a:gd name="T38" fmla="*/ 5 w 339"/>
                  <a:gd name="T39" fmla="*/ 155 h 308"/>
                  <a:gd name="T40" fmla="*/ 12 w 339"/>
                  <a:gd name="T41" fmla="*/ 173 h 308"/>
                  <a:gd name="T42" fmla="*/ 26 w 339"/>
                  <a:gd name="T43" fmla="*/ 181 h 308"/>
                  <a:gd name="T44" fmla="*/ 41 w 339"/>
                  <a:gd name="T45" fmla="*/ 202 h 308"/>
                  <a:gd name="T46" fmla="*/ 47 w 339"/>
                  <a:gd name="T47" fmla="*/ 211 h 308"/>
                  <a:gd name="T48" fmla="*/ 48 w 339"/>
                  <a:gd name="T49" fmla="*/ 206 h 308"/>
                  <a:gd name="T50" fmla="*/ 57 w 339"/>
                  <a:gd name="T51" fmla="*/ 200 h 308"/>
                  <a:gd name="T52" fmla="*/ 89 w 339"/>
                  <a:gd name="T53" fmla="*/ 197 h 308"/>
                  <a:gd name="T54" fmla="*/ 108 w 339"/>
                  <a:gd name="T55" fmla="*/ 211 h 308"/>
                  <a:gd name="T56" fmla="*/ 108 w 339"/>
                  <a:gd name="T57" fmla="*/ 221 h 308"/>
                  <a:gd name="T58" fmla="*/ 125 w 339"/>
                  <a:gd name="T59" fmla="*/ 227 h 308"/>
                  <a:gd name="T60" fmla="*/ 113 w 339"/>
                  <a:gd name="T61" fmla="*/ 247 h 308"/>
                  <a:gd name="T62" fmla="*/ 99 w 339"/>
                  <a:gd name="T63" fmla="*/ 233 h 308"/>
                  <a:gd name="T64" fmla="*/ 87 w 339"/>
                  <a:gd name="T65" fmla="*/ 238 h 308"/>
                  <a:gd name="T66" fmla="*/ 74 w 339"/>
                  <a:gd name="T67" fmla="*/ 248 h 308"/>
                  <a:gd name="T68" fmla="*/ 77 w 339"/>
                  <a:gd name="T69" fmla="*/ 265 h 308"/>
                  <a:gd name="T70" fmla="*/ 87 w 339"/>
                  <a:gd name="T71" fmla="*/ 279 h 308"/>
                  <a:gd name="T72" fmla="*/ 102 w 339"/>
                  <a:gd name="T73" fmla="*/ 295 h 308"/>
                  <a:gd name="T74" fmla="*/ 134 w 339"/>
                  <a:gd name="T75" fmla="*/ 293 h 308"/>
                  <a:gd name="T76" fmla="*/ 152 w 339"/>
                  <a:gd name="T77" fmla="*/ 302 h 308"/>
                  <a:gd name="T78" fmla="*/ 153 w 339"/>
                  <a:gd name="T79" fmla="*/ 242 h 308"/>
                  <a:gd name="T80" fmla="*/ 170 w 339"/>
                  <a:gd name="T81" fmla="*/ 235 h 308"/>
                  <a:gd name="T82" fmla="*/ 188 w 339"/>
                  <a:gd name="T83" fmla="*/ 226 h 308"/>
                  <a:gd name="T84" fmla="*/ 206 w 339"/>
                  <a:gd name="T85" fmla="*/ 230 h 308"/>
                  <a:gd name="T86" fmla="*/ 230 w 339"/>
                  <a:gd name="T87" fmla="*/ 253 h 308"/>
                  <a:gd name="T88" fmla="*/ 254 w 339"/>
                  <a:gd name="T89" fmla="*/ 269 h 308"/>
                  <a:gd name="T90" fmla="*/ 287 w 339"/>
                  <a:gd name="T91" fmla="*/ 269 h 308"/>
                  <a:gd name="T92" fmla="*/ 303 w 339"/>
                  <a:gd name="T93" fmla="*/ 287 h 308"/>
                  <a:gd name="T94" fmla="*/ 321 w 339"/>
                  <a:gd name="T95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9" h="308">
                    <a:moveTo>
                      <a:pt x="339" y="0"/>
                    </a:moveTo>
                    <a:cubicBezTo>
                      <a:pt x="328" y="3"/>
                      <a:pt x="287" y="18"/>
                      <a:pt x="273" y="23"/>
                    </a:cubicBezTo>
                    <a:cubicBezTo>
                      <a:pt x="262" y="26"/>
                      <a:pt x="259" y="29"/>
                      <a:pt x="252" y="31"/>
                    </a:cubicBezTo>
                    <a:cubicBezTo>
                      <a:pt x="245" y="33"/>
                      <a:pt x="237" y="30"/>
                      <a:pt x="233" y="34"/>
                    </a:cubicBezTo>
                    <a:cubicBezTo>
                      <a:pt x="225" y="39"/>
                      <a:pt x="229" y="48"/>
                      <a:pt x="226" y="55"/>
                    </a:cubicBezTo>
                    <a:cubicBezTo>
                      <a:pt x="223" y="62"/>
                      <a:pt x="217" y="68"/>
                      <a:pt x="216" y="74"/>
                    </a:cubicBezTo>
                    <a:cubicBezTo>
                      <a:pt x="211" y="82"/>
                      <a:pt x="216" y="85"/>
                      <a:pt x="221" y="92"/>
                    </a:cubicBezTo>
                    <a:cubicBezTo>
                      <a:pt x="223" y="101"/>
                      <a:pt x="226" y="94"/>
                      <a:pt x="228" y="103"/>
                    </a:cubicBezTo>
                    <a:cubicBezTo>
                      <a:pt x="227" y="105"/>
                      <a:pt x="225" y="112"/>
                      <a:pt x="221" y="112"/>
                    </a:cubicBezTo>
                    <a:cubicBezTo>
                      <a:pt x="212" y="112"/>
                      <a:pt x="194" y="109"/>
                      <a:pt x="194" y="109"/>
                    </a:cubicBezTo>
                    <a:cubicBezTo>
                      <a:pt x="189" y="107"/>
                      <a:pt x="185" y="104"/>
                      <a:pt x="180" y="101"/>
                    </a:cubicBezTo>
                    <a:cubicBezTo>
                      <a:pt x="175" y="100"/>
                      <a:pt x="169" y="99"/>
                      <a:pt x="164" y="100"/>
                    </a:cubicBezTo>
                    <a:cubicBezTo>
                      <a:pt x="159" y="101"/>
                      <a:pt x="157" y="112"/>
                      <a:pt x="147" y="110"/>
                    </a:cubicBezTo>
                    <a:cubicBezTo>
                      <a:pt x="133" y="108"/>
                      <a:pt x="114" y="90"/>
                      <a:pt x="101" y="86"/>
                    </a:cubicBezTo>
                    <a:cubicBezTo>
                      <a:pt x="88" y="82"/>
                      <a:pt x="74" y="86"/>
                      <a:pt x="66" y="88"/>
                    </a:cubicBezTo>
                    <a:cubicBezTo>
                      <a:pt x="62" y="93"/>
                      <a:pt x="59" y="94"/>
                      <a:pt x="54" y="97"/>
                    </a:cubicBezTo>
                    <a:cubicBezTo>
                      <a:pt x="53" y="105"/>
                      <a:pt x="43" y="112"/>
                      <a:pt x="36" y="116"/>
                    </a:cubicBezTo>
                    <a:cubicBezTo>
                      <a:pt x="35" y="127"/>
                      <a:pt x="32" y="122"/>
                      <a:pt x="23" y="118"/>
                    </a:cubicBezTo>
                    <a:cubicBezTo>
                      <a:pt x="17" y="112"/>
                      <a:pt x="18" y="136"/>
                      <a:pt x="12" y="142"/>
                    </a:cubicBezTo>
                    <a:cubicBezTo>
                      <a:pt x="11" y="149"/>
                      <a:pt x="10" y="151"/>
                      <a:pt x="5" y="155"/>
                    </a:cubicBezTo>
                    <a:cubicBezTo>
                      <a:pt x="0" y="164"/>
                      <a:pt x="2" y="172"/>
                      <a:pt x="12" y="173"/>
                    </a:cubicBezTo>
                    <a:cubicBezTo>
                      <a:pt x="17" y="175"/>
                      <a:pt x="21" y="178"/>
                      <a:pt x="26" y="181"/>
                    </a:cubicBezTo>
                    <a:cubicBezTo>
                      <a:pt x="32" y="189"/>
                      <a:pt x="31" y="198"/>
                      <a:pt x="41" y="202"/>
                    </a:cubicBezTo>
                    <a:cubicBezTo>
                      <a:pt x="41" y="204"/>
                      <a:pt x="41" y="213"/>
                      <a:pt x="47" y="211"/>
                    </a:cubicBezTo>
                    <a:cubicBezTo>
                      <a:pt x="49" y="210"/>
                      <a:pt x="47" y="207"/>
                      <a:pt x="48" y="206"/>
                    </a:cubicBezTo>
                    <a:cubicBezTo>
                      <a:pt x="50" y="203"/>
                      <a:pt x="54" y="201"/>
                      <a:pt x="57" y="200"/>
                    </a:cubicBezTo>
                    <a:cubicBezTo>
                      <a:pt x="67" y="196"/>
                      <a:pt x="78" y="198"/>
                      <a:pt x="89" y="197"/>
                    </a:cubicBezTo>
                    <a:cubicBezTo>
                      <a:pt x="103" y="195"/>
                      <a:pt x="102" y="200"/>
                      <a:pt x="108" y="211"/>
                    </a:cubicBezTo>
                    <a:cubicBezTo>
                      <a:pt x="113" y="214"/>
                      <a:pt x="105" y="218"/>
                      <a:pt x="108" y="221"/>
                    </a:cubicBezTo>
                    <a:cubicBezTo>
                      <a:pt x="111" y="224"/>
                      <a:pt x="124" y="223"/>
                      <a:pt x="125" y="227"/>
                    </a:cubicBezTo>
                    <a:cubicBezTo>
                      <a:pt x="123" y="236"/>
                      <a:pt x="121" y="243"/>
                      <a:pt x="113" y="247"/>
                    </a:cubicBezTo>
                    <a:cubicBezTo>
                      <a:pt x="106" y="243"/>
                      <a:pt x="108" y="236"/>
                      <a:pt x="99" y="233"/>
                    </a:cubicBezTo>
                    <a:cubicBezTo>
                      <a:pt x="78" y="238"/>
                      <a:pt x="95" y="228"/>
                      <a:pt x="87" y="238"/>
                    </a:cubicBezTo>
                    <a:cubicBezTo>
                      <a:pt x="85" y="241"/>
                      <a:pt x="74" y="248"/>
                      <a:pt x="74" y="248"/>
                    </a:cubicBezTo>
                    <a:cubicBezTo>
                      <a:pt x="70" y="255"/>
                      <a:pt x="66" y="263"/>
                      <a:pt x="77" y="265"/>
                    </a:cubicBezTo>
                    <a:cubicBezTo>
                      <a:pt x="79" y="270"/>
                      <a:pt x="83" y="274"/>
                      <a:pt x="87" y="279"/>
                    </a:cubicBezTo>
                    <a:cubicBezTo>
                      <a:pt x="91" y="284"/>
                      <a:pt x="94" y="293"/>
                      <a:pt x="102" y="295"/>
                    </a:cubicBezTo>
                    <a:cubicBezTo>
                      <a:pt x="113" y="290"/>
                      <a:pt x="120" y="292"/>
                      <a:pt x="134" y="293"/>
                    </a:cubicBezTo>
                    <a:cubicBezTo>
                      <a:pt x="140" y="296"/>
                      <a:pt x="146" y="298"/>
                      <a:pt x="152" y="302"/>
                    </a:cubicBezTo>
                    <a:cubicBezTo>
                      <a:pt x="156" y="293"/>
                      <a:pt x="150" y="253"/>
                      <a:pt x="153" y="242"/>
                    </a:cubicBezTo>
                    <a:cubicBezTo>
                      <a:pt x="156" y="231"/>
                      <a:pt x="164" y="238"/>
                      <a:pt x="170" y="235"/>
                    </a:cubicBezTo>
                    <a:cubicBezTo>
                      <a:pt x="176" y="231"/>
                      <a:pt x="181" y="227"/>
                      <a:pt x="188" y="226"/>
                    </a:cubicBezTo>
                    <a:cubicBezTo>
                      <a:pt x="194" y="227"/>
                      <a:pt x="200" y="229"/>
                      <a:pt x="206" y="230"/>
                    </a:cubicBezTo>
                    <a:cubicBezTo>
                      <a:pt x="217" y="238"/>
                      <a:pt x="214" y="250"/>
                      <a:pt x="230" y="253"/>
                    </a:cubicBezTo>
                    <a:cubicBezTo>
                      <a:pt x="238" y="258"/>
                      <a:pt x="245" y="267"/>
                      <a:pt x="254" y="269"/>
                    </a:cubicBezTo>
                    <a:cubicBezTo>
                      <a:pt x="263" y="272"/>
                      <a:pt x="279" y="266"/>
                      <a:pt x="287" y="269"/>
                    </a:cubicBezTo>
                    <a:cubicBezTo>
                      <a:pt x="295" y="274"/>
                      <a:pt x="295" y="282"/>
                      <a:pt x="303" y="287"/>
                    </a:cubicBezTo>
                    <a:cubicBezTo>
                      <a:pt x="304" y="300"/>
                      <a:pt x="310" y="301"/>
                      <a:pt x="321" y="308"/>
                    </a:cubicBezTo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22" name="Freeform 236"/>
            <p:cNvSpPr>
              <a:spLocks/>
            </p:cNvSpPr>
            <p:nvPr>
              <p:custDataLst>
                <p:tags r:id="rId128"/>
              </p:custDataLst>
            </p:nvPr>
          </p:nvSpPr>
          <p:spPr bwMode="gray">
            <a:xfrm>
              <a:off x="3975089" y="1426996"/>
              <a:ext cx="32397" cy="3401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3" name="Freeform 237"/>
            <p:cNvSpPr>
              <a:spLocks/>
            </p:cNvSpPr>
            <p:nvPr>
              <p:custDataLst>
                <p:tags r:id="rId129"/>
              </p:custDataLst>
            </p:nvPr>
          </p:nvSpPr>
          <p:spPr bwMode="gray">
            <a:xfrm>
              <a:off x="3975089" y="1426996"/>
              <a:ext cx="32397" cy="34015"/>
            </a:xfrm>
            <a:custGeom>
              <a:avLst/>
              <a:gdLst>
                <a:gd name="T0" fmla="*/ 0 w 17"/>
                <a:gd name="T1" fmla="*/ 0 h 18"/>
                <a:gd name="T2" fmla="*/ 0 w 17"/>
                <a:gd name="T3" fmla="*/ 17 h 18"/>
                <a:gd name="T4" fmla="*/ 16 w 17"/>
                <a:gd name="T5" fmla="*/ 17 h 18"/>
                <a:gd name="T6" fmla="*/ 0 w 17"/>
                <a:gd name="T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7" h="18">
                  <a:moveTo>
                    <a:pt x="0" y="0"/>
                  </a:moveTo>
                  <a:lnTo>
                    <a:pt x="0" y="17"/>
                  </a:lnTo>
                  <a:lnTo>
                    <a:pt x="16" y="17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4" name="Freeform 311"/>
            <p:cNvSpPr>
              <a:spLocks/>
            </p:cNvSpPr>
            <p:nvPr>
              <p:custDataLst>
                <p:tags r:id="rId130"/>
              </p:custDataLst>
            </p:nvPr>
          </p:nvSpPr>
          <p:spPr bwMode="gray">
            <a:xfrm>
              <a:off x="3816345" y="2115388"/>
              <a:ext cx="278613" cy="183032"/>
            </a:xfrm>
            <a:custGeom>
              <a:avLst/>
              <a:gdLst>
                <a:gd name="T0" fmla="*/ 32 w 169"/>
                <a:gd name="T1" fmla="*/ 1 h 113"/>
                <a:gd name="T2" fmla="*/ 50 w 169"/>
                <a:gd name="T3" fmla="*/ 17 h 113"/>
                <a:gd name="T4" fmla="*/ 60 w 169"/>
                <a:gd name="T5" fmla="*/ 31 h 113"/>
                <a:gd name="T6" fmla="*/ 72 w 169"/>
                <a:gd name="T7" fmla="*/ 25 h 113"/>
                <a:gd name="T8" fmla="*/ 114 w 169"/>
                <a:gd name="T9" fmla="*/ 13 h 113"/>
                <a:gd name="T10" fmla="*/ 152 w 169"/>
                <a:gd name="T11" fmla="*/ 11 h 113"/>
                <a:gd name="T12" fmla="*/ 148 w 169"/>
                <a:gd name="T13" fmla="*/ 23 h 113"/>
                <a:gd name="T14" fmla="*/ 166 w 169"/>
                <a:gd name="T15" fmla="*/ 45 h 113"/>
                <a:gd name="T16" fmla="*/ 158 w 169"/>
                <a:gd name="T17" fmla="*/ 67 h 113"/>
                <a:gd name="T18" fmla="*/ 134 w 169"/>
                <a:gd name="T19" fmla="*/ 87 h 113"/>
                <a:gd name="T20" fmla="*/ 116 w 169"/>
                <a:gd name="T21" fmla="*/ 95 h 113"/>
                <a:gd name="T22" fmla="*/ 112 w 169"/>
                <a:gd name="T23" fmla="*/ 107 h 113"/>
                <a:gd name="T24" fmla="*/ 94 w 169"/>
                <a:gd name="T25" fmla="*/ 113 h 113"/>
                <a:gd name="T26" fmla="*/ 54 w 169"/>
                <a:gd name="T27" fmla="*/ 97 h 113"/>
                <a:gd name="T28" fmla="*/ 24 w 169"/>
                <a:gd name="T29" fmla="*/ 107 h 113"/>
                <a:gd name="T30" fmla="*/ 38 w 169"/>
                <a:gd name="T31" fmla="*/ 85 h 113"/>
                <a:gd name="T32" fmla="*/ 16 w 169"/>
                <a:gd name="T33" fmla="*/ 69 h 113"/>
                <a:gd name="T34" fmla="*/ 2 w 169"/>
                <a:gd name="T35" fmla="*/ 55 h 113"/>
                <a:gd name="T36" fmla="*/ 26 w 169"/>
                <a:gd name="T37" fmla="*/ 53 h 113"/>
                <a:gd name="T38" fmla="*/ 24 w 169"/>
                <a:gd name="T39" fmla="*/ 47 h 113"/>
                <a:gd name="T40" fmla="*/ 0 w 169"/>
                <a:gd name="T41" fmla="*/ 41 h 113"/>
                <a:gd name="T42" fmla="*/ 4 w 169"/>
                <a:gd name="T43" fmla="*/ 29 h 113"/>
                <a:gd name="T44" fmla="*/ 16 w 169"/>
                <a:gd name="T45" fmla="*/ 21 h 113"/>
                <a:gd name="T46" fmla="*/ 28 w 169"/>
                <a:gd name="T47" fmla="*/ 5 h 113"/>
                <a:gd name="T48" fmla="*/ 32 w 169"/>
                <a:gd name="T49" fmla="*/ 1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69" h="113">
                  <a:moveTo>
                    <a:pt x="32" y="1"/>
                  </a:moveTo>
                  <a:cubicBezTo>
                    <a:pt x="35" y="6"/>
                    <a:pt x="45" y="15"/>
                    <a:pt x="50" y="17"/>
                  </a:cubicBezTo>
                  <a:cubicBezTo>
                    <a:pt x="53" y="45"/>
                    <a:pt x="50" y="43"/>
                    <a:pt x="60" y="31"/>
                  </a:cubicBezTo>
                  <a:cubicBezTo>
                    <a:pt x="63" y="27"/>
                    <a:pt x="68" y="26"/>
                    <a:pt x="72" y="25"/>
                  </a:cubicBezTo>
                  <a:cubicBezTo>
                    <a:pt x="81" y="11"/>
                    <a:pt x="99" y="14"/>
                    <a:pt x="114" y="13"/>
                  </a:cubicBezTo>
                  <a:cubicBezTo>
                    <a:pt x="126" y="5"/>
                    <a:pt x="131" y="0"/>
                    <a:pt x="152" y="11"/>
                  </a:cubicBezTo>
                  <a:cubicBezTo>
                    <a:pt x="156" y="13"/>
                    <a:pt x="148" y="23"/>
                    <a:pt x="148" y="23"/>
                  </a:cubicBezTo>
                  <a:cubicBezTo>
                    <a:pt x="157" y="29"/>
                    <a:pt x="158" y="37"/>
                    <a:pt x="166" y="45"/>
                  </a:cubicBezTo>
                  <a:cubicBezTo>
                    <a:pt x="169" y="54"/>
                    <a:pt x="168" y="64"/>
                    <a:pt x="158" y="67"/>
                  </a:cubicBezTo>
                  <a:cubicBezTo>
                    <a:pt x="147" y="84"/>
                    <a:pt x="161" y="84"/>
                    <a:pt x="134" y="87"/>
                  </a:cubicBezTo>
                  <a:cubicBezTo>
                    <a:pt x="127" y="89"/>
                    <a:pt x="123" y="93"/>
                    <a:pt x="116" y="95"/>
                  </a:cubicBezTo>
                  <a:cubicBezTo>
                    <a:pt x="115" y="99"/>
                    <a:pt x="113" y="103"/>
                    <a:pt x="112" y="107"/>
                  </a:cubicBezTo>
                  <a:cubicBezTo>
                    <a:pt x="110" y="113"/>
                    <a:pt x="94" y="113"/>
                    <a:pt x="94" y="113"/>
                  </a:cubicBezTo>
                  <a:cubicBezTo>
                    <a:pt x="77" y="111"/>
                    <a:pt x="69" y="102"/>
                    <a:pt x="54" y="97"/>
                  </a:cubicBezTo>
                  <a:cubicBezTo>
                    <a:pt x="26" y="100"/>
                    <a:pt x="41" y="101"/>
                    <a:pt x="24" y="107"/>
                  </a:cubicBezTo>
                  <a:cubicBezTo>
                    <a:pt x="21" y="98"/>
                    <a:pt x="32" y="93"/>
                    <a:pt x="38" y="85"/>
                  </a:cubicBezTo>
                  <a:cubicBezTo>
                    <a:pt x="28" y="79"/>
                    <a:pt x="29" y="72"/>
                    <a:pt x="16" y="69"/>
                  </a:cubicBezTo>
                  <a:cubicBezTo>
                    <a:pt x="9" y="64"/>
                    <a:pt x="9" y="60"/>
                    <a:pt x="2" y="55"/>
                  </a:cubicBezTo>
                  <a:cubicBezTo>
                    <a:pt x="10" y="54"/>
                    <a:pt x="18" y="56"/>
                    <a:pt x="26" y="53"/>
                  </a:cubicBezTo>
                  <a:cubicBezTo>
                    <a:pt x="28" y="52"/>
                    <a:pt x="26" y="48"/>
                    <a:pt x="24" y="47"/>
                  </a:cubicBezTo>
                  <a:cubicBezTo>
                    <a:pt x="17" y="43"/>
                    <a:pt x="0" y="41"/>
                    <a:pt x="0" y="41"/>
                  </a:cubicBezTo>
                  <a:cubicBezTo>
                    <a:pt x="1" y="37"/>
                    <a:pt x="0" y="31"/>
                    <a:pt x="4" y="29"/>
                  </a:cubicBezTo>
                  <a:cubicBezTo>
                    <a:pt x="8" y="26"/>
                    <a:pt x="16" y="21"/>
                    <a:pt x="16" y="21"/>
                  </a:cubicBezTo>
                  <a:cubicBezTo>
                    <a:pt x="19" y="13"/>
                    <a:pt x="21" y="10"/>
                    <a:pt x="28" y="5"/>
                  </a:cubicBezTo>
                  <a:cubicBezTo>
                    <a:pt x="38" y="8"/>
                    <a:pt x="38" y="9"/>
                    <a:pt x="32" y="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5" name="Freeform 312"/>
            <p:cNvSpPr>
              <a:spLocks/>
            </p:cNvSpPr>
            <p:nvPr>
              <p:custDataLst>
                <p:tags r:id="rId131"/>
              </p:custDataLst>
            </p:nvPr>
          </p:nvSpPr>
          <p:spPr bwMode="gray">
            <a:xfrm>
              <a:off x="2735911" y="1300656"/>
              <a:ext cx="1235939" cy="1162977"/>
            </a:xfrm>
            <a:custGeom>
              <a:avLst/>
              <a:gdLst>
                <a:gd name="T0" fmla="*/ 188 w 763"/>
                <a:gd name="T1" fmla="*/ 119 h 718"/>
                <a:gd name="T2" fmla="*/ 209 w 763"/>
                <a:gd name="T3" fmla="*/ 172 h 718"/>
                <a:gd name="T4" fmla="*/ 210 w 763"/>
                <a:gd name="T5" fmla="*/ 248 h 718"/>
                <a:gd name="T6" fmla="*/ 228 w 763"/>
                <a:gd name="T7" fmla="*/ 287 h 718"/>
                <a:gd name="T8" fmla="*/ 248 w 763"/>
                <a:gd name="T9" fmla="*/ 299 h 718"/>
                <a:gd name="T10" fmla="*/ 276 w 763"/>
                <a:gd name="T11" fmla="*/ 324 h 718"/>
                <a:gd name="T12" fmla="*/ 222 w 763"/>
                <a:gd name="T13" fmla="*/ 332 h 718"/>
                <a:gd name="T14" fmla="*/ 238 w 763"/>
                <a:gd name="T15" fmla="*/ 380 h 718"/>
                <a:gd name="T16" fmla="*/ 276 w 763"/>
                <a:gd name="T17" fmla="*/ 354 h 718"/>
                <a:gd name="T18" fmla="*/ 276 w 763"/>
                <a:gd name="T19" fmla="*/ 410 h 718"/>
                <a:gd name="T20" fmla="*/ 237 w 763"/>
                <a:gd name="T21" fmla="*/ 427 h 718"/>
                <a:gd name="T22" fmla="*/ 256 w 763"/>
                <a:gd name="T23" fmla="*/ 525 h 718"/>
                <a:gd name="T24" fmla="*/ 303 w 763"/>
                <a:gd name="T25" fmla="*/ 669 h 718"/>
                <a:gd name="T26" fmla="*/ 353 w 763"/>
                <a:gd name="T27" fmla="*/ 690 h 718"/>
                <a:gd name="T28" fmla="*/ 392 w 763"/>
                <a:gd name="T29" fmla="*/ 707 h 718"/>
                <a:gd name="T30" fmla="*/ 411 w 763"/>
                <a:gd name="T31" fmla="*/ 629 h 718"/>
                <a:gd name="T32" fmla="*/ 440 w 763"/>
                <a:gd name="T33" fmla="*/ 559 h 718"/>
                <a:gd name="T34" fmla="*/ 442 w 763"/>
                <a:gd name="T35" fmla="*/ 542 h 718"/>
                <a:gd name="T36" fmla="*/ 486 w 763"/>
                <a:gd name="T37" fmla="*/ 525 h 718"/>
                <a:gd name="T38" fmla="*/ 591 w 763"/>
                <a:gd name="T39" fmla="*/ 429 h 718"/>
                <a:gd name="T40" fmla="*/ 698 w 763"/>
                <a:gd name="T41" fmla="*/ 361 h 718"/>
                <a:gd name="T42" fmla="*/ 672 w 763"/>
                <a:gd name="T43" fmla="*/ 337 h 718"/>
                <a:gd name="T44" fmla="*/ 670 w 763"/>
                <a:gd name="T45" fmla="*/ 315 h 718"/>
                <a:gd name="T46" fmla="*/ 679 w 763"/>
                <a:gd name="T47" fmla="*/ 284 h 718"/>
                <a:gd name="T48" fmla="*/ 697 w 763"/>
                <a:gd name="T49" fmla="*/ 337 h 718"/>
                <a:gd name="T50" fmla="*/ 722 w 763"/>
                <a:gd name="T51" fmla="*/ 283 h 718"/>
                <a:gd name="T52" fmla="*/ 720 w 763"/>
                <a:gd name="T53" fmla="*/ 248 h 718"/>
                <a:gd name="T54" fmla="*/ 698 w 763"/>
                <a:gd name="T55" fmla="*/ 200 h 718"/>
                <a:gd name="T56" fmla="*/ 737 w 763"/>
                <a:gd name="T57" fmla="*/ 159 h 718"/>
                <a:gd name="T58" fmla="*/ 756 w 763"/>
                <a:gd name="T59" fmla="*/ 143 h 718"/>
                <a:gd name="T60" fmla="*/ 746 w 763"/>
                <a:gd name="T61" fmla="*/ 112 h 718"/>
                <a:gd name="T62" fmla="*/ 751 w 763"/>
                <a:gd name="T63" fmla="*/ 65 h 718"/>
                <a:gd name="T64" fmla="*/ 727 w 763"/>
                <a:gd name="T65" fmla="*/ 19 h 718"/>
                <a:gd name="T66" fmla="*/ 4 w 763"/>
                <a:gd name="T67" fmla="*/ 0 h 718"/>
                <a:gd name="T68" fmla="*/ 4 w 763"/>
                <a:gd name="T69" fmla="*/ 33 h 718"/>
                <a:gd name="T70" fmla="*/ 57 w 763"/>
                <a:gd name="T71" fmla="*/ 30 h 718"/>
                <a:gd name="T72" fmla="*/ 172 w 763"/>
                <a:gd name="T73" fmla="*/ 61 h 7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763" h="718">
                  <a:moveTo>
                    <a:pt x="172" y="71"/>
                  </a:moveTo>
                  <a:lnTo>
                    <a:pt x="188" y="119"/>
                  </a:lnTo>
                  <a:lnTo>
                    <a:pt x="191" y="150"/>
                  </a:lnTo>
                  <a:lnTo>
                    <a:pt x="209" y="172"/>
                  </a:lnTo>
                  <a:lnTo>
                    <a:pt x="203" y="230"/>
                  </a:lnTo>
                  <a:lnTo>
                    <a:pt x="210" y="248"/>
                  </a:lnTo>
                  <a:lnTo>
                    <a:pt x="210" y="290"/>
                  </a:lnTo>
                  <a:lnTo>
                    <a:pt x="228" y="287"/>
                  </a:lnTo>
                  <a:lnTo>
                    <a:pt x="237" y="265"/>
                  </a:lnTo>
                  <a:lnTo>
                    <a:pt x="248" y="299"/>
                  </a:lnTo>
                  <a:lnTo>
                    <a:pt x="266" y="305"/>
                  </a:lnTo>
                  <a:lnTo>
                    <a:pt x="276" y="324"/>
                  </a:lnTo>
                  <a:lnTo>
                    <a:pt x="231" y="314"/>
                  </a:lnTo>
                  <a:lnTo>
                    <a:pt x="222" y="332"/>
                  </a:lnTo>
                  <a:lnTo>
                    <a:pt x="220" y="361"/>
                  </a:lnTo>
                  <a:lnTo>
                    <a:pt x="238" y="380"/>
                  </a:lnTo>
                  <a:lnTo>
                    <a:pt x="257" y="373"/>
                  </a:lnTo>
                  <a:lnTo>
                    <a:pt x="276" y="354"/>
                  </a:lnTo>
                  <a:lnTo>
                    <a:pt x="287" y="380"/>
                  </a:lnTo>
                  <a:lnTo>
                    <a:pt x="276" y="410"/>
                  </a:lnTo>
                  <a:lnTo>
                    <a:pt x="260" y="410"/>
                  </a:lnTo>
                  <a:lnTo>
                    <a:pt x="237" y="427"/>
                  </a:lnTo>
                  <a:lnTo>
                    <a:pt x="238" y="510"/>
                  </a:lnTo>
                  <a:lnTo>
                    <a:pt x="256" y="525"/>
                  </a:lnTo>
                  <a:lnTo>
                    <a:pt x="268" y="575"/>
                  </a:lnTo>
                  <a:lnTo>
                    <a:pt x="303" y="669"/>
                  </a:lnTo>
                  <a:lnTo>
                    <a:pt x="324" y="690"/>
                  </a:lnTo>
                  <a:lnTo>
                    <a:pt x="353" y="690"/>
                  </a:lnTo>
                  <a:lnTo>
                    <a:pt x="381" y="718"/>
                  </a:lnTo>
                  <a:lnTo>
                    <a:pt x="392" y="707"/>
                  </a:lnTo>
                  <a:lnTo>
                    <a:pt x="411" y="646"/>
                  </a:lnTo>
                  <a:lnTo>
                    <a:pt x="411" y="629"/>
                  </a:lnTo>
                  <a:lnTo>
                    <a:pt x="430" y="603"/>
                  </a:lnTo>
                  <a:lnTo>
                    <a:pt x="440" y="559"/>
                  </a:lnTo>
                  <a:lnTo>
                    <a:pt x="430" y="545"/>
                  </a:lnTo>
                  <a:lnTo>
                    <a:pt x="442" y="542"/>
                  </a:lnTo>
                  <a:lnTo>
                    <a:pt x="446" y="523"/>
                  </a:lnTo>
                  <a:lnTo>
                    <a:pt x="486" y="525"/>
                  </a:lnTo>
                  <a:lnTo>
                    <a:pt x="574" y="427"/>
                  </a:lnTo>
                  <a:lnTo>
                    <a:pt x="591" y="429"/>
                  </a:lnTo>
                  <a:lnTo>
                    <a:pt x="635" y="408"/>
                  </a:lnTo>
                  <a:lnTo>
                    <a:pt x="698" y="361"/>
                  </a:lnTo>
                  <a:lnTo>
                    <a:pt x="709" y="343"/>
                  </a:lnTo>
                  <a:lnTo>
                    <a:pt x="672" y="337"/>
                  </a:lnTo>
                  <a:lnTo>
                    <a:pt x="647" y="343"/>
                  </a:lnTo>
                  <a:lnTo>
                    <a:pt x="670" y="315"/>
                  </a:lnTo>
                  <a:lnTo>
                    <a:pt x="661" y="293"/>
                  </a:lnTo>
                  <a:lnTo>
                    <a:pt x="679" y="284"/>
                  </a:lnTo>
                  <a:lnTo>
                    <a:pt x="688" y="326"/>
                  </a:lnTo>
                  <a:lnTo>
                    <a:pt x="697" y="337"/>
                  </a:lnTo>
                  <a:lnTo>
                    <a:pt x="720" y="326"/>
                  </a:lnTo>
                  <a:lnTo>
                    <a:pt x="722" y="283"/>
                  </a:lnTo>
                  <a:lnTo>
                    <a:pt x="678" y="230"/>
                  </a:lnTo>
                  <a:lnTo>
                    <a:pt x="720" y="248"/>
                  </a:lnTo>
                  <a:lnTo>
                    <a:pt x="720" y="208"/>
                  </a:lnTo>
                  <a:lnTo>
                    <a:pt x="698" y="200"/>
                  </a:lnTo>
                  <a:lnTo>
                    <a:pt x="737" y="178"/>
                  </a:lnTo>
                  <a:lnTo>
                    <a:pt x="737" y="159"/>
                  </a:lnTo>
                  <a:lnTo>
                    <a:pt x="726" y="152"/>
                  </a:lnTo>
                  <a:lnTo>
                    <a:pt x="756" y="143"/>
                  </a:lnTo>
                  <a:lnTo>
                    <a:pt x="763" y="115"/>
                  </a:lnTo>
                  <a:lnTo>
                    <a:pt x="746" y="112"/>
                  </a:lnTo>
                  <a:lnTo>
                    <a:pt x="757" y="87"/>
                  </a:lnTo>
                  <a:lnTo>
                    <a:pt x="751" y="65"/>
                  </a:lnTo>
                  <a:lnTo>
                    <a:pt x="747" y="33"/>
                  </a:lnTo>
                  <a:lnTo>
                    <a:pt x="727" y="19"/>
                  </a:lnTo>
                  <a:lnTo>
                    <a:pt x="727" y="3"/>
                  </a:lnTo>
                  <a:lnTo>
                    <a:pt x="4" y="0"/>
                  </a:lnTo>
                  <a:lnTo>
                    <a:pt x="0" y="15"/>
                  </a:lnTo>
                  <a:lnTo>
                    <a:pt x="4" y="33"/>
                  </a:lnTo>
                  <a:lnTo>
                    <a:pt x="49" y="42"/>
                  </a:lnTo>
                  <a:lnTo>
                    <a:pt x="57" y="30"/>
                  </a:lnTo>
                  <a:lnTo>
                    <a:pt x="118" y="34"/>
                  </a:lnTo>
                  <a:lnTo>
                    <a:pt x="172" y="61"/>
                  </a:lnTo>
                  <a:lnTo>
                    <a:pt x="172" y="71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6" name="Freeform 320"/>
            <p:cNvSpPr>
              <a:spLocks/>
            </p:cNvSpPr>
            <p:nvPr>
              <p:custDataLst>
                <p:tags r:id="rId132"/>
              </p:custDataLst>
            </p:nvPr>
          </p:nvSpPr>
          <p:spPr bwMode="gray">
            <a:xfrm>
              <a:off x="4197008" y="3142305"/>
              <a:ext cx="80992" cy="174932"/>
            </a:xfrm>
            <a:custGeom>
              <a:avLst/>
              <a:gdLst>
                <a:gd name="T0" fmla="*/ 9 w 50"/>
                <a:gd name="T1" fmla="*/ 0 h 111"/>
                <a:gd name="T2" fmla="*/ 25 w 50"/>
                <a:gd name="T3" fmla="*/ 17 h 111"/>
                <a:gd name="T4" fmla="*/ 46 w 50"/>
                <a:gd name="T5" fmla="*/ 20 h 111"/>
                <a:gd name="T6" fmla="*/ 46 w 50"/>
                <a:gd name="T7" fmla="*/ 33 h 111"/>
                <a:gd name="T8" fmla="*/ 40 w 50"/>
                <a:gd name="T9" fmla="*/ 47 h 111"/>
                <a:gd name="T10" fmla="*/ 28 w 50"/>
                <a:gd name="T11" fmla="*/ 111 h 111"/>
                <a:gd name="T12" fmla="*/ 4 w 50"/>
                <a:gd name="T13" fmla="*/ 86 h 111"/>
                <a:gd name="T14" fmla="*/ 9 w 50"/>
                <a:gd name="T15" fmla="*/ 63 h 111"/>
                <a:gd name="T16" fmla="*/ 7 w 50"/>
                <a:gd name="T17" fmla="*/ 12 h 111"/>
                <a:gd name="T18" fmla="*/ 9 w 50"/>
                <a:gd name="T19" fmla="*/ 0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0" h="111">
                  <a:moveTo>
                    <a:pt x="9" y="0"/>
                  </a:moveTo>
                  <a:cubicBezTo>
                    <a:pt x="12" y="1"/>
                    <a:pt x="19" y="14"/>
                    <a:pt x="25" y="17"/>
                  </a:cubicBezTo>
                  <a:cubicBezTo>
                    <a:pt x="31" y="20"/>
                    <a:pt x="42" y="17"/>
                    <a:pt x="46" y="20"/>
                  </a:cubicBezTo>
                  <a:cubicBezTo>
                    <a:pt x="50" y="25"/>
                    <a:pt x="49" y="27"/>
                    <a:pt x="46" y="33"/>
                  </a:cubicBezTo>
                  <a:cubicBezTo>
                    <a:pt x="45" y="39"/>
                    <a:pt x="43" y="42"/>
                    <a:pt x="40" y="47"/>
                  </a:cubicBezTo>
                  <a:cubicBezTo>
                    <a:pt x="38" y="68"/>
                    <a:pt x="41" y="93"/>
                    <a:pt x="28" y="111"/>
                  </a:cubicBezTo>
                  <a:cubicBezTo>
                    <a:pt x="3" y="109"/>
                    <a:pt x="16" y="103"/>
                    <a:pt x="4" y="86"/>
                  </a:cubicBezTo>
                  <a:cubicBezTo>
                    <a:pt x="2" y="77"/>
                    <a:pt x="0" y="68"/>
                    <a:pt x="9" y="63"/>
                  </a:cubicBezTo>
                  <a:cubicBezTo>
                    <a:pt x="10" y="41"/>
                    <a:pt x="15" y="31"/>
                    <a:pt x="7" y="12"/>
                  </a:cubicBezTo>
                  <a:cubicBezTo>
                    <a:pt x="8" y="8"/>
                    <a:pt x="9" y="0"/>
                    <a:pt x="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7" name="Freeform 331"/>
            <p:cNvSpPr>
              <a:spLocks/>
            </p:cNvSpPr>
            <p:nvPr/>
          </p:nvSpPr>
          <p:spPr bwMode="gray">
            <a:xfrm>
              <a:off x="7208292" y="4535718"/>
              <a:ext cx="948314" cy="843456"/>
            </a:xfrm>
            <a:custGeom>
              <a:avLst/>
              <a:gdLst/>
              <a:ahLst/>
              <a:cxnLst/>
              <a:rect l="l" t="t" r="r" b="b"/>
              <a:pathLst>
                <a:path w="929381" h="826665">
                  <a:moveTo>
                    <a:pt x="693000" y="752264"/>
                  </a:moveTo>
                  <a:cubicBezTo>
                    <a:pt x="698193" y="754675"/>
                    <a:pt x="703711" y="759498"/>
                    <a:pt x="709229" y="760531"/>
                  </a:cubicBezTo>
                  <a:cubicBezTo>
                    <a:pt x="711826" y="761909"/>
                    <a:pt x="717993" y="762598"/>
                    <a:pt x="717993" y="762598"/>
                  </a:cubicBezTo>
                  <a:cubicBezTo>
                    <a:pt x="721239" y="764320"/>
                    <a:pt x="725459" y="763975"/>
                    <a:pt x="729029" y="764664"/>
                  </a:cubicBezTo>
                  <a:cubicBezTo>
                    <a:pt x="734547" y="767075"/>
                    <a:pt x="739741" y="765353"/>
                    <a:pt x="746233" y="765353"/>
                  </a:cubicBezTo>
                  <a:cubicBezTo>
                    <a:pt x="747856" y="764320"/>
                    <a:pt x="749154" y="763631"/>
                    <a:pt x="751102" y="763287"/>
                  </a:cubicBezTo>
                  <a:cubicBezTo>
                    <a:pt x="753049" y="761564"/>
                    <a:pt x="756295" y="759842"/>
                    <a:pt x="758892" y="759153"/>
                  </a:cubicBezTo>
                  <a:cubicBezTo>
                    <a:pt x="762138" y="757431"/>
                    <a:pt x="766033" y="758120"/>
                    <a:pt x="769603" y="758464"/>
                  </a:cubicBezTo>
                  <a:cubicBezTo>
                    <a:pt x="770577" y="763287"/>
                    <a:pt x="771226" y="768109"/>
                    <a:pt x="768954" y="772931"/>
                  </a:cubicBezTo>
                  <a:cubicBezTo>
                    <a:pt x="768305" y="776720"/>
                    <a:pt x="768305" y="780509"/>
                    <a:pt x="767007" y="783954"/>
                  </a:cubicBezTo>
                  <a:cubicBezTo>
                    <a:pt x="766682" y="786709"/>
                    <a:pt x="765059" y="788776"/>
                    <a:pt x="763111" y="790498"/>
                  </a:cubicBezTo>
                  <a:cubicBezTo>
                    <a:pt x="761813" y="792909"/>
                    <a:pt x="761489" y="795320"/>
                    <a:pt x="760190" y="797731"/>
                  </a:cubicBezTo>
                  <a:cubicBezTo>
                    <a:pt x="759866" y="799798"/>
                    <a:pt x="758892" y="800832"/>
                    <a:pt x="758243" y="802554"/>
                  </a:cubicBezTo>
                  <a:cubicBezTo>
                    <a:pt x="757593" y="805654"/>
                    <a:pt x="758892" y="809443"/>
                    <a:pt x="755321" y="810132"/>
                  </a:cubicBezTo>
                  <a:cubicBezTo>
                    <a:pt x="752238" y="811337"/>
                    <a:pt x="750777" y="810993"/>
                    <a:pt x="745584" y="811854"/>
                  </a:cubicBezTo>
                  <a:lnTo>
                    <a:pt x="740390" y="815987"/>
                  </a:lnTo>
                  <a:cubicBezTo>
                    <a:pt x="739416" y="817021"/>
                    <a:pt x="739416" y="816676"/>
                    <a:pt x="737793" y="818054"/>
                  </a:cubicBezTo>
                  <a:cubicBezTo>
                    <a:pt x="736170" y="819432"/>
                    <a:pt x="735521" y="822187"/>
                    <a:pt x="733574" y="823565"/>
                  </a:cubicBezTo>
                  <a:cubicBezTo>
                    <a:pt x="732600" y="825632"/>
                    <a:pt x="732275" y="826321"/>
                    <a:pt x="730003" y="826665"/>
                  </a:cubicBezTo>
                  <a:cubicBezTo>
                    <a:pt x="719292" y="826321"/>
                    <a:pt x="720915" y="826665"/>
                    <a:pt x="714423" y="822532"/>
                  </a:cubicBezTo>
                  <a:cubicBezTo>
                    <a:pt x="712800" y="820121"/>
                    <a:pt x="711826" y="818743"/>
                    <a:pt x="709554" y="817365"/>
                  </a:cubicBezTo>
                  <a:cubicBezTo>
                    <a:pt x="707931" y="814954"/>
                    <a:pt x="707606" y="813576"/>
                    <a:pt x="704685" y="812887"/>
                  </a:cubicBezTo>
                  <a:cubicBezTo>
                    <a:pt x="702088" y="810821"/>
                    <a:pt x="699167" y="806343"/>
                    <a:pt x="697869" y="802898"/>
                  </a:cubicBezTo>
                  <a:cubicBezTo>
                    <a:pt x="697544" y="799454"/>
                    <a:pt x="696570" y="794976"/>
                    <a:pt x="700465" y="794287"/>
                  </a:cubicBezTo>
                  <a:cubicBezTo>
                    <a:pt x="702413" y="793254"/>
                    <a:pt x="701764" y="792220"/>
                    <a:pt x="700790" y="790154"/>
                  </a:cubicBezTo>
                  <a:cubicBezTo>
                    <a:pt x="700465" y="787742"/>
                    <a:pt x="699167" y="785676"/>
                    <a:pt x="697544" y="783954"/>
                  </a:cubicBezTo>
                  <a:cubicBezTo>
                    <a:pt x="696570" y="781542"/>
                    <a:pt x="695272" y="779820"/>
                    <a:pt x="693974" y="777753"/>
                  </a:cubicBezTo>
                  <a:cubicBezTo>
                    <a:pt x="693649" y="775342"/>
                    <a:pt x="693000" y="774998"/>
                    <a:pt x="691052" y="773964"/>
                  </a:cubicBezTo>
                  <a:cubicBezTo>
                    <a:pt x="690728" y="771553"/>
                    <a:pt x="690403" y="770864"/>
                    <a:pt x="688780" y="769487"/>
                  </a:cubicBezTo>
                  <a:cubicBezTo>
                    <a:pt x="687806" y="767075"/>
                    <a:pt x="687482" y="764664"/>
                    <a:pt x="687157" y="762253"/>
                  </a:cubicBezTo>
                  <a:cubicBezTo>
                    <a:pt x="687806" y="758464"/>
                    <a:pt x="687157" y="756053"/>
                    <a:pt x="689754" y="753986"/>
                  </a:cubicBezTo>
                  <a:cubicBezTo>
                    <a:pt x="691052" y="751575"/>
                    <a:pt x="690079" y="752264"/>
                    <a:pt x="693000" y="752264"/>
                  </a:cubicBezTo>
                  <a:close/>
                  <a:moveTo>
                    <a:pt x="0" y="395067"/>
                  </a:moveTo>
                  <a:cubicBezTo>
                    <a:pt x="1288" y="397374"/>
                    <a:pt x="2497" y="399746"/>
                    <a:pt x="3037" y="402446"/>
                  </a:cubicBezTo>
                  <a:cubicBezTo>
                    <a:pt x="891" y="400845"/>
                    <a:pt x="184" y="395849"/>
                    <a:pt x="0" y="395067"/>
                  </a:cubicBezTo>
                  <a:close/>
                  <a:moveTo>
                    <a:pt x="681395" y="757"/>
                  </a:moveTo>
                  <a:cubicBezTo>
                    <a:pt x="682613" y="-1224"/>
                    <a:pt x="686183" y="671"/>
                    <a:pt x="694623" y="6526"/>
                  </a:cubicBezTo>
                  <a:cubicBezTo>
                    <a:pt x="698193" y="12382"/>
                    <a:pt x="697869" y="15826"/>
                    <a:pt x="704036" y="18237"/>
                  </a:cubicBezTo>
                  <a:cubicBezTo>
                    <a:pt x="705984" y="38216"/>
                    <a:pt x="704036" y="29604"/>
                    <a:pt x="708905" y="44760"/>
                  </a:cubicBezTo>
                  <a:cubicBezTo>
                    <a:pt x="710528" y="49582"/>
                    <a:pt x="713449" y="59572"/>
                    <a:pt x="713449" y="59572"/>
                  </a:cubicBezTo>
                  <a:cubicBezTo>
                    <a:pt x="715072" y="70938"/>
                    <a:pt x="713774" y="91606"/>
                    <a:pt x="725784" y="96083"/>
                  </a:cubicBezTo>
                  <a:cubicBezTo>
                    <a:pt x="736820" y="91950"/>
                    <a:pt x="731951" y="88161"/>
                    <a:pt x="740065" y="90917"/>
                  </a:cubicBezTo>
                  <a:cubicBezTo>
                    <a:pt x="743636" y="97117"/>
                    <a:pt x="747206" y="96428"/>
                    <a:pt x="750777" y="102628"/>
                  </a:cubicBezTo>
                  <a:cubicBezTo>
                    <a:pt x="751426" y="108484"/>
                    <a:pt x="751426" y="114684"/>
                    <a:pt x="752400" y="120539"/>
                  </a:cubicBezTo>
                  <a:cubicBezTo>
                    <a:pt x="753049" y="123984"/>
                    <a:pt x="755646" y="130529"/>
                    <a:pt x="755646" y="130529"/>
                  </a:cubicBezTo>
                  <a:cubicBezTo>
                    <a:pt x="756295" y="136384"/>
                    <a:pt x="758892" y="146718"/>
                    <a:pt x="760839" y="152573"/>
                  </a:cubicBezTo>
                  <a:cubicBezTo>
                    <a:pt x="762787" y="158429"/>
                    <a:pt x="766357" y="162907"/>
                    <a:pt x="767980" y="167040"/>
                  </a:cubicBezTo>
                  <a:cubicBezTo>
                    <a:pt x="768954" y="170485"/>
                    <a:pt x="771226" y="173585"/>
                    <a:pt x="771226" y="177029"/>
                  </a:cubicBezTo>
                  <a:cubicBezTo>
                    <a:pt x="771551" y="187363"/>
                    <a:pt x="770577" y="198041"/>
                    <a:pt x="772524" y="208374"/>
                  </a:cubicBezTo>
                  <a:cubicBezTo>
                    <a:pt x="772849" y="210441"/>
                    <a:pt x="775770" y="210441"/>
                    <a:pt x="777393" y="211475"/>
                  </a:cubicBezTo>
                  <a:cubicBezTo>
                    <a:pt x="784859" y="216641"/>
                    <a:pt x="792649" y="218708"/>
                    <a:pt x="800764" y="221464"/>
                  </a:cubicBezTo>
                  <a:cubicBezTo>
                    <a:pt x="803685" y="223875"/>
                    <a:pt x="807580" y="225253"/>
                    <a:pt x="810177" y="228008"/>
                  </a:cubicBezTo>
                  <a:lnTo>
                    <a:pt x="813098" y="233132"/>
                  </a:lnTo>
                  <a:cubicBezTo>
                    <a:pt x="812855" y="233433"/>
                    <a:pt x="812936" y="233175"/>
                    <a:pt x="817967" y="234897"/>
                  </a:cubicBezTo>
                  <a:cubicBezTo>
                    <a:pt x="821538" y="240753"/>
                    <a:pt x="824134" y="242820"/>
                    <a:pt x="830302" y="244542"/>
                  </a:cubicBezTo>
                  <a:cubicBezTo>
                    <a:pt x="837118" y="249709"/>
                    <a:pt x="834521" y="251431"/>
                    <a:pt x="830302" y="257975"/>
                  </a:cubicBezTo>
                  <a:cubicBezTo>
                    <a:pt x="834846" y="262798"/>
                    <a:pt x="837442" y="267620"/>
                    <a:pt x="842636" y="271065"/>
                  </a:cubicBezTo>
                  <a:cubicBezTo>
                    <a:pt x="843610" y="282087"/>
                    <a:pt x="840364" y="293798"/>
                    <a:pt x="850426" y="297587"/>
                  </a:cubicBezTo>
                  <a:cubicBezTo>
                    <a:pt x="859190" y="294487"/>
                    <a:pt x="862761" y="299999"/>
                    <a:pt x="870875" y="302410"/>
                  </a:cubicBezTo>
                  <a:cubicBezTo>
                    <a:pt x="875744" y="305165"/>
                    <a:pt x="869901" y="315499"/>
                    <a:pt x="876718" y="325488"/>
                  </a:cubicBezTo>
                  <a:cubicBezTo>
                    <a:pt x="883534" y="335477"/>
                    <a:pt x="904957" y="354422"/>
                    <a:pt x="911449" y="362000"/>
                  </a:cubicBezTo>
                  <a:cubicBezTo>
                    <a:pt x="917616" y="369233"/>
                    <a:pt x="912423" y="360966"/>
                    <a:pt x="915020" y="370955"/>
                  </a:cubicBezTo>
                  <a:cubicBezTo>
                    <a:pt x="917941" y="370267"/>
                    <a:pt x="928328" y="356488"/>
                    <a:pt x="929301" y="358211"/>
                  </a:cubicBezTo>
                  <a:cubicBezTo>
                    <a:pt x="930275" y="359933"/>
                    <a:pt x="922160" y="371300"/>
                    <a:pt x="920538" y="381289"/>
                  </a:cubicBezTo>
                  <a:cubicBezTo>
                    <a:pt x="918915" y="391278"/>
                    <a:pt x="918590" y="406089"/>
                    <a:pt x="919564" y="417456"/>
                  </a:cubicBezTo>
                  <a:cubicBezTo>
                    <a:pt x="920538" y="428823"/>
                    <a:pt x="926380" y="437090"/>
                    <a:pt x="925406" y="450179"/>
                  </a:cubicBezTo>
                  <a:cubicBezTo>
                    <a:pt x="924108" y="463268"/>
                    <a:pt x="914046" y="483247"/>
                    <a:pt x="912747" y="495991"/>
                  </a:cubicBezTo>
                  <a:cubicBezTo>
                    <a:pt x="908528" y="509425"/>
                    <a:pt x="903983" y="523547"/>
                    <a:pt x="900413" y="530781"/>
                  </a:cubicBezTo>
                  <a:cubicBezTo>
                    <a:pt x="897816" y="534225"/>
                    <a:pt x="893921" y="535948"/>
                    <a:pt x="891000" y="539048"/>
                  </a:cubicBezTo>
                  <a:cubicBezTo>
                    <a:pt x="888728" y="545592"/>
                    <a:pt x="890675" y="551103"/>
                    <a:pt x="884833" y="553515"/>
                  </a:cubicBezTo>
                  <a:cubicBezTo>
                    <a:pt x="880613" y="560059"/>
                    <a:pt x="871849" y="562126"/>
                    <a:pt x="867629" y="568670"/>
                  </a:cubicBezTo>
                  <a:cubicBezTo>
                    <a:pt x="865357" y="576248"/>
                    <a:pt x="863734" y="576248"/>
                    <a:pt x="857242" y="578660"/>
                  </a:cubicBezTo>
                  <a:cubicBezTo>
                    <a:pt x="854321" y="582104"/>
                    <a:pt x="854970" y="587271"/>
                    <a:pt x="852698" y="592093"/>
                  </a:cubicBezTo>
                  <a:cubicBezTo>
                    <a:pt x="850426" y="596915"/>
                    <a:pt x="847505" y="601738"/>
                    <a:pt x="844259" y="606905"/>
                  </a:cubicBezTo>
                  <a:cubicBezTo>
                    <a:pt x="841987" y="614138"/>
                    <a:pt x="841013" y="620683"/>
                    <a:pt x="833547" y="623438"/>
                  </a:cubicBezTo>
                  <a:cubicBezTo>
                    <a:pt x="830626" y="627572"/>
                    <a:pt x="828354" y="623094"/>
                    <a:pt x="825757" y="631705"/>
                  </a:cubicBezTo>
                  <a:cubicBezTo>
                    <a:pt x="823810" y="639627"/>
                    <a:pt x="823161" y="667528"/>
                    <a:pt x="817967" y="676139"/>
                  </a:cubicBezTo>
                  <a:cubicBezTo>
                    <a:pt x="816020" y="684062"/>
                    <a:pt x="798167" y="683717"/>
                    <a:pt x="794597" y="684406"/>
                  </a:cubicBezTo>
                  <a:cubicBezTo>
                    <a:pt x="787131" y="686817"/>
                    <a:pt x="777069" y="684062"/>
                    <a:pt x="769603" y="686817"/>
                  </a:cubicBezTo>
                  <a:cubicBezTo>
                    <a:pt x="762138" y="689573"/>
                    <a:pt x="755321" y="697151"/>
                    <a:pt x="749154" y="700940"/>
                  </a:cubicBezTo>
                  <a:cubicBezTo>
                    <a:pt x="741688" y="706451"/>
                    <a:pt x="742662" y="707140"/>
                    <a:pt x="732924" y="710584"/>
                  </a:cubicBezTo>
                  <a:cubicBezTo>
                    <a:pt x="727731" y="710929"/>
                    <a:pt x="722862" y="706106"/>
                    <a:pt x="717993" y="702662"/>
                  </a:cubicBezTo>
                  <a:lnTo>
                    <a:pt x="710406" y="693921"/>
                  </a:lnTo>
                  <a:cubicBezTo>
                    <a:pt x="709310" y="692759"/>
                    <a:pt x="708418" y="692328"/>
                    <a:pt x="704036" y="689573"/>
                  </a:cubicBezTo>
                  <a:cubicBezTo>
                    <a:pt x="698031" y="691360"/>
                    <a:pt x="704360" y="689487"/>
                    <a:pt x="694623" y="694395"/>
                  </a:cubicBezTo>
                  <a:cubicBezTo>
                    <a:pt x="688131" y="697495"/>
                    <a:pt x="672550" y="706795"/>
                    <a:pt x="665085" y="707484"/>
                  </a:cubicBezTo>
                  <a:cubicBezTo>
                    <a:pt x="655347" y="705418"/>
                    <a:pt x="660540" y="707484"/>
                    <a:pt x="649504" y="699217"/>
                  </a:cubicBezTo>
                  <a:cubicBezTo>
                    <a:pt x="639442" y="696117"/>
                    <a:pt x="646583" y="697840"/>
                    <a:pt x="627757" y="696117"/>
                  </a:cubicBezTo>
                  <a:cubicBezTo>
                    <a:pt x="621914" y="691640"/>
                    <a:pt x="615747" y="690262"/>
                    <a:pt x="608931" y="687851"/>
                  </a:cubicBezTo>
                  <a:cubicBezTo>
                    <a:pt x="602439" y="683028"/>
                    <a:pt x="600816" y="675106"/>
                    <a:pt x="593350" y="673039"/>
                  </a:cubicBezTo>
                  <a:lnTo>
                    <a:pt x="590683" y="668637"/>
                  </a:lnTo>
                  <a:cubicBezTo>
                    <a:pt x="589496" y="666602"/>
                    <a:pt x="592052" y="669509"/>
                    <a:pt x="592052" y="657883"/>
                  </a:cubicBezTo>
                  <a:cubicBezTo>
                    <a:pt x="592052" y="646516"/>
                    <a:pt x="582963" y="633772"/>
                    <a:pt x="573226" y="629983"/>
                  </a:cubicBezTo>
                  <a:cubicBezTo>
                    <a:pt x="572252" y="628260"/>
                    <a:pt x="571927" y="625505"/>
                    <a:pt x="569980" y="624816"/>
                  </a:cubicBezTo>
                  <a:cubicBezTo>
                    <a:pt x="566085" y="623094"/>
                    <a:pt x="561216" y="630672"/>
                    <a:pt x="557645" y="628260"/>
                  </a:cubicBezTo>
                  <a:cubicBezTo>
                    <a:pt x="555049" y="626538"/>
                    <a:pt x="561865" y="617583"/>
                    <a:pt x="565436" y="615171"/>
                  </a:cubicBezTo>
                  <a:cubicBezTo>
                    <a:pt x="564137" y="606905"/>
                    <a:pt x="561865" y="602771"/>
                    <a:pt x="559268" y="595193"/>
                  </a:cubicBezTo>
                  <a:cubicBezTo>
                    <a:pt x="558295" y="596915"/>
                    <a:pt x="557321" y="598638"/>
                    <a:pt x="556022" y="600015"/>
                  </a:cubicBezTo>
                  <a:cubicBezTo>
                    <a:pt x="554724" y="601049"/>
                    <a:pt x="552452" y="600360"/>
                    <a:pt x="551478" y="601738"/>
                  </a:cubicBezTo>
                  <a:cubicBezTo>
                    <a:pt x="544013" y="610005"/>
                    <a:pt x="556347" y="604838"/>
                    <a:pt x="545311" y="608282"/>
                  </a:cubicBezTo>
                  <a:lnTo>
                    <a:pt x="543688" y="616549"/>
                  </a:lnTo>
                  <a:lnTo>
                    <a:pt x="532693" y="617927"/>
                  </a:lnTo>
                  <a:cubicBezTo>
                    <a:pt x="530948" y="616377"/>
                    <a:pt x="530542" y="613277"/>
                    <a:pt x="529731" y="610005"/>
                  </a:cubicBezTo>
                  <a:cubicBezTo>
                    <a:pt x="534275" y="608282"/>
                    <a:pt x="541091" y="611382"/>
                    <a:pt x="543688" y="606905"/>
                  </a:cubicBezTo>
                  <a:cubicBezTo>
                    <a:pt x="546934" y="603804"/>
                    <a:pt x="543039" y="599327"/>
                    <a:pt x="545636" y="591749"/>
                  </a:cubicBezTo>
                  <a:cubicBezTo>
                    <a:pt x="547259" y="586582"/>
                    <a:pt x="552127" y="581071"/>
                    <a:pt x="554400" y="576248"/>
                  </a:cubicBezTo>
                  <a:lnTo>
                    <a:pt x="559268" y="562126"/>
                  </a:lnTo>
                  <a:lnTo>
                    <a:pt x="556469" y="552352"/>
                  </a:lnTo>
                  <a:cubicBezTo>
                    <a:pt x="555860" y="551706"/>
                    <a:pt x="554887" y="553515"/>
                    <a:pt x="551478" y="557304"/>
                  </a:cubicBezTo>
                  <a:lnTo>
                    <a:pt x="548800" y="566044"/>
                  </a:lnTo>
                  <a:cubicBezTo>
                    <a:pt x="548232" y="567206"/>
                    <a:pt x="547259" y="567637"/>
                    <a:pt x="543688" y="570393"/>
                  </a:cubicBezTo>
                  <a:cubicBezTo>
                    <a:pt x="541091" y="577626"/>
                    <a:pt x="538495" y="576937"/>
                    <a:pt x="532652" y="580382"/>
                  </a:cubicBezTo>
                  <a:cubicBezTo>
                    <a:pt x="529406" y="582448"/>
                    <a:pt x="523239" y="586926"/>
                    <a:pt x="523239" y="586926"/>
                  </a:cubicBezTo>
                  <a:cubicBezTo>
                    <a:pt x="516422" y="597604"/>
                    <a:pt x="518045" y="596915"/>
                    <a:pt x="507659" y="600015"/>
                  </a:cubicBezTo>
                  <a:cubicBezTo>
                    <a:pt x="503114" y="608282"/>
                    <a:pt x="500193" y="608627"/>
                    <a:pt x="493701" y="601738"/>
                  </a:cubicBezTo>
                  <a:cubicBezTo>
                    <a:pt x="490780" y="587615"/>
                    <a:pt x="490780" y="572115"/>
                    <a:pt x="476498" y="566948"/>
                  </a:cubicBezTo>
                  <a:cubicBezTo>
                    <a:pt x="471304" y="561437"/>
                    <a:pt x="468059" y="559715"/>
                    <a:pt x="470331" y="552137"/>
                  </a:cubicBezTo>
                  <a:cubicBezTo>
                    <a:pt x="466760" y="541803"/>
                    <a:pt x="470655" y="548348"/>
                    <a:pt x="453127" y="545592"/>
                  </a:cubicBezTo>
                  <a:cubicBezTo>
                    <a:pt x="447934" y="543870"/>
                    <a:pt x="445013" y="538703"/>
                    <a:pt x="439819" y="537325"/>
                  </a:cubicBezTo>
                  <a:cubicBezTo>
                    <a:pt x="434626" y="535948"/>
                    <a:pt x="426836" y="539392"/>
                    <a:pt x="421967" y="537325"/>
                  </a:cubicBezTo>
                  <a:cubicBezTo>
                    <a:pt x="419045" y="532503"/>
                    <a:pt x="409632" y="525614"/>
                    <a:pt x="409632" y="525614"/>
                  </a:cubicBezTo>
                  <a:cubicBezTo>
                    <a:pt x="390482" y="526303"/>
                    <a:pt x="369708" y="521136"/>
                    <a:pt x="351855" y="529059"/>
                  </a:cubicBezTo>
                  <a:cubicBezTo>
                    <a:pt x="348609" y="530436"/>
                    <a:pt x="346337" y="534225"/>
                    <a:pt x="342767" y="535603"/>
                  </a:cubicBezTo>
                  <a:cubicBezTo>
                    <a:pt x="339521" y="536636"/>
                    <a:pt x="336600" y="538014"/>
                    <a:pt x="333354" y="539048"/>
                  </a:cubicBezTo>
                  <a:cubicBezTo>
                    <a:pt x="320046" y="543870"/>
                    <a:pt x="291157" y="545592"/>
                    <a:pt x="291157" y="545592"/>
                  </a:cubicBezTo>
                  <a:cubicBezTo>
                    <a:pt x="283367" y="548348"/>
                    <a:pt x="273954" y="550415"/>
                    <a:pt x="267462" y="555926"/>
                  </a:cubicBezTo>
                  <a:cubicBezTo>
                    <a:pt x="259347" y="560059"/>
                    <a:pt x="249934" y="558337"/>
                    <a:pt x="243767" y="563159"/>
                  </a:cubicBezTo>
                  <a:cubicBezTo>
                    <a:pt x="242469" y="565226"/>
                    <a:pt x="234029" y="583137"/>
                    <a:pt x="230459" y="585204"/>
                  </a:cubicBezTo>
                  <a:cubicBezTo>
                    <a:pt x="214878" y="588993"/>
                    <a:pt x="167813" y="583137"/>
                    <a:pt x="149311" y="585204"/>
                  </a:cubicBezTo>
                  <a:cubicBezTo>
                    <a:pt x="132757" y="585893"/>
                    <a:pt x="136003" y="596227"/>
                    <a:pt x="131134" y="598293"/>
                  </a:cubicBezTo>
                  <a:cubicBezTo>
                    <a:pt x="126265" y="600360"/>
                    <a:pt x="124967" y="596227"/>
                    <a:pt x="119773" y="598638"/>
                  </a:cubicBezTo>
                  <a:cubicBezTo>
                    <a:pt x="114255" y="599671"/>
                    <a:pt x="109062" y="611038"/>
                    <a:pt x="99649" y="613449"/>
                  </a:cubicBezTo>
                  <a:cubicBezTo>
                    <a:pt x="90236" y="615860"/>
                    <a:pt x="72059" y="614827"/>
                    <a:pt x="63619" y="613449"/>
                  </a:cubicBezTo>
                  <a:cubicBezTo>
                    <a:pt x="53233" y="605871"/>
                    <a:pt x="58101" y="608282"/>
                    <a:pt x="49662" y="605182"/>
                  </a:cubicBezTo>
                  <a:cubicBezTo>
                    <a:pt x="45442" y="597604"/>
                    <a:pt x="42521" y="596915"/>
                    <a:pt x="34082" y="595193"/>
                  </a:cubicBezTo>
                  <a:cubicBezTo>
                    <a:pt x="33108" y="592093"/>
                    <a:pt x="28564" y="583482"/>
                    <a:pt x="32459" y="580382"/>
                  </a:cubicBezTo>
                  <a:cubicBezTo>
                    <a:pt x="36678" y="577282"/>
                    <a:pt x="42196" y="576593"/>
                    <a:pt x="46741" y="573837"/>
                  </a:cubicBezTo>
                  <a:lnTo>
                    <a:pt x="51285" y="563848"/>
                  </a:lnTo>
                  <a:cubicBezTo>
                    <a:pt x="50960" y="560404"/>
                    <a:pt x="48039" y="553859"/>
                    <a:pt x="48039" y="553859"/>
                  </a:cubicBezTo>
                  <a:cubicBezTo>
                    <a:pt x="50960" y="545592"/>
                    <a:pt x="52583" y="537325"/>
                    <a:pt x="49662" y="529059"/>
                  </a:cubicBezTo>
                  <a:cubicBezTo>
                    <a:pt x="47390" y="522514"/>
                    <a:pt x="45118" y="519069"/>
                    <a:pt x="40249" y="514247"/>
                  </a:cubicBezTo>
                  <a:cubicBezTo>
                    <a:pt x="39275" y="510803"/>
                    <a:pt x="36678" y="507703"/>
                    <a:pt x="35705" y="504258"/>
                  </a:cubicBezTo>
                  <a:cubicBezTo>
                    <a:pt x="32783" y="491169"/>
                    <a:pt x="35055" y="477391"/>
                    <a:pt x="31160" y="464646"/>
                  </a:cubicBezTo>
                  <a:cubicBezTo>
                    <a:pt x="28888" y="456724"/>
                    <a:pt x="22721" y="452246"/>
                    <a:pt x="20124" y="444668"/>
                  </a:cubicBezTo>
                  <a:cubicBezTo>
                    <a:pt x="17852" y="437435"/>
                    <a:pt x="16554" y="431234"/>
                    <a:pt x="12334" y="425034"/>
                  </a:cubicBezTo>
                  <a:lnTo>
                    <a:pt x="3037" y="402446"/>
                  </a:lnTo>
                  <a:cubicBezTo>
                    <a:pt x="4102" y="404212"/>
                    <a:pt x="6140" y="403876"/>
                    <a:pt x="9088" y="398512"/>
                  </a:cubicBezTo>
                  <a:cubicBezTo>
                    <a:pt x="10711" y="395756"/>
                    <a:pt x="8115" y="391967"/>
                    <a:pt x="7790" y="388522"/>
                  </a:cubicBezTo>
                  <a:cubicBezTo>
                    <a:pt x="11584" y="383571"/>
                    <a:pt x="12497" y="393000"/>
                    <a:pt x="13957" y="395067"/>
                  </a:cubicBezTo>
                  <a:cubicBezTo>
                    <a:pt x="14931" y="396445"/>
                    <a:pt x="16878" y="396100"/>
                    <a:pt x="18501" y="396789"/>
                  </a:cubicBezTo>
                  <a:cubicBezTo>
                    <a:pt x="28888" y="393000"/>
                    <a:pt x="23370" y="382667"/>
                    <a:pt x="18501" y="375433"/>
                  </a:cubicBezTo>
                  <a:cubicBezTo>
                    <a:pt x="16229" y="368544"/>
                    <a:pt x="13308" y="369233"/>
                    <a:pt x="7790" y="365444"/>
                  </a:cubicBezTo>
                  <a:cubicBezTo>
                    <a:pt x="7141" y="363722"/>
                    <a:pt x="6492" y="362000"/>
                    <a:pt x="6167" y="360277"/>
                  </a:cubicBezTo>
                  <a:cubicBezTo>
                    <a:pt x="5518" y="358211"/>
                    <a:pt x="5193" y="355800"/>
                    <a:pt x="4544" y="353733"/>
                  </a:cubicBezTo>
                  <a:cubicBezTo>
                    <a:pt x="3570" y="350288"/>
                    <a:pt x="1298" y="343744"/>
                    <a:pt x="1298" y="343744"/>
                  </a:cubicBezTo>
                  <a:cubicBezTo>
                    <a:pt x="2596" y="333066"/>
                    <a:pt x="5842" y="329277"/>
                    <a:pt x="11036" y="321010"/>
                  </a:cubicBezTo>
                  <a:cubicBezTo>
                    <a:pt x="13957" y="309988"/>
                    <a:pt x="8764" y="285187"/>
                    <a:pt x="20124" y="281054"/>
                  </a:cubicBezTo>
                  <a:cubicBezTo>
                    <a:pt x="17528" y="289665"/>
                    <a:pt x="12334" y="297243"/>
                    <a:pt x="23370" y="301032"/>
                  </a:cubicBezTo>
                  <a:cubicBezTo>
                    <a:pt x="29537" y="290009"/>
                    <a:pt x="33757" y="284154"/>
                    <a:pt x="44469" y="276576"/>
                  </a:cubicBezTo>
                  <a:cubicBezTo>
                    <a:pt x="49662" y="271065"/>
                    <a:pt x="51285" y="270376"/>
                    <a:pt x="54531" y="267965"/>
                  </a:cubicBezTo>
                  <a:cubicBezTo>
                    <a:pt x="57777" y="265898"/>
                    <a:pt x="63619" y="261076"/>
                    <a:pt x="63619" y="261076"/>
                  </a:cubicBezTo>
                  <a:cubicBezTo>
                    <a:pt x="65892" y="254531"/>
                    <a:pt x="70436" y="255564"/>
                    <a:pt x="76603" y="253842"/>
                  </a:cubicBezTo>
                  <a:cubicBezTo>
                    <a:pt x="83744" y="248331"/>
                    <a:pt x="88288" y="248331"/>
                    <a:pt x="96403" y="251431"/>
                  </a:cubicBezTo>
                  <a:cubicBezTo>
                    <a:pt x="99973" y="250742"/>
                    <a:pt x="103869" y="250742"/>
                    <a:pt x="107439" y="249709"/>
                  </a:cubicBezTo>
                  <a:cubicBezTo>
                    <a:pt x="109062" y="249020"/>
                    <a:pt x="110685" y="247642"/>
                    <a:pt x="111983" y="246264"/>
                  </a:cubicBezTo>
                  <a:cubicBezTo>
                    <a:pt x="113282" y="244886"/>
                    <a:pt x="113606" y="242131"/>
                    <a:pt x="115229" y="241442"/>
                  </a:cubicBezTo>
                  <a:cubicBezTo>
                    <a:pt x="120098" y="239720"/>
                    <a:pt x="125616" y="240408"/>
                    <a:pt x="130810" y="239720"/>
                  </a:cubicBezTo>
                  <a:cubicBezTo>
                    <a:pt x="136003" y="238342"/>
                    <a:pt x="140223" y="236275"/>
                    <a:pt x="146714" y="235242"/>
                  </a:cubicBezTo>
                  <a:cubicBezTo>
                    <a:pt x="153206" y="234208"/>
                    <a:pt x="163269" y="235242"/>
                    <a:pt x="169760" y="233175"/>
                  </a:cubicBezTo>
                  <a:cubicBezTo>
                    <a:pt x="178849" y="230419"/>
                    <a:pt x="181121" y="226975"/>
                    <a:pt x="185341" y="223186"/>
                  </a:cubicBezTo>
                  <a:cubicBezTo>
                    <a:pt x="190534" y="219397"/>
                    <a:pt x="192482" y="216297"/>
                    <a:pt x="194754" y="210097"/>
                  </a:cubicBezTo>
                  <a:cubicBezTo>
                    <a:pt x="198324" y="206308"/>
                    <a:pt x="198973" y="198730"/>
                    <a:pt x="202219" y="195285"/>
                  </a:cubicBezTo>
                  <a:cubicBezTo>
                    <a:pt x="205465" y="191841"/>
                    <a:pt x="213580" y="194596"/>
                    <a:pt x="214878" y="190119"/>
                  </a:cubicBezTo>
                  <a:cubicBezTo>
                    <a:pt x="216501" y="186330"/>
                    <a:pt x="209360" y="172896"/>
                    <a:pt x="210659" y="167385"/>
                  </a:cubicBezTo>
                  <a:cubicBezTo>
                    <a:pt x="211957" y="161874"/>
                    <a:pt x="218773" y="158429"/>
                    <a:pt x="222669" y="157051"/>
                  </a:cubicBezTo>
                  <a:lnTo>
                    <a:pt x="228389" y="147751"/>
                  </a:lnTo>
                  <a:cubicBezTo>
                    <a:pt x="230378" y="148354"/>
                    <a:pt x="232406" y="152229"/>
                    <a:pt x="234354" y="158085"/>
                  </a:cubicBezTo>
                  <a:cubicBezTo>
                    <a:pt x="235977" y="162907"/>
                    <a:pt x="240521" y="170485"/>
                    <a:pt x="242144" y="175307"/>
                  </a:cubicBezTo>
                  <a:cubicBezTo>
                    <a:pt x="244741" y="177718"/>
                    <a:pt x="244741" y="173240"/>
                    <a:pt x="246039" y="171174"/>
                  </a:cubicBezTo>
                  <a:cubicBezTo>
                    <a:pt x="247337" y="169107"/>
                    <a:pt x="249934" y="167040"/>
                    <a:pt x="249285" y="163596"/>
                  </a:cubicBezTo>
                  <a:cubicBezTo>
                    <a:pt x="254478" y="154985"/>
                    <a:pt x="249609" y="154985"/>
                    <a:pt x="242793" y="150507"/>
                  </a:cubicBezTo>
                  <a:lnTo>
                    <a:pt x="244391" y="143935"/>
                  </a:lnTo>
                  <a:cubicBezTo>
                    <a:pt x="245471" y="141142"/>
                    <a:pt x="246688" y="147407"/>
                    <a:pt x="263242" y="142240"/>
                  </a:cubicBezTo>
                  <a:cubicBezTo>
                    <a:pt x="268111" y="140862"/>
                    <a:pt x="269409" y="127428"/>
                    <a:pt x="269409" y="127428"/>
                  </a:cubicBezTo>
                  <a:lnTo>
                    <a:pt x="266164" y="122262"/>
                  </a:lnTo>
                  <a:cubicBezTo>
                    <a:pt x="267787" y="119851"/>
                    <a:pt x="271357" y="121573"/>
                    <a:pt x="273954" y="120539"/>
                  </a:cubicBezTo>
                  <a:cubicBezTo>
                    <a:pt x="275577" y="119851"/>
                    <a:pt x="277200" y="118473"/>
                    <a:pt x="278823" y="117439"/>
                  </a:cubicBezTo>
                  <a:cubicBezTo>
                    <a:pt x="280121" y="116750"/>
                    <a:pt x="281744" y="116406"/>
                    <a:pt x="283367" y="115717"/>
                  </a:cubicBezTo>
                  <a:cubicBezTo>
                    <a:pt x="284665" y="111584"/>
                    <a:pt x="284341" y="106417"/>
                    <a:pt x="286613" y="102628"/>
                  </a:cubicBezTo>
                  <a:cubicBezTo>
                    <a:pt x="288560" y="99528"/>
                    <a:pt x="293105" y="99528"/>
                    <a:pt x="296026" y="97461"/>
                  </a:cubicBezTo>
                  <a:cubicBezTo>
                    <a:pt x="298298" y="88850"/>
                    <a:pt x="304465" y="88505"/>
                    <a:pt x="311606" y="86094"/>
                  </a:cubicBezTo>
                  <a:cubicBezTo>
                    <a:pt x="314528" y="85061"/>
                    <a:pt x="320695" y="82650"/>
                    <a:pt x="320695" y="82650"/>
                  </a:cubicBezTo>
                  <a:cubicBezTo>
                    <a:pt x="325564" y="75416"/>
                    <a:pt x="324265" y="79894"/>
                    <a:pt x="331406" y="82650"/>
                  </a:cubicBezTo>
                  <a:cubicBezTo>
                    <a:pt x="339196" y="94361"/>
                    <a:pt x="351531" y="101250"/>
                    <a:pt x="364514" y="105728"/>
                  </a:cubicBezTo>
                  <a:cubicBezTo>
                    <a:pt x="372305" y="109517"/>
                    <a:pt x="381068" y="108828"/>
                    <a:pt x="384314" y="106072"/>
                  </a:cubicBezTo>
                  <a:cubicBezTo>
                    <a:pt x="387236" y="104350"/>
                    <a:pt x="382042" y="97806"/>
                    <a:pt x="382042" y="95050"/>
                  </a:cubicBezTo>
                  <a:cubicBezTo>
                    <a:pt x="382042" y="92294"/>
                    <a:pt x="383341" y="90917"/>
                    <a:pt x="384639" y="89194"/>
                  </a:cubicBezTo>
                  <a:cubicBezTo>
                    <a:pt x="385937" y="85750"/>
                    <a:pt x="385937" y="87472"/>
                    <a:pt x="389183" y="84372"/>
                  </a:cubicBezTo>
                  <a:lnTo>
                    <a:pt x="393727" y="73350"/>
                  </a:lnTo>
                  <a:cubicBezTo>
                    <a:pt x="396000" y="71283"/>
                    <a:pt x="401518" y="73350"/>
                    <a:pt x="403465" y="70938"/>
                  </a:cubicBezTo>
                  <a:lnTo>
                    <a:pt x="398840" y="61035"/>
                  </a:lnTo>
                  <a:cubicBezTo>
                    <a:pt x="398272" y="59658"/>
                    <a:pt x="399732" y="59399"/>
                    <a:pt x="406386" y="57849"/>
                  </a:cubicBezTo>
                  <a:cubicBezTo>
                    <a:pt x="409632" y="52683"/>
                    <a:pt x="415800" y="44760"/>
                    <a:pt x="420668" y="43038"/>
                  </a:cubicBezTo>
                  <a:cubicBezTo>
                    <a:pt x="422941" y="39249"/>
                    <a:pt x="422616" y="37182"/>
                    <a:pt x="427809" y="37871"/>
                  </a:cubicBezTo>
                  <a:lnTo>
                    <a:pt x="435600" y="42005"/>
                  </a:lnTo>
                  <a:cubicBezTo>
                    <a:pt x="442416" y="41316"/>
                    <a:pt x="453777" y="41316"/>
                    <a:pt x="459619" y="37871"/>
                  </a:cubicBezTo>
                  <a:cubicBezTo>
                    <a:pt x="462216" y="36149"/>
                    <a:pt x="460268" y="30638"/>
                    <a:pt x="457996" y="28227"/>
                  </a:cubicBezTo>
                  <a:cubicBezTo>
                    <a:pt x="455724" y="25815"/>
                    <a:pt x="451829" y="27193"/>
                    <a:pt x="448583" y="26504"/>
                  </a:cubicBezTo>
                  <a:lnTo>
                    <a:pt x="441630" y="20170"/>
                  </a:lnTo>
                  <a:cubicBezTo>
                    <a:pt x="438784" y="15762"/>
                    <a:pt x="447122" y="16343"/>
                    <a:pt x="456373" y="14793"/>
                  </a:cubicBezTo>
                  <a:cubicBezTo>
                    <a:pt x="461242" y="15826"/>
                    <a:pt x="467085" y="14793"/>
                    <a:pt x="470331" y="18237"/>
                  </a:cubicBezTo>
                  <a:cubicBezTo>
                    <a:pt x="472786" y="24179"/>
                    <a:pt x="466517" y="21079"/>
                    <a:pt x="476498" y="26504"/>
                  </a:cubicBezTo>
                  <a:cubicBezTo>
                    <a:pt x="481691" y="28571"/>
                    <a:pt x="489482" y="35804"/>
                    <a:pt x="498895" y="36838"/>
                  </a:cubicBezTo>
                  <a:cubicBezTo>
                    <a:pt x="506360" y="38905"/>
                    <a:pt x="515124" y="40627"/>
                    <a:pt x="520642" y="39938"/>
                  </a:cubicBezTo>
                  <a:cubicBezTo>
                    <a:pt x="526160" y="39249"/>
                    <a:pt x="529082" y="33738"/>
                    <a:pt x="532652" y="33049"/>
                  </a:cubicBezTo>
                  <a:cubicBezTo>
                    <a:pt x="536223" y="31671"/>
                    <a:pt x="537845" y="35460"/>
                    <a:pt x="541741" y="35804"/>
                  </a:cubicBezTo>
                  <a:cubicBezTo>
                    <a:pt x="545636" y="36149"/>
                    <a:pt x="554075" y="32360"/>
                    <a:pt x="556022" y="34771"/>
                  </a:cubicBezTo>
                  <a:cubicBezTo>
                    <a:pt x="559918" y="37527"/>
                    <a:pt x="555049" y="44760"/>
                    <a:pt x="554400" y="49582"/>
                  </a:cubicBezTo>
                  <a:cubicBezTo>
                    <a:pt x="553101" y="57849"/>
                    <a:pt x="551478" y="64738"/>
                    <a:pt x="545311" y="69561"/>
                  </a:cubicBezTo>
                  <a:lnTo>
                    <a:pt x="546822" y="76428"/>
                  </a:lnTo>
                  <a:cubicBezTo>
                    <a:pt x="548253" y="80045"/>
                    <a:pt x="549774" y="76105"/>
                    <a:pt x="554400" y="84372"/>
                  </a:cubicBezTo>
                  <a:cubicBezTo>
                    <a:pt x="554075" y="87817"/>
                    <a:pt x="555373" y="91950"/>
                    <a:pt x="553101" y="94361"/>
                  </a:cubicBezTo>
                  <a:cubicBezTo>
                    <a:pt x="546609" y="101250"/>
                    <a:pt x="545960" y="88161"/>
                    <a:pt x="545311" y="87472"/>
                  </a:cubicBezTo>
                  <a:cubicBezTo>
                    <a:pt x="544013" y="85750"/>
                    <a:pt x="542065" y="85405"/>
                    <a:pt x="540442" y="84372"/>
                  </a:cubicBezTo>
                  <a:cubicBezTo>
                    <a:pt x="535898" y="89194"/>
                    <a:pt x="531354" y="90917"/>
                    <a:pt x="529731" y="97461"/>
                  </a:cubicBezTo>
                  <a:cubicBezTo>
                    <a:pt x="528108" y="100906"/>
                    <a:pt x="524213" y="103661"/>
                    <a:pt x="524537" y="106417"/>
                  </a:cubicBezTo>
                  <a:cubicBezTo>
                    <a:pt x="524862" y="109173"/>
                    <a:pt x="527459" y="110895"/>
                    <a:pt x="531029" y="113995"/>
                  </a:cubicBezTo>
                  <a:cubicBezTo>
                    <a:pt x="532652" y="120195"/>
                    <a:pt x="545311" y="125706"/>
                    <a:pt x="545311" y="125706"/>
                  </a:cubicBezTo>
                  <a:cubicBezTo>
                    <a:pt x="550829" y="130184"/>
                    <a:pt x="555049" y="132940"/>
                    <a:pt x="565436" y="137418"/>
                  </a:cubicBezTo>
                  <a:cubicBezTo>
                    <a:pt x="572901" y="142240"/>
                    <a:pt x="582963" y="150507"/>
                    <a:pt x="590429" y="153951"/>
                  </a:cubicBezTo>
                  <a:cubicBezTo>
                    <a:pt x="597895" y="157396"/>
                    <a:pt x="606983" y="156362"/>
                    <a:pt x="610554" y="158774"/>
                  </a:cubicBezTo>
                  <a:cubicBezTo>
                    <a:pt x="611852" y="159807"/>
                    <a:pt x="610878" y="166696"/>
                    <a:pt x="612177" y="168074"/>
                  </a:cubicBezTo>
                  <a:cubicBezTo>
                    <a:pt x="614449" y="170485"/>
                    <a:pt x="616721" y="167040"/>
                    <a:pt x="618344" y="170140"/>
                  </a:cubicBezTo>
                  <a:cubicBezTo>
                    <a:pt x="621265" y="175996"/>
                    <a:pt x="621265" y="174963"/>
                    <a:pt x="626134" y="178407"/>
                  </a:cubicBezTo>
                  <a:cubicBezTo>
                    <a:pt x="637170" y="177718"/>
                    <a:pt x="647557" y="181507"/>
                    <a:pt x="651127" y="170140"/>
                  </a:cubicBezTo>
                  <a:cubicBezTo>
                    <a:pt x="652426" y="160496"/>
                    <a:pt x="655347" y="150162"/>
                    <a:pt x="660865" y="142240"/>
                  </a:cubicBezTo>
                  <a:cubicBezTo>
                    <a:pt x="664111" y="128117"/>
                    <a:pt x="664760" y="137073"/>
                    <a:pt x="667357" y="113306"/>
                  </a:cubicBezTo>
                  <a:cubicBezTo>
                    <a:pt x="668006" y="107106"/>
                    <a:pt x="666708" y="100906"/>
                    <a:pt x="666708" y="100906"/>
                  </a:cubicBezTo>
                  <a:cubicBezTo>
                    <a:pt x="668980" y="68527"/>
                    <a:pt x="665734" y="85061"/>
                    <a:pt x="669954" y="70938"/>
                  </a:cubicBezTo>
                  <a:cubicBezTo>
                    <a:pt x="671252" y="66116"/>
                    <a:pt x="674498" y="56127"/>
                    <a:pt x="674498" y="56127"/>
                  </a:cubicBezTo>
                  <a:cubicBezTo>
                    <a:pt x="675147" y="48549"/>
                    <a:pt x="674822" y="40627"/>
                    <a:pt x="676121" y="33049"/>
                  </a:cubicBezTo>
                  <a:cubicBezTo>
                    <a:pt x="677095" y="27882"/>
                    <a:pt x="682288" y="18237"/>
                    <a:pt x="682288" y="18237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8" name="Freeform 339"/>
            <p:cNvSpPr>
              <a:spLocks/>
            </p:cNvSpPr>
            <p:nvPr>
              <p:custDataLst>
                <p:tags r:id="rId133"/>
              </p:custDataLst>
            </p:nvPr>
          </p:nvSpPr>
          <p:spPr bwMode="gray">
            <a:xfrm>
              <a:off x="7587917" y="3045356"/>
              <a:ext cx="373599" cy="455409"/>
            </a:xfrm>
            <a:custGeom>
              <a:avLst/>
              <a:gdLst/>
              <a:ahLst/>
              <a:cxnLst/>
              <a:rect l="l" t="t" r="r" b="b"/>
              <a:pathLst>
                <a:path w="366140" h="446343">
                  <a:moveTo>
                    <a:pt x="278678" y="132903"/>
                  </a:moveTo>
                  <a:cubicBezTo>
                    <a:pt x="281307" y="132784"/>
                    <a:pt x="283589" y="133643"/>
                    <a:pt x="285177" y="135934"/>
                  </a:cubicBezTo>
                  <a:cubicBezTo>
                    <a:pt x="291527" y="145098"/>
                    <a:pt x="294702" y="187863"/>
                    <a:pt x="296289" y="203136"/>
                  </a:cubicBezTo>
                  <a:cubicBezTo>
                    <a:pt x="297877" y="218409"/>
                    <a:pt x="299464" y="215354"/>
                    <a:pt x="296289" y="224518"/>
                  </a:cubicBezTo>
                  <a:cubicBezTo>
                    <a:pt x="293114" y="233682"/>
                    <a:pt x="286764" y="242846"/>
                    <a:pt x="282002" y="256592"/>
                  </a:cubicBezTo>
                  <a:cubicBezTo>
                    <a:pt x="275652" y="270338"/>
                    <a:pt x="269302" y="299356"/>
                    <a:pt x="262952" y="310048"/>
                  </a:cubicBezTo>
                  <a:cubicBezTo>
                    <a:pt x="256602" y="320739"/>
                    <a:pt x="250252" y="316157"/>
                    <a:pt x="243902" y="320739"/>
                  </a:cubicBezTo>
                  <a:cubicBezTo>
                    <a:pt x="237552" y="325321"/>
                    <a:pt x="228027" y="332957"/>
                    <a:pt x="226439" y="337539"/>
                  </a:cubicBezTo>
                  <a:cubicBezTo>
                    <a:pt x="224852" y="342121"/>
                    <a:pt x="239139" y="352812"/>
                    <a:pt x="235964" y="352812"/>
                  </a:cubicBezTo>
                  <a:cubicBezTo>
                    <a:pt x="232789" y="352812"/>
                    <a:pt x="218502" y="337539"/>
                    <a:pt x="210564" y="334485"/>
                  </a:cubicBezTo>
                  <a:cubicBezTo>
                    <a:pt x="202627" y="331430"/>
                    <a:pt x="189927" y="331430"/>
                    <a:pt x="183577" y="332957"/>
                  </a:cubicBezTo>
                  <a:cubicBezTo>
                    <a:pt x="177227" y="334485"/>
                    <a:pt x="172464" y="340594"/>
                    <a:pt x="167702" y="346703"/>
                  </a:cubicBezTo>
                  <a:cubicBezTo>
                    <a:pt x="162939" y="352812"/>
                    <a:pt x="161352" y="363504"/>
                    <a:pt x="155002" y="366558"/>
                  </a:cubicBezTo>
                  <a:cubicBezTo>
                    <a:pt x="148652" y="369613"/>
                    <a:pt x="137539" y="369613"/>
                    <a:pt x="129602" y="369613"/>
                  </a:cubicBezTo>
                  <a:cubicBezTo>
                    <a:pt x="121664" y="369613"/>
                    <a:pt x="113727" y="363504"/>
                    <a:pt x="105789" y="365031"/>
                  </a:cubicBezTo>
                  <a:cubicBezTo>
                    <a:pt x="97852" y="366558"/>
                    <a:pt x="93089" y="374195"/>
                    <a:pt x="85152" y="380304"/>
                  </a:cubicBezTo>
                  <a:cubicBezTo>
                    <a:pt x="77214" y="386413"/>
                    <a:pt x="62927" y="392523"/>
                    <a:pt x="56577" y="401686"/>
                  </a:cubicBezTo>
                  <a:cubicBezTo>
                    <a:pt x="50227" y="412378"/>
                    <a:pt x="50227" y="442924"/>
                    <a:pt x="42289" y="445979"/>
                  </a:cubicBezTo>
                  <a:cubicBezTo>
                    <a:pt x="34352" y="449033"/>
                    <a:pt x="10539" y="432233"/>
                    <a:pt x="4189" y="420014"/>
                  </a:cubicBezTo>
                  <a:cubicBezTo>
                    <a:pt x="-2161" y="407796"/>
                    <a:pt x="-573" y="386413"/>
                    <a:pt x="4189" y="374195"/>
                  </a:cubicBezTo>
                  <a:cubicBezTo>
                    <a:pt x="8952" y="361976"/>
                    <a:pt x="23239" y="351285"/>
                    <a:pt x="32764" y="343649"/>
                  </a:cubicBezTo>
                  <a:cubicBezTo>
                    <a:pt x="42289" y="336012"/>
                    <a:pt x="53402" y="337539"/>
                    <a:pt x="61339" y="332957"/>
                  </a:cubicBezTo>
                  <a:cubicBezTo>
                    <a:pt x="69277" y="328375"/>
                    <a:pt x="70864" y="314630"/>
                    <a:pt x="85152" y="311575"/>
                  </a:cubicBezTo>
                  <a:cubicBezTo>
                    <a:pt x="97852" y="308520"/>
                    <a:pt x="135952" y="314630"/>
                    <a:pt x="150239" y="310048"/>
                  </a:cubicBezTo>
                  <a:cubicBezTo>
                    <a:pt x="164527" y="305466"/>
                    <a:pt x="170877" y="294775"/>
                    <a:pt x="174052" y="288665"/>
                  </a:cubicBezTo>
                  <a:cubicBezTo>
                    <a:pt x="177227" y="281029"/>
                    <a:pt x="167702" y="264228"/>
                    <a:pt x="174052" y="261174"/>
                  </a:cubicBezTo>
                  <a:cubicBezTo>
                    <a:pt x="180402" y="258119"/>
                    <a:pt x="199452" y="270338"/>
                    <a:pt x="207389" y="267283"/>
                  </a:cubicBezTo>
                  <a:cubicBezTo>
                    <a:pt x="215327" y="264228"/>
                    <a:pt x="213739" y="244373"/>
                    <a:pt x="220089" y="238264"/>
                  </a:cubicBezTo>
                  <a:cubicBezTo>
                    <a:pt x="226439" y="232155"/>
                    <a:pt x="240727" y="242846"/>
                    <a:pt x="245489" y="233682"/>
                  </a:cubicBezTo>
                  <a:cubicBezTo>
                    <a:pt x="250252" y="224518"/>
                    <a:pt x="247077" y="198554"/>
                    <a:pt x="248664" y="184808"/>
                  </a:cubicBezTo>
                  <a:cubicBezTo>
                    <a:pt x="250252" y="172590"/>
                    <a:pt x="248664" y="155789"/>
                    <a:pt x="255014" y="148153"/>
                  </a:cubicBezTo>
                  <a:cubicBezTo>
                    <a:pt x="259777" y="142425"/>
                    <a:pt x="270790" y="133261"/>
                    <a:pt x="278678" y="132903"/>
                  </a:cubicBezTo>
                  <a:close/>
                  <a:moveTo>
                    <a:pt x="266560" y="2495"/>
                  </a:moveTo>
                  <a:lnTo>
                    <a:pt x="264539" y="2723"/>
                  </a:lnTo>
                  <a:cubicBezTo>
                    <a:pt x="263055" y="2723"/>
                    <a:pt x="264193" y="2574"/>
                    <a:pt x="266560" y="2495"/>
                  </a:cubicBezTo>
                  <a:close/>
                  <a:moveTo>
                    <a:pt x="285177" y="425"/>
                  </a:moveTo>
                  <a:cubicBezTo>
                    <a:pt x="294702" y="-341"/>
                    <a:pt x="305021" y="-341"/>
                    <a:pt x="310577" y="2723"/>
                  </a:cubicBezTo>
                  <a:cubicBezTo>
                    <a:pt x="321690" y="8852"/>
                    <a:pt x="324865" y="34898"/>
                    <a:pt x="334390" y="41027"/>
                  </a:cubicBezTo>
                  <a:cubicBezTo>
                    <a:pt x="343915" y="47155"/>
                    <a:pt x="361377" y="33366"/>
                    <a:pt x="366140" y="36430"/>
                  </a:cubicBezTo>
                  <a:cubicBezTo>
                    <a:pt x="370902" y="39494"/>
                    <a:pt x="370902" y="53284"/>
                    <a:pt x="366140" y="60944"/>
                  </a:cubicBezTo>
                  <a:cubicBezTo>
                    <a:pt x="361377" y="68605"/>
                    <a:pt x="347090" y="77798"/>
                    <a:pt x="339152" y="83926"/>
                  </a:cubicBezTo>
                  <a:cubicBezTo>
                    <a:pt x="331215" y="90055"/>
                    <a:pt x="329627" y="97715"/>
                    <a:pt x="320102" y="97715"/>
                  </a:cubicBezTo>
                  <a:cubicBezTo>
                    <a:pt x="310577" y="97715"/>
                    <a:pt x="283589" y="85458"/>
                    <a:pt x="277239" y="88523"/>
                  </a:cubicBezTo>
                  <a:cubicBezTo>
                    <a:pt x="272477" y="91587"/>
                    <a:pt x="285177" y="106908"/>
                    <a:pt x="280414" y="113037"/>
                  </a:cubicBezTo>
                  <a:cubicBezTo>
                    <a:pt x="275652" y="119165"/>
                    <a:pt x="258189" y="128358"/>
                    <a:pt x="250252" y="125294"/>
                  </a:cubicBezTo>
                  <a:cubicBezTo>
                    <a:pt x="242314" y="122229"/>
                    <a:pt x="232789" y="105376"/>
                    <a:pt x="234377" y="94651"/>
                  </a:cubicBezTo>
                  <a:cubicBezTo>
                    <a:pt x="235964" y="83926"/>
                    <a:pt x="255014" y="74733"/>
                    <a:pt x="262952" y="62476"/>
                  </a:cubicBezTo>
                  <a:cubicBezTo>
                    <a:pt x="270889" y="50219"/>
                    <a:pt x="278827" y="31834"/>
                    <a:pt x="282002" y="22641"/>
                  </a:cubicBezTo>
                  <a:cubicBezTo>
                    <a:pt x="285177" y="13448"/>
                    <a:pt x="288352" y="7320"/>
                    <a:pt x="285177" y="4256"/>
                  </a:cubicBezTo>
                  <a:cubicBezTo>
                    <a:pt x="282992" y="2147"/>
                    <a:pt x="271782" y="2215"/>
                    <a:pt x="266560" y="2495"/>
                  </a:cubicBezTo>
                  <a:cubicBezTo>
                    <a:pt x="270296" y="2164"/>
                    <a:pt x="277477" y="1044"/>
                    <a:pt x="285177" y="42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29" name="Freeform 404"/>
            <p:cNvSpPr>
              <a:spLocks/>
            </p:cNvSpPr>
            <p:nvPr>
              <p:custDataLst>
                <p:tags r:id="rId134"/>
              </p:custDataLst>
            </p:nvPr>
          </p:nvSpPr>
          <p:spPr bwMode="gray">
            <a:xfrm>
              <a:off x="2630622" y="3997531"/>
              <a:ext cx="330447" cy="259159"/>
            </a:xfrm>
            <a:custGeom>
              <a:avLst/>
              <a:gdLst>
                <a:gd name="T0" fmla="*/ 18 w 200"/>
                <a:gd name="T1" fmla="*/ 4 h 160"/>
                <a:gd name="T2" fmla="*/ 16 w 200"/>
                <a:gd name="T3" fmla="*/ 25 h 160"/>
                <a:gd name="T4" fmla="*/ 30 w 200"/>
                <a:gd name="T5" fmla="*/ 36 h 160"/>
                <a:gd name="T6" fmla="*/ 31 w 200"/>
                <a:gd name="T7" fmla="*/ 13 h 160"/>
                <a:gd name="T8" fmla="*/ 51 w 200"/>
                <a:gd name="T9" fmla="*/ 9 h 160"/>
                <a:gd name="T10" fmla="*/ 69 w 200"/>
                <a:gd name="T11" fmla="*/ 3 h 160"/>
                <a:gd name="T12" fmla="*/ 93 w 200"/>
                <a:gd name="T13" fmla="*/ 16 h 160"/>
                <a:gd name="T14" fmla="*/ 117 w 200"/>
                <a:gd name="T15" fmla="*/ 21 h 160"/>
                <a:gd name="T16" fmla="*/ 133 w 200"/>
                <a:gd name="T17" fmla="*/ 12 h 160"/>
                <a:gd name="T18" fmla="*/ 154 w 200"/>
                <a:gd name="T19" fmla="*/ 18 h 160"/>
                <a:gd name="T20" fmla="*/ 174 w 200"/>
                <a:gd name="T21" fmla="*/ 27 h 160"/>
                <a:gd name="T22" fmla="*/ 186 w 200"/>
                <a:gd name="T23" fmla="*/ 37 h 160"/>
                <a:gd name="T24" fmla="*/ 189 w 200"/>
                <a:gd name="T25" fmla="*/ 57 h 160"/>
                <a:gd name="T26" fmla="*/ 181 w 200"/>
                <a:gd name="T27" fmla="*/ 72 h 160"/>
                <a:gd name="T28" fmla="*/ 178 w 200"/>
                <a:gd name="T29" fmla="*/ 87 h 160"/>
                <a:gd name="T30" fmla="*/ 175 w 200"/>
                <a:gd name="T31" fmla="*/ 100 h 160"/>
                <a:gd name="T32" fmla="*/ 162 w 200"/>
                <a:gd name="T33" fmla="*/ 115 h 160"/>
                <a:gd name="T34" fmla="*/ 135 w 200"/>
                <a:gd name="T35" fmla="*/ 120 h 160"/>
                <a:gd name="T36" fmla="*/ 135 w 200"/>
                <a:gd name="T37" fmla="*/ 135 h 160"/>
                <a:gd name="T38" fmla="*/ 129 w 200"/>
                <a:gd name="T39" fmla="*/ 151 h 160"/>
                <a:gd name="T40" fmla="*/ 124 w 200"/>
                <a:gd name="T41" fmla="*/ 157 h 160"/>
                <a:gd name="T42" fmla="*/ 106 w 200"/>
                <a:gd name="T43" fmla="*/ 159 h 160"/>
                <a:gd name="T44" fmla="*/ 82 w 200"/>
                <a:gd name="T45" fmla="*/ 148 h 160"/>
                <a:gd name="T46" fmla="*/ 84 w 200"/>
                <a:gd name="T47" fmla="*/ 136 h 160"/>
                <a:gd name="T48" fmla="*/ 82 w 200"/>
                <a:gd name="T49" fmla="*/ 87 h 160"/>
                <a:gd name="T50" fmla="*/ 61 w 200"/>
                <a:gd name="T51" fmla="*/ 82 h 160"/>
                <a:gd name="T52" fmla="*/ 43 w 200"/>
                <a:gd name="T53" fmla="*/ 73 h 160"/>
                <a:gd name="T54" fmla="*/ 30 w 200"/>
                <a:gd name="T55" fmla="*/ 63 h 160"/>
                <a:gd name="T56" fmla="*/ 18 w 200"/>
                <a:gd name="T57" fmla="*/ 57 h 160"/>
                <a:gd name="T58" fmla="*/ 6 w 200"/>
                <a:gd name="T59" fmla="*/ 37 h 160"/>
                <a:gd name="T60" fmla="*/ 0 w 200"/>
                <a:gd name="T61" fmla="*/ 22 h 160"/>
                <a:gd name="T62" fmla="*/ 15 w 200"/>
                <a:gd name="T63" fmla="*/ 6 h 160"/>
                <a:gd name="T64" fmla="*/ 24 w 200"/>
                <a:gd name="T65" fmla="*/ 13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0" h="160">
                  <a:moveTo>
                    <a:pt x="18" y="4"/>
                  </a:moveTo>
                  <a:cubicBezTo>
                    <a:pt x="23" y="12"/>
                    <a:pt x="31" y="23"/>
                    <a:pt x="16" y="25"/>
                  </a:cubicBezTo>
                  <a:cubicBezTo>
                    <a:pt x="13" y="39"/>
                    <a:pt x="15" y="37"/>
                    <a:pt x="30" y="36"/>
                  </a:cubicBezTo>
                  <a:cubicBezTo>
                    <a:pt x="30" y="28"/>
                    <a:pt x="27" y="20"/>
                    <a:pt x="31" y="13"/>
                  </a:cubicBezTo>
                  <a:cubicBezTo>
                    <a:pt x="35" y="7"/>
                    <a:pt x="51" y="9"/>
                    <a:pt x="51" y="9"/>
                  </a:cubicBezTo>
                  <a:cubicBezTo>
                    <a:pt x="59" y="3"/>
                    <a:pt x="57" y="0"/>
                    <a:pt x="69" y="3"/>
                  </a:cubicBezTo>
                  <a:cubicBezTo>
                    <a:pt x="71" y="22"/>
                    <a:pt x="73" y="18"/>
                    <a:pt x="93" y="16"/>
                  </a:cubicBezTo>
                  <a:cubicBezTo>
                    <a:pt x="111" y="20"/>
                    <a:pt x="103" y="18"/>
                    <a:pt x="117" y="21"/>
                  </a:cubicBezTo>
                  <a:cubicBezTo>
                    <a:pt x="127" y="19"/>
                    <a:pt x="126" y="17"/>
                    <a:pt x="133" y="12"/>
                  </a:cubicBezTo>
                  <a:cubicBezTo>
                    <a:pt x="143" y="13"/>
                    <a:pt x="147" y="12"/>
                    <a:pt x="154" y="18"/>
                  </a:cubicBezTo>
                  <a:cubicBezTo>
                    <a:pt x="158" y="26"/>
                    <a:pt x="166" y="25"/>
                    <a:pt x="174" y="27"/>
                  </a:cubicBezTo>
                  <a:cubicBezTo>
                    <a:pt x="175" y="35"/>
                    <a:pt x="178" y="36"/>
                    <a:pt x="186" y="37"/>
                  </a:cubicBezTo>
                  <a:cubicBezTo>
                    <a:pt x="196" y="42"/>
                    <a:pt x="200" y="55"/>
                    <a:pt x="189" y="57"/>
                  </a:cubicBezTo>
                  <a:cubicBezTo>
                    <a:pt x="188" y="75"/>
                    <a:pt x="189" y="62"/>
                    <a:pt x="181" y="72"/>
                  </a:cubicBezTo>
                  <a:cubicBezTo>
                    <a:pt x="179" y="77"/>
                    <a:pt x="179" y="82"/>
                    <a:pt x="178" y="87"/>
                  </a:cubicBezTo>
                  <a:cubicBezTo>
                    <a:pt x="177" y="92"/>
                    <a:pt x="178" y="95"/>
                    <a:pt x="175" y="100"/>
                  </a:cubicBezTo>
                  <a:cubicBezTo>
                    <a:pt x="172" y="105"/>
                    <a:pt x="169" y="112"/>
                    <a:pt x="162" y="115"/>
                  </a:cubicBezTo>
                  <a:cubicBezTo>
                    <a:pt x="152" y="115"/>
                    <a:pt x="146" y="116"/>
                    <a:pt x="135" y="120"/>
                  </a:cubicBezTo>
                  <a:cubicBezTo>
                    <a:pt x="136" y="126"/>
                    <a:pt x="132" y="129"/>
                    <a:pt x="135" y="135"/>
                  </a:cubicBezTo>
                  <a:cubicBezTo>
                    <a:pt x="134" y="140"/>
                    <a:pt x="131" y="148"/>
                    <a:pt x="129" y="151"/>
                  </a:cubicBezTo>
                  <a:cubicBezTo>
                    <a:pt x="127" y="154"/>
                    <a:pt x="128" y="156"/>
                    <a:pt x="124" y="157"/>
                  </a:cubicBezTo>
                  <a:cubicBezTo>
                    <a:pt x="120" y="158"/>
                    <a:pt x="113" y="160"/>
                    <a:pt x="106" y="159"/>
                  </a:cubicBezTo>
                  <a:cubicBezTo>
                    <a:pt x="99" y="158"/>
                    <a:pt x="86" y="152"/>
                    <a:pt x="82" y="148"/>
                  </a:cubicBezTo>
                  <a:cubicBezTo>
                    <a:pt x="78" y="144"/>
                    <a:pt x="84" y="146"/>
                    <a:pt x="84" y="136"/>
                  </a:cubicBezTo>
                  <a:cubicBezTo>
                    <a:pt x="81" y="125"/>
                    <a:pt x="86" y="96"/>
                    <a:pt x="82" y="87"/>
                  </a:cubicBezTo>
                  <a:cubicBezTo>
                    <a:pt x="78" y="78"/>
                    <a:pt x="67" y="84"/>
                    <a:pt x="61" y="82"/>
                  </a:cubicBezTo>
                  <a:cubicBezTo>
                    <a:pt x="55" y="78"/>
                    <a:pt x="49" y="77"/>
                    <a:pt x="43" y="73"/>
                  </a:cubicBezTo>
                  <a:cubicBezTo>
                    <a:pt x="37" y="69"/>
                    <a:pt x="37" y="64"/>
                    <a:pt x="30" y="63"/>
                  </a:cubicBezTo>
                  <a:cubicBezTo>
                    <a:pt x="23" y="60"/>
                    <a:pt x="25" y="61"/>
                    <a:pt x="18" y="57"/>
                  </a:cubicBezTo>
                  <a:cubicBezTo>
                    <a:pt x="15" y="52"/>
                    <a:pt x="11" y="40"/>
                    <a:pt x="6" y="37"/>
                  </a:cubicBezTo>
                  <a:cubicBezTo>
                    <a:pt x="3" y="32"/>
                    <a:pt x="1" y="28"/>
                    <a:pt x="0" y="22"/>
                  </a:cubicBezTo>
                  <a:cubicBezTo>
                    <a:pt x="2" y="13"/>
                    <a:pt x="6" y="8"/>
                    <a:pt x="15" y="6"/>
                  </a:cubicBezTo>
                  <a:cubicBezTo>
                    <a:pt x="16" y="16"/>
                    <a:pt x="14" y="13"/>
                    <a:pt x="24" y="13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0" name="Freeform 405"/>
            <p:cNvSpPr>
              <a:spLocks/>
            </p:cNvSpPr>
            <p:nvPr>
              <p:custDataLst>
                <p:tags r:id="rId135"/>
              </p:custDataLst>
            </p:nvPr>
          </p:nvSpPr>
          <p:spPr bwMode="gray">
            <a:xfrm>
              <a:off x="3066359" y="4120631"/>
              <a:ext cx="106909" cy="98805"/>
            </a:xfrm>
            <a:custGeom>
              <a:avLst/>
              <a:gdLst>
                <a:gd name="T0" fmla="*/ 15 w 65"/>
                <a:gd name="T1" fmla="*/ 56 h 61"/>
                <a:gd name="T2" fmla="*/ 57 w 65"/>
                <a:gd name="T3" fmla="*/ 45 h 61"/>
                <a:gd name="T4" fmla="*/ 36 w 65"/>
                <a:gd name="T5" fmla="*/ 12 h 61"/>
                <a:gd name="T6" fmla="*/ 15 w 65"/>
                <a:gd name="T7" fmla="*/ 56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1">
                  <a:moveTo>
                    <a:pt x="15" y="56"/>
                  </a:moveTo>
                  <a:cubicBezTo>
                    <a:pt x="56" y="54"/>
                    <a:pt x="36" y="61"/>
                    <a:pt x="57" y="45"/>
                  </a:cubicBezTo>
                  <a:cubicBezTo>
                    <a:pt x="65" y="29"/>
                    <a:pt x="46" y="20"/>
                    <a:pt x="36" y="12"/>
                  </a:cubicBezTo>
                  <a:cubicBezTo>
                    <a:pt x="0" y="16"/>
                    <a:pt x="15" y="0"/>
                    <a:pt x="15" y="5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1" name="Freeform 406"/>
            <p:cNvSpPr>
              <a:spLocks/>
            </p:cNvSpPr>
            <p:nvPr>
              <p:custDataLst>
                <p:tags r:id="rId136"/>
              </p:custDataLst>
            </p:nvPr>
          </p:nvSpPr>
          <p:spPr bwMode="gray">
            <a:xfrm>
              <a:off x="2998326" y="4130350"/>
              <a:ext cx="95571" cy="102044"/>
            </a:xfrm>
            <a:custGeom>
              <a:avLst/>
              <a:gdLst>
                <a:gd name="T0" fmla="*/ 9 w 57"/>
                <a:gd name="T1" fmla="*/ 0 h 63"/>
                <a:gd name="T2" fmla="*/ 36 w 57"/>
                <a:gd name="T3" fmla="*/ 5 h 63"/>
                <a:gd name="T4" fmla="*/ 51 w 57"/>
                <a:gd name="T5" fmla="*/ 8 h 63"/>
                <a:gd name="T6" fmla="*/ 57 w 57"/>
                <a:gd name="T7" fmla="*/ 35 h 63"/>
                <a:gd name="T8" fmla="*/ 29 w 57"/>
                <a:gd name="T9" fmla="*/ 54 h 63"/>
                <a:gd name="T10" fmla="*/ 17 w 57"/>
                <a:gd name="T11" fmla="*/ 54 h 63"/>
                <a:gd name="T12" fmla="*/ 8 w 57"/>
                <a:gd name="T13" fmla="*/ 39 h 63"/>
                <a:gd name="T14" fmla="*/ 3 w 57"/>
                <a:gd name="T15" fmla="*/ 38 h 63"/>
                <a:gd name="T16" fmla="*/ 14 w 57"/>
                <a:gd name="T17" fmla="*/ 17 h 63"/>
                <a:gd name="T18" fmla="*/ 9 w 57"/>
                <a:gd name="T19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63">
                  <a:moveTo>
                    <a:pt x="9" y="0"/>
                  </a:moveTo>
                  <a:cubicBezTo>
                    <a:pt x="22" y="1"/>
                    <a:pt x="26" y="2"/>
                    <a:pt x="36" y="5"/>
                  </a:cubicBezTo>
                  <a:cubicBezTo>
                    <a:pt x="41" y="6"/>
                    <a:pt x="51" y="8"/>
                    <a:pt x="51" y="8"/>
                  </a:cubicBezTo>
                  <a:cubicBezTo>
                    <a:pt x="57" y="16"/>
                    <a:pt x="55" y="26"/>
                    <a:pt x="57" y="35"/>
                  </a:cubicBezTo>
                  <a:cubicBezTo>
                    <a:pt x="55" y="55"/>
                    <a:pt x="49" y="53"/>
                    <a:pt x="29" y="54"/>
                  </a:cubicBezTo>
                  <a:cubicBezTo>
                    <a:pt x="24" y="63"/>
                    <a:pt x="27" y="55"/>
                    <a:pt x="17" y="54"/>
                  </a:cubicBezTo>
                  <a:cubicBezTo>
                    <a:pt x="17" y="47"/>
                    <a:pt x="10" y="45"/>
                    <a:pt x="8" y="39"/>
                  </a:cubicBezTo>
                  <a:cubicBezTo>
                    <a:pt x="8" y="37"/>
                    <a:pt x="4" y="40"/>
                    <a:pt x="3" y="38"/>
                  </a:cubicBezTo>
                  <a:cubicBezTo>
                    <a:pt x="0" y="29"/>
                    <a:pt x="15" y="24"/>
                    <a:pt x="14" y="17"/>
                  </a:cubicBezTo>
                  <a:cubicBezTo>
                    <a:pt x="13" y="11"/>
                    <a:pt x="11" y="6"/>
                    <a:pt x="9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2" name="Freeform 407"/>
            <p:cNvSpPr>
              <a:spLocks/>
            </p:cNvSpPr>
            <p:nvPr>
              <p:custDataLst>
                <p:tags r:id="rId137"/>
              </p:custDataLst>
            </p:nvPr>
          </p:nvSpPr>
          <p:spPr bwMode="gray">
            <a:xfrm>
              <a:off x="2907614" y="4059081"/>
              <a:ext cx="124728" cy="187890"/>
            </a:xfrm>
            <a:custGeom>
              <a:avLst/>
              <a:gdLst>
                <a:gd name="T0" fmla="*/ 24 w 76"/>
                <a:gd name="T1" fmla="*/ 13 h 116"/>
                <a:gd name="T2" fmla="*/ 13 w 76"/>
                <a:gd name="T3" fmla="*/ 35 h 116"/>
                <a:gd name="T4" fmla="*/ 13 w 76"/>
                <a:gd name="T5" fmla="*/ 67 h 116"/>
                <a:gd name="T6" fmla="*/ 22 w 76"/>
                <a:gd name="T7" fmla="*/ 70 h 116"/>
                <a:gd name="T8" fmla="*/ 24 w 76"/>
                <a:gd name="T9" fmla="*/ 83 h 116"/>
                <a:gd name="T10" fmla="*/ 30 w 76"/>
                <a:gd name="T11" fmla="*/ 97 h 116"/>
                <a:gd name="T12" fmla="*/ 36 w 76"/>
                <a:gd name="T13" fmla="*/ 110 h 116"/>
                <a:gd name="T14" fmla="*/ 45 w 76"/>
                <a:gd name="T15" fmla="*/ 115 h 116"/>
                <a:gd name="T16" fmla="*/ 63 w 76"/>
                <a:gd name="T17" fmla="*/ 110 h 116"/>
                <a:gd name="T18" fmla="*/ 70 w 76"/>
                <a:gd name="T19" fmla="*/ 101 h 116"/>
                <a:gd name="T20" fmla="*/ 61 w 76"/>
                <a:gd name="T21" fmla="*/ 82 h 116"/>
                <a:gd name="T22" fmla="*/ 66 w 76"/>
                <a:gd name="T23" fmla="*/ 65 h 116"/>
                <a:gd name="T24" fmla="*/ 49 w 76"/>
                <a:gd name="T25" fmla="*/ 28 h 116"/>
                <a:gd name="T26" fmla="*/ 33 w 76"/>
                <a:gd name="T27" fmla="*/ 13 h 116"/>
                <a:gd name="T28" fmla="*/ 21 w 76"/>
                <a:gd name="T29" fmla="*/ 23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116">
                  <a:moveTo>
                    <a:pt x="24" y="13"/>
                  </a:moveTo>
                  <a:cubicBezTo>
                    <a:pt x="20" y="21"/>
                    <a:pt x="20" y="31"/>
                    <a:pt x="13" y="35"/>
                  </a:cubicBezTo>
                  <a:cubicBezTo>
                    <a:pt x="7" y="45"/>
                    <a:pt x="0" y="63"/>
                    <a:pt x="13" y="67"/>
                  </a:cubicBezTo>
                  <a:cubicBezTo>
                    <a:pt x="18" y="70"/>
                    <a:pt x="19" y="65"/>
                    <a:pt x="22" y="70"/>
                  </a:cubicBezTo>
                  <a:cubicBezTo>
                    <a:pt x="20" y="75"/>
                    <a:pt x="27" y="78"/>
                    <a:pt x="24" y="83"/>
                  </a:cubicBezTo>
                  <a:cubicBezTo>
                    <a:pt x="25" y="88"/>
                    <a:pt x="28" y="93"/>
                    <a:pt x="30" y="97"/>
                  </a:cubicBezTo>
                  <a:cubicBezTo>
                    <a:pt x="32" y="101"/>
                    <a:pt x="33" y="107"/>
                    <a:pt x="36" y="110"/>
                  </a:cubicBezTo>
                  <a:cubicBezTo>
                    <a:pt x="37" y="116"/>
                    <a:pt x="39" y="112"/>
                    <a:pt x="45" y="115"/>
                  </a:cubicBezTo>
                  <a:cubicBezTo>
                    <a:pt x="54" y="113"/>
                    <a:pt x="56" y="113"/>
                    <a:pt x="63" y="110"/>
                  </a:cubicBezTo>
                  <a:cubicBezTo>
                    <a:pt x="66" y="106"/>
                    <a:pt x="67" y="105"/>
                    <a:pt x="70" y="101"/>
                  </a:cubicBezTo>
                  <a:cubicBezTo>
                    <a:pt x="72" y="93"/>
                    <a:pt x="68" y="87"/>
                    <a:pt x="61" y="82"/>
                  </a:cubicBezTo>
                  <a:cubicBezTo>
                    <a:pt x="57" y="75"/>
                    <a:pt x="59" y="70"/>
                    <a:pt x="66" y="65"/>
                  </a:cubicBezTo>
                  <a:cubicBezTo>
                    <a:pt x="76" y="49"/>
                    <a:pt x="63" y="36"/>
                    <a:pt x="49" y="28"/>
                  </a:cubicBezTo>
                  <a:cubicBezTo>
                    <a:pt x="45" y="21"/>
                    <a:pt x="40" y="18"/>
                    <a:pt x="33" y="13"/>
                  </a:cubicBezTo>
                  <a:cubicBezTo>
                    <a:pt x="25" y="0"/>
                    <a:pt x="26" y="18"/>
                    <a:pt x="21" y="23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3" name="Freeform 408"/>
            <p:cNvSpPr>
              <a:spLocks/>
            </p:cNvSpPr>
            <p:nvPr>
              <p:custDataLst>
                <p:tags r:id="rId138"/>
              </p:custDataLst>
            </p:nvPr>
          </p:nvSpPr>
          <p:spPr bwMode="gray">
            <a:xfrm>
              <a:off x="2420043" y="4039644"/>
              <a:ext cx="113389" cy="63171"/>
            </a:xfrm>
            <a:custGeom>
              <a:avLst/>
              <a:gdLst>
                <a:gd name="T0" fmla="*/ 10 w 67"/>
                <a:gd name="T1" fmla="*/ 16 h 39"/>
                <a:gd name="T2" fmla="*/ 30 w 67"/>
                <a:gd name="T3" fmla="*/ 2 h 39"/>
                <a:gd name="T4" fmla="*/ 45 w 67"/>
                <a:gd name="T5" fmla="*/ 4 h 39"/>
                <a:gd name="T6" fmla="*/ 58 w 67"/>
                <a:gd name="T7" fmla="*/ 13 h 39"/>
                <a:gd name="T8" fmla="*/ 67 w 67"/>
                <a:gd name="T9" fmla="*/ 20 h 39"/>
                <a:gd name="T10" fmla="*/ 58 w 67"/>
                <a:gd name="T11" fmla="*/ 34 h 39"/>
                <a:gd name="T12" fmla="*/ 39 w 67"/>
                <a:gd name="T13" fmla="*/ 17 h 39"/>
                <a:gd name="T14" fmla="*/ 22 w 67"/>
                <a:gd name="T15" fmla="*/ 25 h 39"/>
                <a:gd name="T16" fmla="*/ 22 w 67"/>
                <a:gd name="T17" fmla="*/ 37 h 39"/>
                <a:gd name="T18" fmla="*/ 3 w 67"/>
                <a:gd name="T19" fmla="*/ 35 h 39"/>
                <a:gd name="T20" fmla="*/ 6 w 67"/>
                <a:gd name="T21" fmla="*/ 19 h 39"/>
                <a:gd name="T22" fmla="*/ 10 w 67"/>
                <a:gd name="T23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39">
                  <a:moveTo>
                    <a:pt x="10" y="16"/>
                  </a:moveTo>
                  <a:cubicBezTo>
                    <a:pt x="13" y="10"/>
                    <a:pt x="24" y="4"/>
                    <a:pt x="30" y="2"/>
                  </a:cubicBezTo>
                  <a:cubicBezTo>
                    <a:pt x="36" y="0"/>
                    <a:pt x="40" y="2"/>
                    <a:pt x="45" y="4"/>
                  </a:cubicBezTo>
                  <a:cubicBezTo>
                    <a:pt x="50" y="6"/>
                    <a:pt x="54" y="10"/>
                    <a:pt x="58" y="13"/>
                  </a:cubicBezTo>
                  <a:cubicBezTo>
                    <a:pt x="62" y="16"/>
                    <a:pt x="67" y="17"/>
                    <a:pt x="67" y="20"/>
                  </a:cubicBezTo>
                  <a:cubicBezTo>
                    <a:pt x="67" y="23"/>
                    <a:pt x="63" y="34"/>
                    <a:pt x="58" y="34"/>
                  </a:cubicBezTo>
                  <a:cubicBezTo>
                    <a:pt x="53" y="34"/>
                    <a:pt x="45" y="18"/>
                    <a:pt x="39" y="17"/>
                  </a:cubicBezTo>
                  <a:cubicBezTo>
                    <a:pt x="33" y="16"/>
                    <a:pt x="25" y="22"/>
                    <a:pt x="22" y="25"/>
                  </a:cubicBezTo>
                  <a:cubicBezTo>
                    <a:pt x="19" y="28"/>
                    <a:pt x="25" y="35"/>
                    <a:pt x="22" y="37"/>
                  </a:cubicBezTo>
                  <a:cubicBezTo>
                    <a:pt x="19" y="39"/>
                    <a:pt x="6" y="38"/>
                    <a:pt x="3" y="35"/>
                  </a:cubicBezTo>
                  <a:cubicBezTo>
                    <a:pt x="0" y="32"/>
                    <a:pt x="5" y="22"/>
                    <a:pt x="6" y="19"/>
                  </a:cubicBezTo>
                  <a:cubicBezTo>
                    <a:pt x="7" y="16"/>
                    <a:pt x="9" y="17"/>
                    <a:pt x="10" y="1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4" name="Freeform 409"/>
            <p:cNvSpPr>
              <a:spLocks/>
            </p:cNvSpPr>
            <p:nvPr>
              <p:custDataLst>
                <p:tags r:id="rId139"/>
              </p:custDataLst>
            </p:nvPr>
          </p:nvSpPr>
          <p:spPr bwMode="gray">
            <a:xfrm>
              <a:off x="2479976" y="3991051"/>
              <a:ext cx="291571" cy="356344"/>
            </a:xfrm>
            <a:custGeom>
              <a:avLst/>
              <a:gdLst>
                <a:gd name="T0" fmla="*/ 34 w 177"/>
                <a:gd name="T1" fmla="*/ 55 h 220"/>
                <a:gd name="T2" fmla="*/ 52 w 177"/>
                <a:gd name="T3" fmla="*/ 41 h 220"/>
                <a:gd name="T4" fmla="*/ 85 w 177"/>
                <a:gd name="T5" fmla="*/ 10 h 220"/>
                <a:gd name="T6" fmla="*/ 101 w 177"/>
                <a:gd name="T7" fmla="*/ 4 h 220"/>
                <a:gd name="T8" fmla="*/ 97 w 177"/>
                <a:gd name="T9" fmla="*/ 32 h 220"/>
                <a:gd name="T10" fmla="*/ 110 w 177"/>
                <a:gd name="T11" fmla="*/ 58 h 220"/>
                <a:gd name="T12" fmla="*/ 111 w 177"/>
                <a:gd name="T13" fmla="*/ 67 h 220"/>
                <a:gd name="T14" fmla="*/ 124 w 177"/>
                <a:gd name="T15" fmla="*/ 68 h 220"/>
                <a:gd name="T16" fmla="*/ 152 w 177"/>
                <a:gd name="T17" fmla="*/ 88 h 220"/>
                <a:gd name="T18" fmla="*/ 172 w 177"/>
                <a:gd name="T19" fmla="*/ 85 h 220"/>
                <a:gd name="T20" fmla="*/ 172 w 177"/>
                <a:gd name="T21" fmla="*/ 152 h 220"/>
                <a:gd name="T22" fmla="*/ 143 w 177"/>
                <a:gd name="T23" fmla="*/ 158 h 220"/>
                <a:gd name="T24" fmla="*/ 142 w 177"/>
                <a:gd name="T25" fmla="*/ 184 h 220"/>
                <a:gd name="T26" fmla="*/ 124 w 177"/>
                <a:gd name="T27" fmla="*/ 215 h 220"/>
                <a:gd name="T28" fmla="*/ 100 w 177"/>
                <a:gd name="T29" fmla="*/ 215 h 220"/>
                <a:gd name="T30" fmla="*/ 88 w 177"/>
                <a:gd name="T31" fmla="*/ 205 h 220"/>
                <a:gd name="T32" fmla="*/ 65 w 177"/>
                <a:gd name="T33" fmla="*/ 184 h 220"/>
                <a:gd name="T34" fmla="*/ 44 w 177"/>
                <a:gd name="T35" fmla="*/ 175 h 220"/>
                <a:gd name="T36" fmla="*/ 32 w 177"/>
                <a:gd name="T37" fmla="*/ 166 h 220"/>
                <a:gd name="T38" fmla="*/ 5 w 177"/>
                <a:gd name="T39" fmla="*/ 160 h 220"/>
                <a:gd name="T40" fmla="*/ 10 w 177"/>
                <a:gd name="T41" fmla="*/ 143 h 220"/>
                <a:gd name="T42" fmla="*/ 22 w 177"/>
                <a:gd name="T43" fmla="*/ 127 h 220"/>
                <a:gd name="T44" fmla="*/ 31 w 177"/>
                <a:gd name="T45" fmla="*/ 107 h 220"/>
                <a:gd name="T46" fmla="*/ 29 w 177"/>
                <a:gd name="T47" fmla="*/ 91 h 220"/>
                <a:gd name="T48" fmla="*/ 28 w 177"/>
                <a:gd name="T49" fmla="*/ 61 h 220"/>
                <a:gd name="T50" fmla="*/ 34 w 177"/>
                <a:gd name="T51" fmla="*/ 55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7" h="220">
                  <a:moveTo>
                    <a:pt x="34" y="55"/>
                  </a:moveTo>
                  <a:cubicBezTo>
                    <a:pt x="41" y="52"/>
                    <a:pt x="45" y="45"/>
                    <a:pt x="52" y="41"/>
                  </a:cubicBezTo>
                  <a:cubicBezTo>
                    <a:pt x="57" y="10"/>
                    <a:pt x="56" y="16"/>
                    <a:pt x="85" y="10"/>
                  </a:cubicBezTo>
                  <a:cubicBezTo>
                    <a:pt x="93" y="4"/>
                    <a:pt x="99" y="0"/>
                    <a:pt x="101" y="4"/>
                  </a:cubicBezTo>
                  <a:cubicBezTo>
                    <a:pt x="96" y="14"/>
                    <a:pt x="107" y="27"/>
                    <a:pt x="97" y="32"/>
                  </a:cubicBezTo>
                  <a:cubicBezTo>
                    <a:pt x="92" y="41"/>
                    <a:pt x="107" y="49"/>
                    <a:pt x="110" y="58"/>
                  </a:cubicBezTo>
                  <a:cubicBezTo>
                    <a:pt x="118" y="68"/>
                    <a:pt x="109" y="65"/>
                    <a:pt x="111" y="67"/>
                  </a:cubicBezTo>
                  <a:cubicBezTo>
                    <a:pt x="113" y="69"/>
                    <a:pt x="117" y="65"/>
                    <a:pt x="124" y="68"/>
                  </a:cubicBezTo>
                  <a:cubicBezTo>
                    <a:pt x="132" y="72"/>
                    <a:pt x="144" y="86"/>
                    <a:pt x="152" y="88"/>
                  </a:cubicBezTo>
                  <a:cubicBezTo>
                    <a:pt x="159" y="89"/>
                    <a:pt x="172" y="85"/>
                    <a:pt x="172" y="85"/>
                  </a:cubicBezTo>
                  <a:cubicBezTo>
                    <a:pt x="176" y="96"/>
                    <a:pt x="177" y="140"/>
                    <a:pt x="172" y="152"/>
                  </a:cubicBezTo>
                  <a:cubicBezTo>
                    <a:pt x="167" y="164"/>
                    <a:pt x="148" y="153"/>
                    <a:pt x="143" y="158"/>
                  </a:cubicBezTo>
                  <a:cubicBezTo>
                    <a:pt x="142" y="170"/>
                    <a:pt x="135" y="173"/>
                    <a:pt x="142" y="184"/>
                  </a:cubicBezTo>
                  <a:cubicBezTo>
                    <a:pt x="140" y="213"/>
                    <a:pt x="148" y="219"/>
                    <a:pt x="124" y="215"/>
                  </a:cubicBezTo>
                  <a:cubicBezTo>
                    <a:pt x="117" y="211"/>
                    <a:pt x="100" y="215"/>
                    <a:pt x="100" y="215"/>
                  </a:cubicBezTo>
                  <a:cubicBezTo>
                    <a:pt x="91" y="220"/>
                    <a:pt x="95" y="210"/>
                    <a:pt x="88" y="205"/>
                  </a:cubicBezTo>
                  <a:cubicBezTo>
                    <a:pt x="85" y="197"/>
                    <a:pt x="72" y="188"/>
                    <a:pt x="65" y="184"/>
                  </a:cubicBezTo>
                  <a:cubicBezTo>
                    <a:pt x="61" y="177"/>
                    <a:pt x="52" y="177"/>
                    <a:pt x="44" y="175"/>
                  </a:cubicBezTo>
                  <a:cubicBezTo>
                    <a:pt x="39" y="171"/>
                    <a:pt x="39" y="167"/>
                    <a:pt x="32" y="166"/>
                  </a:cubicBezTo>
                  <a:cubicBezTo>
                    <a:pt x="24" y="162"/>
                    <a:pt x="14" y="162"/>
                    <a:pt x="5" y="160"/>
                  </a:cubicBezTo>
                  <a:cubicBezTo>
                    <a:pt x="3" y="151"/>
                    <a:pt x="0" y="148"/>
                    <a:pt x="10" y="143"/>
                  </a:cubicBezTo>
                  <a:cubicBezTo>
                    <a:pt x="14" y="137"/>
                    <a:pt x="19" y="134"/>
                    <a:pt x="22" y="127"/>
                  </a:cubicBezTo>
                  <a:cubicBezTo>
                    <a:pt x="23" y="120"/>
                    <a:pt x="28" y="114"/>
                    <a:pt x="31" y="107"/>
                  </a:cubicBezTo>
                  <a:cubicBezTo>
                    <a:pt x="32" y="101"/>
                    <a:pt x="32" y="97"/>
                    <a:pt x="29" y="91"/>
                  </a:cubicBezTo>
                  <a:cubicBezTo>
                    <a:pt x="28" y="82"/>
                    <a:pt x="25" y="70"/>
                    <a:pt x="28" y="61"/>
                  </a:cubicBezTo>
                  <a:cubicBezTo>
                    <a:pt x="29" y="58"/>
                    <a:pt x="35" y="52"/>
                    <a:pt x="34" y="5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5" name="Freeform 410"/>
            <p:cNvSpPr>
              <a:spLocks/>
            </p:cNvSpPr>
            <p:nvPr>
              <p:custDataLst>
                <p:tags r:id="rId140"/>
              </p:custDataLst>
            </p:nvPr>
          </p:nvSpPr>
          <p:spPr bwMode="gray">
            <a:xfrm>
              <a:off x="2705135" y="4502892"/>
              <a:ext cx="306150" cy="327188"/>
            </a:xfrm>
            <a:custGeom>
              <a:avLst/>
              <a:gdLst>
                <a:gd name="T0" fmla="*/ 0 w 185"/>
                <a:gd name="T1" fmla="*/ 25 h 203"/>
                <a:gd name="T2" fmla="*/ 26 w 185"/>
                <a:gd name="T3" fmla="*/ 21 h 203"/>
                <a:gd name="T4" fmla="*/ 41 w 185"/>
                <a:gd name="T5" fmla="*/ 18 h 203"/>
                <a:gd name="T6" fmla="*/ 46 w 185"/>
                <a:gd name="T7" fmla="*/ 13 h 203"/>
                <a:gd name="T8" fmla="*/ 60 w 185"/>
                <a:gd name="T9" fmla="*/ 3 h 203"/>
                <a:gd name="T10" fmla="*/ 71 w 185"/>
                <a:gd name="T11" fmla="*/ 33 h 203"/>
                <a:gd name="T12" fmla="*/ 86 w 185"/>
                <a:gd name="T13" fmla="*/ 52 h 203"/>
                <a:gd name="T14" fmla="*/ 105 w 185"/>
                <a:gd name="T15" fmla="*/ 61 h 203"/>
                <a:gd name="T16" fmla="*/ 123 w 185"/>
                <a:gd name="T17" fmla="*/ 61 h 203"/>
                <a:gd name="T18" fmla="*/ 138 w 185"/>
                <a:gd name="T19" fmla="*/ 69 h 203"/>
                <a:gd name="T20" fmla="*/ 143 w 185"/>
                <a:gd name="T21" fmla="*/ 99 h 203"/>
                <a:gd name="T22" fmla="*/ 161 w 185"/>
                <a:gd name="T23" fmla="*/ 102 h 203"/>
                <a:gd name="T24" fmla="*/ 170 w 185"/>
                <a:gd name="T25" fmla="*/ 106 h 203"/>
                <a:gd name="T26" fmla="*/ 183 w 185"/>
                <a:gd name="T27" fmla="*/ 133 h 203"/>
                <a:gd name="T28" fmla="*/ 174 w 185"/>
                <a:gd name="T29" fmla="*/ 160 h 203"/>
                <a:gd name="T30" fmla="*/ 119 w 185"/>
                <a:gd name="T31" fmla="*/ 163 h 203"/>
                <a:gd name="T32" fmla="*/ 101 w 185"/>
                <a:gd name="T33" fmla="*/ 198 h 203"/>
                <a:gd name="T34" fmla="*/ 79 w 185"/>
                <a:gd name="T35" fmla="*/ 196 h 203"/>
                <a:gd name="T36" fmla="*/ 58 w 185"/>
                <a:gd name="T37" fmla="*/ 195 h 203"/>
                <a:gd name="T38" fmla="*/ 44 w 185"/>
                <a:gd name="T39" fmla="*/ 196 h 203"/>
                <a:gd name="T40" fmla="*/ 21 w 185"/>
                <a:gd name="T41" fmla="*/ 186 h 203"/>
                <a:gd name="T42" fmla="*/ 17 w 185"/>
                <a:gd name="T43" fmla="*/ 172 h 203"/>
                <a:gd name="T44" fmla="*/ 15 w 185"/>
                <a:gd name="T45" fmla="*/ 137 h 203"/>
                <a:gd name="T46" fmla="*/ 9 w 185"/>
                <a:gd name="T47" fmla="*/ 117 h 203"/>
                <a:gd name="T48" fmla="*/ 12 w 185"/>
                <a:gd name="T49" fmla="*/ 91 h 203"/>
                <a:gd name="T50" fmla="*/ 15 w 185"/>
                <a:gd name="T51" fmla="*/ 66 h 203"/>
                <a:gd name="T52" fmla="*/ 15 w 185"/>
                <a:gd name="T53" fmla="*/ 45 h 203"/>
                <a:gd name="T54" fmla="*/ 8 w 185"/>
                <a:gd name="T55" fmla="*/ 3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85" h="203">
                  <a:moveTo>
                    <a:pt x="0" y="25"/>
                  </a:moveTo>
                  <a:cubicBezTo>
                    <a:pt x="11" y="24"/>
                    <a:pt x="16" y="23"/>
                    <a:pt x="26" y="21"/>
                  </a:cubicBezTo>
                  <a:cubicBezTo>
                    <a:pt x="31" y="20"/>
                    <a:pt x="41" y="18"/>
                    <a:pt x="41" y="18"/>
                  </a:cubicBezTo>
                  <a:cubicBezTo>
                    <a:pt x="44" y="17"/>
                    <a:pt x="43" y="15"/>
                    <a:pt x="46" y="13"/>
                  </a:cubicBezTo>
                  <a:cubicBezTo>
                    <a:pt x="49" y="11"/>
                    <a:pt x="56" y="0"/>
                    <a:pt x="60" y="3"/>
                  </a:cubicBezTo>
                  <a:cubicBezTo>
                    <a:pt x="64" y="6"/>
                    <a:pt x="67" y="25"/>
                    <a:pt x="71" y="33"/>
                  </a:cubicBezTo>
                  <a:cubicBezTo>
                    <a:pt x="75" y="41"/>
                    <a:pt x="80" y="47"/>
                    <a:pt x="86" y="52"/>
                  </a:cubicBezTo>
                  <a:cubicBezTo>
                    <a:pt x="95" y="57"/>
                    <a:pt x="95" y="60"/>
                    <a:pt x="105" y="61"/>
                  </a:cubicBezTo>
                  <a:cubicBezTo>
                    <a:pt x="111" y="63"/>
                    <a:pt x="118" y="60"/>
                    <a:pt x="123" y="61"/>
                  </a:cubicBezTo>
                  <a:cubicBezTo>
                    <a:pt x="128" y="62"/>
                    <a:pt x="135" y="63"/>
                    <a:pt x="138" y="69"/>
                  </a:cubicBezTo>
                  <a:cubicBezTo>
                    <a:pt x="142" y="76"/>
                    <a:pt x="136" y="96"/>
                    <a:pt x="143" y="99"/>
                  </a:cubicBezTo>
                  <a:cubicBezTo>
                    <a:pt x="149" y="101"/>
                    <a:pt x="161" y="102"/>
                    <a:pt x="161" y="102"/>
                  </a:cubicBezTo>
                  <a:cubicBezTo>
                    <a:pt x="164" y="104"/>
                    <a:pt x="168" y="104"/>
                    <a:pt x="170" y="106"/>
                  </a:cubicBezTo>
                  <a:cubicBezTo>
                    <a:pt x="174" y="111"/>
                    <a:pt x="182" y="124"/>
                    <a:pt x="183" y="133"/>
                  </a:cubicBezTo>
                  <a:cubicBezTo>
                    <a:pt x="184" y="142"/>
                    <a:pt x="185" y="155"/>
                    <a:pt x="174" y="160"/>
                  </a:cubicBezTo>
                  <a:cubicBezTo>
                    <a:pt x="158" y="159"/>
                    <a:pt x="132" y="153"/>
                    <a:pt x="119" y="163"/>
                  </a:cubicBezTo>
                  <a:cubicBezTo>
                    <a:pt x="114" y="176"/>
                    <a:pt x="114" y="192"/>
                    <a:pt x="101" y="198"/>
                  </a:cubicBezTo>
                  <a:cubicBezTo>
                    <a:pt x="94" y="203"/>
                    <a:pt x="88" y="196"/>
                    <a:pt x="79" y="196"/>
                  </a:cubicBezTo>
                  <a:cubicBezTo>
                    <a:pt x="72" y="196"/>
                    <a:pt x="64" y="195"/>
                    <a:pt x="58" y="195"/>
                  </a:cubicBezTo>
                  <a:cubicBezTo>
                    <a:pt x="52" y="195"/>
                    <a:pt x="50" y="197"/>
                    <a:pt x="44" y="196"/>
                  </a:cubicBezTo>
                  <a:cubicBezTo>
                    <a:pt x="34" y="194"/>
                    <a:pt x="26" y="190"/>
                    <a:pt x="21" y="186"/>
                  </a:cubicBezTo>
                  <a:cubicBezTo>
                    <a:pt x="20" y="181"/>
                    <a:pt x="18" y="177"/>
                    <a:pt x="17" y="172"/>
                  </a:cubicBezTo>
                  <a:cubicBezTo>
                    <a:pt x="16" y="164"/>
                    <a:pt x="16" y="146"/>
                    <a:pt x="15" y="137"/>
                  </a:cubicBezTo>
                  <a:cubicBezTo>
                    <a:pt x="14" y="128"/>
                    <a:pt x="9" y="125"/>
                    <a:pt x="9" y="117"/>
                  </a:cubicBezTo>
                  <a:cubicBezTo>
                    <a:pt x="8" y="105"/>
                    <a:pt x="11" y="99"/>
                    <a:pt x="12" y="91"/>
                  </a:cubicBezTo>
                  <a:cubicBezTo>
                    <a:pt x="13" y="83"/>
                    <a:pt x="15" y="74"/>
                    <a:pt x="15" y="66"/>
                  </a:cubicBezTo>
                  <a:cubicBezTo>
                    <a:pt x="15" y="54"/>
                    <a:pt x="16" y="51"/>
                    <a:pt x="15" y="45"/>
                  </a:cubicBezTo>
                  <a:cubicBezTo>
                    <a:pt x="14" y="39"/>
                    <a:pt x="9" y="34"/>
                    <a:pt x="8" y="3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6" name="Freeform 411"/>
            <p:cNvSpPr>
              <a:spLocks/>
            </p:cNvSpPr>
            <p:nvPr>
              <p:custDataLst>
                <p:tags r:id="rId141"/>
              </p:custDataLst>
            </p:nvPr>
          </p:nvSpPr>
          <p:spPr bwMode="gray">
            <a:xfrm>
              <a:off x="2612803" y="4167605"/>
              <a:ext cx="965425" cy="976707"/>
            </a:xfrm>
            <a:custGeom>
              <a:avLst/>
              <a:gdLst>
                <a:gd name="T0" fmla="*/ 313 w 584"/>
                <a:gd name="T1" fmla="*/ 582 h 604"/>
                <a:gd name="T2" fmla="*/ 346 w 584"/>
                <a:gd name="T3" fmla="*/ 550 h 604"/>
                <a:gd name="T4" fmla="*/ 376 w 584"/>
                <a:gd name="T5" fmla="*/ 502 h 604"/>
                <a:gd name="T6" fmla="*/ 400 w 584"/>
                <a:gd name="T7" fmla="*/ 442 h 604"/>
                <a:gd name="T8" fmla="*/ 445 w 584"/>
                <a:gd name="T9" fmla="*/ 418 h 604"/>
                <a:gd name="T10" fmla="*/ 487 w 584"/>
                <a:gd name="T11" fmla="*/ 399 h 604"/>
                <a:gd name="T12" fmla="*/ 508 w 584"/>
                <a:gd name="T13" fmla="*/ 345 h 604"/>
                <a:gd name="T14" fmla="*/ 518 w 584"/>
                <a:gd name="T15" fmla="*/ 315 h 604"/>
                <a:gd name="T16" fmla="*/ 550 w 584"/>
                <a:gd name="T17" fmla="*/ 235 h 604"/>
                <a:gd name="T18" fmla="*/ 575 w 584"/>
                <a:gd name="T19" fmla="*/ 189 h 604"/>
                <a:gd name="T20" fmla="*/ 515 w 584"/>
                <a:gd name="T21" fmla="*/ 123 h 604"/>
                <a:gd name="T22" fmla="*/ 446 w 584"/>
                <a:gd name="T23" fmla="*/ 105 h 604"/>
                <a:gd name="T24" fmla="*/ 371 w 584"/>
                <a:gd name="T25" fmla="*/ 75 h 604"/>
                <a:gd name="T26" fmla="*/ 346 w 584"/>
                <a:gd name="T27" fmla="*/ 45 h 604"/>
                <a:gd name="T28" fmla="*/ 331 w 584"/>
                <a:gd name="T29" fmla="*/ 10 h 604"/>
                <a:gd name="T30" fmla="*/ 305 w 584"/>
                <a:gd name="T31" fmla="*/ 27 h 604"/>
                <a:gd name="T32" fmla="*/ 274 w 584"/>
                <a:gd name="T33" fmla="*/ 28 h 604"/>
                <a:gd name="T34" fmla="*/ 238 w 584"/>
                <a:gd name="T35" fmla="*/ 43 h 604"/>
                <a:gd name="T36" fmla="*/ 208 w 584"/>
                <a:gd name="T37" fmla="*/ 33 h 604"/>
                <a:gd name="T38" fmla="*/ 191 w 584"/>
                <a:gd name="T39" fmla="*/ 0 h 604"/>
                <a:gd name="T40" fmla="*/ 143 w 584"/>
                <a:gd name="T41" fmla="*/ 12 h 604"/>
                <a:gd name="T42" fmla="*/ 140 w 584"/>
                <a:gd name="T43" fmla="*/ 45 h 604"/>
                <a:gd name="T44" fmla="*/ 113 w 584"/>
                <a:gd name="T45" fmla="*/ 55 h 604"/>
                <a:gd name="T46" fmla="*/ 59 w 584"/>
                <a:gd name="T47" fmla="*/ 54 h 604"/>
                <a:gd name="T48" fmla="*/ 56 w 584"/>
                <a:gd name="T49" fmla="*/ 121 h 604"/>
                <a:gd name="T50" fmla="*/ 17 w 584"/>
                <a:gd name="T51" fmla="*/ 141 h 604"/>
                <a:gd name="T52" fmla="*/ 4 w 584"/>
                <a:gd name="T53" fmla="*/ 177 h 604"/>
                <a:gd name="T54" fmla="*/ 31 w 584"/>
                <a:gd name="T55" fmla="*/ 216 h 604"/>
                <a:gd name="T56" fmla="*/ 91 w 584"/>
                <a:gd name="T57" fmla="*/ 229 h 604"/>
                <a:gd name="T58" fmla="*/ 121 w 584"/>
                <a:gd name="T59" fmla="*/ 216 h 604"/>
                <a:gd name="T60" fmla="*/ 157 w 584"/>
                <a:gd name="T61" fmla="*/ 267 h 604"/>
                <a:gd name="T62" fmla="*/ 184 w 584"/>
                <a:gd name="T63" fmla="*/ 268 h 604"/>
                <a:gd name="T64" fmla="*/ 221 w 584"/>
                <a:gd name="T65" fmla="*/ 312 h 604"/>
                <a:gd name="T66" fmla="*/ 235 w 584"/>
                <a:gd name="T67" fmla="*/ 330 h 604"/>
                <a:gd name="T68" fmla="*/ 232 w 584"/>
                <a:gd name="T69" fmla="*/ 369 h 604"/>
                <a:gd name="T70" fmla="*/ 275 w 584"/>
                <a:gd name="T71" fmla="*/ 412 h 604"/>
                <a:gd name="T72" fmla="*/ 281 w 584"/>
                <a:gd name="T73" fmla="*/ 430 h 604"/>
                <a:gd name="T74" fmla="*/ 298 w 584"/>
                <a:gd name="T75" fmla="*/ 450 h 604"/>
                <a:gd name="T76" fmla="*/ 256 w 584"/>
                <a:gd name="T77" fmla="*/ 517 h 604"/>
                <a:gd name="T78" fmla="*/ 289 w 584"/>
                <a:gd name="T79" fmla="*/ 564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584" h="604">
                  <a:moveTo>
                    <a:pt x="305" y="604"/>
                  </a:moveTo>
                  <a:cubicBezTo>
                    <a:pt x="310" y="598"/>
                    <a:pt x="310" y="589"/>
                    <a:pt x="313" y="582"/>
                  </a:cubicBezTo>
                  <a:cubicBezTo>
                    <a:pt x="315" y="571"/>
                    <a:pt x="324" y="571"/>
                    <a:pt x="334" y="570"/>
                  </a:cubicBezTo>
                  <a:cubicBezTo>
                    <a:pt x="341" y="565"/>
                    <a:pt x="341" y="557"/>
                    <a:pt x="346" y="550"/>
                  </a:cubicBezTo>
                  <a:cubicBezTo>
                    <a:pt x="346" y="543"/>
                    <a:pt x="349" y="541"/>
                    <a:pt x="350" y="534"/>
                  </a:cubicBezTo>
                  <a:cubicBezTo>
                    <a:pt x="352" y="519"/>
                    <a:pt x="371" y="515"/>
                    <a:pt x="376" y="502"/>
                  </a:cubicBezTo>
                  <a:cubicBezTo>
                    <a:pt x="374" y="482"/>
                    <a:pt x="372" y="466"/>
                    <a:pt x="388" y="453"/>
                  </a:cubicBezTo>
                  <a:cubicBezTo>
                    <a:pt x="391" y="447"/>
                    <a:pt x="394" y="445"/>
                    <a:pt x="400" y="442"/>
                  </a:cubicBezTo>
                  <a:cubicBezTo>
                    <a:pt x="405" y="437"/>
                    <a:pt x="415" y="433"/>
                    <a:pt x="422" y="429"/>
                  </a:cubicBezTo>
                  <a:cubicBezTo>
                    <a:pt x="429" y="425"/>
                    <a:pt x="437" y="419"/>
                    <a:pt x="445" y="418"/>
                  </a:cubicBezTo>
                  <a:cubicBezTo>
                    <a:pt x="453" y="417"/>
                    <a:pt x="462" y="428"/>
                    <a:pt x="469" y="424"/>
                  </a:cubicBezTo>
                  <a:cubicBezTo>
                    <a:pt x="471" y="413"/>
                    <a:pt x="478" y="405"/>
                    <a:pt x="487" y="399"/>
                  </a:cubicBezTo>
                  <a:cubicBezTo>
                    <a:pt x="490" y="394"/>
                    <a:pt x="493" y="391"/>
                    <a:pt x="494" y="385"/>
                  </a:cubicBezTo>
                  <a:cubicBezTo>
                    <a:pt x="496" y="368"/>
                    <a:pt x="494" y="355"/>
                    <a:pt x="508" y="345"/>
                  </a:cubicBezTo>
                  <a:cubicBezTo>
                    <a:pt x="510" y="336"/>
                    <a:pt x="516" y="332"/>
                    <a:pt x="523" y="328"/>
                  </a:cubicBezTo>
                  <a:cubicBezTo>
                    <a:pt x="528" y="321"/>
                    <a:pt x="522" y="321"/>
                    <a:pt x="518" y="315"/>
                  </a:cubicBezTo>
                  <a:cubicBezTo>
                    <a:pt x="515" y="298"/>
                    <a:pt x="507" y="272"/>
                    <a:pt x="523" y="262"/>
                  </a:cubicBezTo>
                  <a:cubicBezTo>
                    <a:pt x="532" y="249"/>
                    <a:pt x="535" y="244"/>
                    <a:pt x="550" y="235"/>
                  </a:cubicBezTo>
                  <a:cubicBezTo>
                    <a:pt x="553" y="231"/>
                    <a:pt x="556" y="226"/>
                    <a:pt x="559" y="222"/>
                  </a:cubicBezTo>
                  <a:cubicBezTo>
                    <a:pt x="560" y="214"/>
                    <a:pt x="565" y="191"/>
                    <a:pt x="575" y="189"/>
                  </a:cubicBezTo>
                  <a:cubicBezTo>
                    <a:pt x="584" y="174"/>
                    <a:pt x="576" y="151"/>
                    <a:pt x="556" y="145"/>
                  </a:cubicBezTo>
                  <a:cubicBezTo>
                    <a:pt x="542" y="137"/>
                    <a:pt x="531" y="126"/>
                    <a:pt x="515" y="123"/>
                  </a:cubicBezTo>
                  <a:cubicBezTo>
                    <a:pt x="492" y="111"/>
                    <a:pt x="498" y="112"/>
                    <a:pt x="460" y="111"/>
                  </a:cubicBezTo>
                  <a:cubicBezTo>
                    <a:pt x="455" y="109"/>
                    <a:pt x="452" y="106"/>
                    <a:pt x="446" y="105"/>
                  </a:cubicBezTo>
                  <a:cubicBezTo>
                    <a:pt x="440" y="102"/>
                    <a:pt x="435" y="97"/>
                    <a:pt x="428" y="96"/>
                  </a:cubicBezTo>
                  <a:cubicBezTo>
                    <a:pt x="413" y="77"/>
                    <a:pt x="397" y="76"/>
                    <a:pt x="371" y="75"/>
                  </a:cubicBezTo>
                  <a:cubicBezTo>
                    <a:pt x="363" y="69"/>
                    <a:pt x="358" y="67"/>
                    <a:pt x="353" y="57"/>
                  </a:cubicBezTo>
                  <a:cubicBezTo>
                    <a:pt x="352" y="51"/>
                    <a:pt x="351" y="49"/>
                    <a:pt x="346" y="45"/>
                  </a:cubicBezTo>
                  <a:cubicBezTo>
                    <a:pt x="343" y="37"/>
                    <a:pt x="336" y="32"/>
                    <a:pt x="332" y="24"/>
                  </a:cubicBezTo>
                  <a:cubicBezTo>
                    <a:pt x="332" y="19"/>
                    <a:pt x="333" y="14"/>
                    <a:pt x="331" y="10"/>
                  </a:cubicBezTo>
                  <a:cubicBezTo>
                    <a:pt x="331" y="9"/>
                    <a:pt x="326" y="19"/>
                    <a:pt x="326" y="19"/>
                  </a:cubicBezTo>
                  <a:cubicBezTo>
                    <a:pt x="323" y="25"/>
                    <a:pt x="311" y="24"/>
                    <a:pt x="305" y="27"/>
                  </a:cubicBezTo>
                  <a:cubicBezTo>
                    <a:pt x="299" y="29"/>
                    <a:pt x="294" y="27"/>
                    <a:pt x="289" y="27"/>
                  </a:cubicBezTo>
                  <a:cubicBezTo>
                    <a:pt x="284" y="27"/>
                    <a:pt x="281" y="27"/>
                    <a:pt x="274" y="28"/>
                  </a:cubicBezTo>
                  <a:cubicBezTo>
                    <a:pt x="267" y="29"/>
                    <a:pt x="254" y="34"/>
                    <a:pt x="248" y="36"/>
                  </a:cubicBezTo>
                  <a:cubicBezTo>
                    <a:pt x="243" y="40"/>
                    <a:pt x="244" y="42"/>
                    <a:pt x="238" y="43"/>
                  </a:cubicBezTo>
                  <a:cubicBezTo>
                    <a:pt x="233" y="45"/>
                    <a:pt x="225" y="49"/>
                    <a:pt x="220" y="51"/>
                  </a:cubicBezTo>
                  <a:cubicBezTo>
                    <a:pt x="214" y="45"/>
                    <a:pt x="215" y="38"/>
                    <a:pt x="208" y="33"/>
                  </a:cubicBezTo>
                  <a:cubicBezTo>
                    <a:pt x="205" y="26"/>
                    <a:pt x="208" y="17"/>
                    <a:pt x="205" y="12"/>
                  </a:cubicBezTo>
                  <a:cubicBezTo>
                    <a:pt x="202" y="7"/>
                    <a:pt x="196" y="1"/>
                    <a:pt x="191" y="0"/>
                  </a:cubicBezTo>
                  <a:cubicBezTo>
                    <a:pt x="184" y="1"/>
                    <a:pt x="182" y="4"/>
                    <a:pt x="176" y="7"/>
                  </a:cubicBezTo>
                  <a:cubicBezTo>
                    <a:pt x="166" y="11"/>
                    <a:pt x="152" y="11"/>
                    <a:pt x="143" y="12"/>
                  </a:cubicBezTo>
                  <a:cubicBezTo>
                    <a:pt x="137" y="15"/>
                    <a:pt x="143" y="25"/>
                    <a:pt x="143" y="30"/>
                  </a:cubicBezTo>
                  <a:cubicBezTo>
                    <a:pt x="143" y="35"/>
                    <a:pt x="142" y="41"/>
                    <a:pt x="140" y="45"/>
                  </a:cubicBezTo>
                  <a:cubicBezTo>
                    <a:pt x="138" y="49"/>
                    <a:pt x="132" y="50"/>
                    <a:pt x="128" y="52"/>
                  </a:cubicBezTo>
                  <a:cubicBezTo>
                    <a:pt x="122" y="57"/>
                    <a:pt x="120" y="57"/>
                    <a:pt x="113" y="55"/>
                  </a:cubicBezTo>
                  <a:cubicBezTo>
                    <a:pt x="108" y="51"/>
                    <a:pt x="103" y="49"/>
                    <a:pt x="98" y="46"/>
                  </a:cubicBezTo>
                  <a:cubicBezTo>
                    <a:pt x="66" y="48"/>
                    <a:pt x="75" y="44"/>
                    <a:pt x="59" y="54"/>
                  </a:cubicBezTo>
                  <a:cubicBezTo>
                    <a:pt x="53" y="61"/>
                    <a:pt x="59" y="77"/>
                    <a:pt x="59" y="88"/>
                  </a:cubicBezTo>
                  <a:cubicBezTo>
                    <a:pt x="59" y="99"/>
                    <a:pt x="60" y="114"/>
                    <a:pt x="56" y="121"/>
                  </a:cubicBezTo>
                  <a:cubicBezTo>
                    <a:pt x="53" y="136"/>
                    <a:pt x="40" y="129"/>
                    <a:pt x="35" y="133"/>
                  </a:cubicBezTo>
                  <a:cubicBezTo>
                    <a:pt x="29" y="136"/>
                    <a:pt x="21" y="137"/>
                    <a:pt x="17" y="141"/>
                  </a:cubicBezTo>
                  <a:cubicBezTo>
                    <a:pt x="13" y="146"/>
                    <a:pt x="11" y="150"/>
                    <a:pt x="10" y="156"/>
                  </a:cubicBezTo>
                  <a:cubicBezTo>
                    <a:pt x="8" y="162"/>
                    <a:pt x="5" y="170"/>
                    <a:pt x="4" y="177"/>
                  </a:cubicBezTo>
                  <a:cubicBezTo>
                    <a:pt x="3" y="183"/>
                    <a:pt x="0" y="193"/>
                    <a:pt x="5" y="199"/>
                  </a:cubicBezTo>
                  <a:cubicBezTo>
                    <a:pt x="9" y="205"/>
                    <a:pt x="23" y="211"/>
                    <a:pt x="31" y="216"/>
                  </a:cubicBezTo>
                  <a:cubicBezTo>
                    <a:pt x="38" y="221"/>
                    <a:pt x="44" y="229"/>
                    <a:pt x="53" y="231"/>
                  </a:cubicBezTo>
                  <a:cubicBezTo>
                    <a:pt x="64" y="230"/>
                    <a:pt x="81" y="231"/>
                    <a:pt x="91" y="229"/>
                  </a:cubicBezTo>
                  <a:cubicBezTo>
                    <a:pt x="100" y="224"/>
                    <a:pt x="99" y="214"/>
                    <a:pt x="109" y="213"/>
                  </a:cubicBezTo>
                  <a:cubicBezTo>
                    <a:pt x="111" y="213"/>
                    <a:pt x="119" y="212"/>
                    <a:pt x="121" y="216"/>
                  </a:cubicBezTo>
                  <a:cubicBezTo>
                    <a:pt x="127" y="226"/>
                    <a:pt x="125" y="245"/>
                    <a:pt x="136" y="252"/>
                  </a:cubicBezTo>
                  <a:cubicBezTo>
                    <a:pt x="141" y="260"/>
                    <a:pt x="151" y="264"/>
                    <a:pt x="157" y="267"/>
                  </a:cubicBezTo>
                  <a:cubicBezTo>
                    <a:pt x="163" y="270"/>
                    <a:pt x="168" y="268"/>
                    <a:pt x="172" y="268"/>
                  </a:cubicBezTo>
                  <a:cubicBezTo>
                    <a:pt x="176" y="270"/>
                    <a:pt x="180" y="266"/>
                    <a:pt x="184" y="268"/>
                  </a:cubicBezTo>
                  <a:cubicBezTo>
                    <a:pt x="188" y="270"/>
                    <a:pt x="193" y="277"/>
                    <a:pt x="193" y="277"/>
                  </a:cubicBezTo>
                  <a:cubicBezTo>
                    <a:pt x="195" y="313"/>
                    <a:pt x="189" y="309"/>
                    <a:pt x="221" y="312"/>
                  </a:cubicBezTo>
                  <a:cubicBezTo>
                    <a:pt x="228" y="320"/>
                    <a:pt x="230" y="321"/>
                    <a:pt x="232" y="324"/>
                  </a:cubicBezTo>
                  <a:cubicBezTo>
                    <a:pt x="234" y="327"/>
                    <a:pt x="234" y="324"/>
                    <a:pt x="235" y="330"/>
                  </a:cubicBezTo>
                  <a:cubicBezTo>
                    <a:pt x="238" y="337"/>
                    <a:pt x="236" y="352"/>
                    <a:pt x="236" y="358"/>
                  </a:cubicBezTo>
                  <a:cubicBezTo>
                    <a:pt x="236" y="364"/>
                    <a:pt x="231" y="361"/>
                    <a:pt x="232" y="369"/>
                  </a:cubicBezTo>
                  <a:cubicBezTo>
                    <a:pt x="234" y="400"/>
                    <a:pt x="224" y="406"/>
                    <a:pt x="245" y="409"/>
                  </a:cubicBezTo>
                  <a:cubicBezTo>
                    <a:pt x="254" y="413"/>
                    <a:pt x="266" y="407"/>
                    <a:pt x="275" y="412"/>
                  </a:cubicBezTo>
                  <a:cubicBezTo>
                    <a:pt x="279" y="415"/>
                    <a:pt x="275" y="422"/>
                    <a:pt x="277" y="427"/>
                  </a:cubicBezTo>
                  <a:cubicBezTo>
                    <a:pt x="278" y="429"/>
                    <a:pt x="279" y="429"/>
                    <a:pt x="281" y="430"/>
                  </a:cubicBezTo>
                  <a:cubicBezTo>
                    <a:pt x="284" y="431"/>
                    <a:pt x="286" y="431"/>
                    <a:pt x="289" y="432"/>
                  </a:cubicBezTo>
                  <a:cubicBezTo>
                    <a:pt x="290" y="435"/>
                    <a:pt x="298" y="442"/>
                    <a:pt x="298" y="450"/>
                  </a:cubicBezTo>
                  <a:cubicBezTo>
                    <a:pt x="298" y="458"/>
                    <a:pt x="294" y="467"/>
                    <a:pt x="287" y="478"/>
                  </a:cubicBezTo>
                  <a:cubicBezTo>
                    <a:pt x="281" y="486"/>
                    <a:pt x="264" y="506"/>
                    <a:pt x="256" y="517"/>
                  </a:cubicBezTo>
                  <a:cubicBezTo>
                    <a:pt x="255" y="523"/>
                    <a:pt x="250" y="526"/>
                    <a:pt x="253" y="532"/>
                  </a:cubicBezTo>
                  <a:cubicBezTo>
                    <a:pt x="254" y="535"/>
                    <a:pt x="284" y="561"/>
                    <a:pt x="289" y="564"/>
                  </a:cubicBezTo>
                  <a:cubicBezTo>
                    <a:pt x="293" y="569"/>
                    <a:pt x="298" y="572"/>
                    <a:pt x="302" y="577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7" name="Freeform 412"/>
            <p:cNvSpPr>
              <a:spLocks/>
            </p:cNvSpPr>
            <p:nvPr>
              <p:custDataLst>
                <p:tags r:id="rId142"/>
              </p:custDataLst>
            </p:nvPr>
          </p:nvSpPr>
          <p:spPr bwMode="gray">
            <a:xfrm>
              <a:off x="2418423" y="4271268"/>
              <a:ext cx="314249" cy="453529"/>
            </a:xfrm>
            <a:custGeom>
              <a:avLst/>
              <a:gdLst>
                <a:gd name="T0" fmla="*/ 20 w 189"/>
                <a:gd name="T1" fmla="*/ 66 h 280"/>
                <a:gd name="T2" fmla="*/ 17 w 189"/>
                <a:gd name="T3" fmla="*/ 98 h 280"/>
                <a:gd name="T4" fmla="*/ 31 w 189"/>
                <a:gd name="T5" fmla="*/ 113 h 280"/>
                <a:gd name="T6" fmla="*/ 40 w 189"/>
                <a:gd name="T7" fmla="*/ 126 h 280"/>
                <a:gd name="T8" fmla="*/ 52 w 189"/>
                <a:gd name="T9" fmla="*/ 156 h 280"/>
                <a:gd name="T10" fmla="*/ 58 w 189"/>
                <a:gd name="T11" fmla="*/ 177 h 280"/>
                <a:gd name="T12" fmla="*/ 79 w 189"/>
                <a:gd name="T13" fmla="*/ 195 h 280"/>
                <a:gd name="T14" fmla="*/ 85 w 189"/>
                <a:gd name="T15" fmla="*/ 213 h 280"/>
                <a:gd name="T16" fmla="*/ 109 w 189"/>
                <a:gd name="T17" fmla="*/ 240 h 280"/>
                <a:gd name="T18" fmla="*/ 124 w 189"/>
                <a:gd name="T19" fmla="*/ 246 h 280"/>
                <a:gd name="T20" fmla="*/ 148 w 189"/>
                <a:gd name="T21" fmla="*/ 258 h 280"/>
                <a:gd name="T22" fmla="*/ 163 w 189"/>
                <a:gd name="T23" fmla="*/ 270 h 280"/>
                <a:gd name="T24" fmla="*/ 182 w 189"/>
                <a:gd name="T25" fmla="*/ 255 h 280"/>
                <a:gd name="T26" fmla="*/ 187 w 189"/>
                <a:gd name="T27" fmla="*/ 185 h 280"/>
                <a:gd name="T28" fmla="*/ 167 w 189"/>
                <a:gd name="T29" fmla="*/ 168 h 280"/>
                <a:gd name="T30" fmla="*/ 142 w 189"/>
                <a:gd name="T31" fmla="*/ 150 h 280"/>
                <a:gd name="T32" fmla="*/ 130 w 189"/>
                <a:gd name="T33" fmla="*/ 143 h 280"/>
                <a:gd name="T34" fmla="*/ 119 w 189"/>
                <a:gd name="T35" fmla="*/ 129 h 280"/>
                <a:gd name="T36" fmla="*/ 127 w 189"/>
                <a:gd name="T37" fmla="*/ 96 h 280"/>
                <a:gd name="T38" fmla="*/ 142 w 189"/>
                <a:gd name="T39" fmla="*/ 74 h 280"/>
                <a:gd name="T40" fmla="*/ 163 w 189"/>
                <a:gd name="T41" fmla="*/ 68 h 280"/>
                <a:gd name="T42" fmla="*/ 175 w 189"/>
                <a:gd name="T43" fmla="*/ 53 h 280"/>
                <a:gd name="T44" fmla="*/ 136 w 189"/>
                <a:gd name="T45" fmla="*/ 42 h 280"/>
                <a:gd name="T46" fmla="*/ 104 w 189"/>
                <a:gd name="T47" fmla="*/ 12 h 280"/>
                <a:gd name="T48" fmla="*/ 82 w 189"/>
                <a:gd name="T49" fmla="*/ 0 h 280"/>
                <a:gd name="T50" fmla="*/ 94 w 189"/>
                <a:gd name="T51" fmla="*/ 21 h 280"/>
                <a:gd name="T52" fmla="*/ 80 w 189"/>
                <a:gd name="T53" fmla="*/ 39 h 280"/>
                <a:gd name="T54" fmla="*/ 62 w 189"/>
                <a:gd name="T55" fmla="*/ 44 h 280"/>
                <a:gd name="T56" fmla="*/ 50 w 189"/>
                <a:gd name="T57" fmla="*/ 54 h 280"/>
                <a:gd name="T58" fmla="*/ 38 w 189"/>
                <a:gd name="T59" fmla="*/ 78 h 280"/>
                <a:gd name="T60" fmla="*/ 14 w 189"/>
                <a:gd name="T61" fmla="*/ 66 h 280"/>
                <a:gd name="T62" fmla="*/ 20 w 189"/>
                <a:gd name="T63" fmla="*/ 66 h 2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9" h="280">
                  <a:moveTo>
                    <a:pt x="20" y="66"/>
                  </a:moveTo>
                  <a:cubicBezTo>
                    <a:pt x="0" y="56"/>
                    <a:pt x="6" y="92"/>
                    <a:pt x="17" y="98"/>
                  </a:cubicBezTo>
                  <a:cubicBezTo>
                    <a:pt x="21" y="103"/>
                    <a:pt x="26" y="110"/>
                    <a:pt x="31" y="113"/>
                  </a:cubicBezTo>
                  <a:cubicBezTo>
                    <a:pt x="39" y="123"/>
                    <a:pt x="36" y="119"/>
                    <a:pt x="40" y="126"/>
                  </a:cubicBezTo>
                  <a:cubicBezTo>
                    <a:pt x="42" y="138"/>
                    <a:pt x="43" y="147"/>
                    <a:pt x="52" y="156"/>
                  </a:cubicBezTo>
                  <a:cubicBezTo>
                    <a:pt x="53" y="166"/>
                    <a:pt x="52" y="170"/>
                    <a:pt x="58" y="177"/>
                  </a:cubicBezTo>
                  <a:cubicBezTo>
                    <a:pt x="60" y="190"/>
                    <a:pt x="66" y="193"/>
                    <a:pt x="79" y="195"/>
                  </a:cubicBezTo>
                  <a:cubicBezTo>
                    <a:pt x="80" y="201"/>
                    <a:pt x="82" y="207"/>
                    <a:pt x="85" y="213"/>
                  </a:cubicBezTo>
                  <a:cubicBezTo>
                    <a:pt x="87" y="227"/>
                    <a:pt x="95" y="237"/>
                    <a:pt x="109" y="240"/>
                  </a:cubicBezTo>
                  <a:cubicBezTo>
                    <a:pt x="114" y="244"/>
                    <a:pt x="118" y="245"/>
                    <a:pt x="124" y="246"/>
                  </a:cubicBezTo>
                  <a:cubicBezTo>
                    <a:pt x="130" y="251"/>
                    <a:pt x="140" y="256"/>
                    <a:pt x="148" y="258"/>
                  </a:cubicBezTo>
                  <a:cubicBezTo>
                    <a:pt x="155" y="263"/>
                    <a:pt x="154" y="268"/>
                    <a:pt x="163" y="270"/>
                  </a:cubicBezTo>
                  <a:cubicBezTo>
                    <a:pt x="176" y="280"/>
                    <a:pt x="180" y="265"/>
                    <a:pt x="182" y="255"/>
                  </a:cubicBezTo>
                  <a:cubicBezTo>
                    <a:pt x="186" y="241"/>
                    <a:pt x="189" y="199"/>
                    <a:pt x="187" y="185"/>
                  </a:cubicBezTo>
                  <a:cubicBezTo>
                    <a:pt x="185" y="171"/>
                    <a:pt x="174" y="174"/>
                    <a:pt x="167" y="168"/>
                  </a:cubicBezTo>
                  <a:cubicBezTo>
                    <a:pt x="160" y="151"/>
                    <a:pt x="150" y="157"/>
                    <a:pt x="142" y="150"/>
                  </a:cubicBezTo>
                  <a:cubicBezTo>
                    <a:pt x="136" y="145"/>
                    <a:pt x="134" y="146"/>
                    <a:pt x="130" y="143"/>
                  </a:cubicBezTo>
                  <a:cubicBezTo>
                    <a:pt x="126" y="140"/>
                    <a:pt x="119" y="137"/>
                    <a:pt x="119" y="129"/>
                  </a:cubicBezTo>
                  <a:cubicBezTo>
                    <a:pt x="117" y="115"/>
                    <a:pt x="120" y="108"/>
                    <a:pt x="127" y="96"/>
                  </a:cubicBezTo>
                  <a:cubicBezTo>
                    <a:pt x="128" y="83"/>
                    <a:pt x="128" y="76"/>
                    <a:pt x="142" y="74"/>
                  </a:cubicBezTo>
                  <a:cubicBezTo>
                    <a:pt x="149" y="72"/>
                    <a:pt x="156" y="69"/>
                    <a:pt x="163" y="68"/>
                  </a:cubicBezTo>
                  <a:cubicBezTo>
                    <a:pt x="169" y="65"/>
                    <a:pt x="172" y="59"/>
                    <a:pt x="175" y="53"/>
                  </a:cubicBezTo>
                  <a:cubicBezTo>
                    <a:pt x="169" y="38"/>
                    <a:pt x="149" y="43"/>
                    <a:pt x="136" y="42"/>
                  </a:cubicBezTo>
                  <a:cubicBezTo>
                    <a:pt x="124" y="35"/>
                    <a:pt x="117" y="20"/>
                    <a:pt x="104" y="12"/>
                  </a:cubicBezTo>
                  <a:cubicBezTo>
                    <a:pt x="100" y="7"/>
                    <a:pt x="87" y="4"/>
                    <a:pt x="82" y="0"/>
                  </a:cubicBezTo>
                  <a:cubicBezTo>
                    <a:pt x="79" y="2"/>
                    <a:pt x="94" y="15"/>
                    <a:pt x="94" y="21"/>
                  </a:cubicBezTo>
                  <a:cubicBezTo>
                    <a:pt x="94" y="27"/>
                    <a:pt x="85" y="35"/>
                    <a:pt x="80" y="39"/>
                  </a:cubicBezTo>
                  <a:cubicBezTo>
                    <a:pt x="74" y="42"/>
                    <a:pt x="68" y="42"/>
                    <a:pt x="62" y="44"/>
                  </a:cubicBezTo>
                  <a:cubicBezTo>
                    <a:pt x="57" y="47"/>
                    <a:pt x="55" y="51"/>
                    <a:pt x="50" y="54"/>
                  </a:cubicBezTo>
                  <a:cubicBezTo>
                    <a:pt x="48" y="62"/>
                    <a:pt x="45" y="77"/>
                    <a:pt x="38" y="78"/>
                  </a:cubicBezTo>
                  <a:cubicBezTo>
                    <a:pt x="35" y="77"/>
                    <a:pt x="14" y="67"/>
                    <a:pt x="14" y="66"/>
                  </a:cubicBezTo>
                  <a:cubicBezTo>
                    <a:pt x="15" y="64"/>
                    <a:pt x="18" y="66"/>
                    <a:pt x="20" y="66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8" name="Freeform 413"/>
            <p:cNvSpPr>
              <a:spLocks/>
            </p:cNvSpPr>
            <p:nvPr>
              <p:custDataLst>
                <p:tags r:id="rId143"/>
              </p:custDataLst>
            </p:nvPr>
          </p:nvSpPr>
          <p:spPr bwMode="gray">
            <a:xfrm>
              <a:off x="2431381" y="4251831"/>
              <a:ext cx="137687" cy="150637"/>
            </a:xfrm>
            <a:custGeom>
              <a:avLst/>
              <a:gdLst>
                <a:gd name="T0" fmla="*/ 30 w 84"/>
                <a:gd name="T1" fmla="*/ 0 h 94"/>
                <a:gd name="T2" fmla="*/ 12 w 84"/>
                <a:gd name="T3" fmla="*/ 18 h 94"/>
                <a:gd name="T4" fmla="*/ 4 w 84"/>
                <a:gd name="T5" fmla="*/ 38 h 94"/>
                <a:gd name="T6" fmla="*/ 19 w 84"/>
                <a:gd name="T7" fmla="*/ 51 h 94"/>
                <a:gd name="T8" fmla="*/ 16 w 84"/>
                <a:gd name="T9" fmla="*/ 74 h 94"/>
                <a:gd name="T10" fmla="*/ 19 w 84"/>
                <a:gd name="T11" fmla="*/ 84 h 94"/>
                <a:gd name="T12" fmla="*/ 36 w 84"/>
                <a:gd name="T13" fmla="*/ 87 h 94"/>
                <a:gd name="T14" fmla="*/ 42 w 84"/>
                <a:gd name="T15" fmla="*/ 72 h 94"/>
                <a:gd name="T16" fmla="*/ 72 w 84"/>
                <a:gd name="T17" fmla="*/ 50 h 94"/>
                <a:gd name="T18" fmla="*/ 84 w 84"/>
                <a:gd name="T19" fmla="*/ 35 h 94"/>
                <a:gd name="T20" fmla="*/ 51 w 84"/>
                <a:gd name="T21" fmla="*/ 0 h 94"/>
                <a:gd name="T22" fmla="*/ 30 w 84"/>
                <a:gd name="T23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4" h="94">
                  <a:moveTo>
                    <a:pt x="30" y="0"/>
                  </a:moveTo>
                  <a:cubicBezTo>
                    <a:pt x="20" y="4"/>
                    <a:pt x="20" y="12"/>
                    <a:pt x="12" y="18"/>
                  </a:cubicBezTo>
                  <a:cubicBezTo>
                    <a:pt x="9" y="25"/>
                    <a:pt x="7" y="31"/>
                    <a:pt x="4" y="38"/>
                  </a:cubicBezTo>
                  <a:cubicBezTo>
                    <a:pt x="0" y="61"/>
                    <a:pt x="4" y="62"/>
                    <a:pt x="19" y="51"/>
                  </a:cubicBezTo>
                  <a:cubicBezTo>
                    <a:pt x="22" y="59"/>
                    <a:pt x="20" y="67"/>
                    <a:pt x="16" y="74"/>
                  </a:cubicBezTo>
                  <a:cubicBezTo>
                    <a:pt x="14" y="84"/>
                    <a:pt x="12" y="79"/>
                    <a:pt x="19" y="84"/>
                  </a:cubicBezTo>
                  <a:cubicBezTo>
                    <a:pt x="21" y="89"/>
                    <a:pt x="27" y="94"/>
                    <a:pt x="36" y="87"/>
                  </a:cubicBezTo>
                  <a:cubicBezTo>
                    <a:pt x="37" y="87"/>
                    <a:pt x="41" y="74"/>
                    <a:pt x="42" y="72"/>
                  </a:cubicBezTo>
                  <a:cubicBezTo>
                    <a:pt x="49" y="62"/>
                    <a:pt x="60" y="52"/>
                    <a:pt x="72" y="50"/>
                  </a:cubicBezTo>
                  <a:cubicBezTo>
                    <a:pt x="79" y="47"/>
                    <a:pt x="80" y="41"/>
                    <a:pt x="84" y="35"/>
                  </a:cubicBezTo>
                  <a:cubicBezTo>
                    <a:pt x="81" y="17"/>
                    <a:pt x="66" y="8"/>
                    <a:pt x="51" y="0"/>
                  </a:cubicBezTo>
                  <a:cubicBezTo>
                    <a:pt x="47" y="1"/>
                    <a:pt x="32" y="6"/>
                    <a:pt x="30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39" name="Freeform 414"/>
            <p:cNvSpPr>
              <a:spLocks/>
            </p:cNvSpPr>
            <p:nvPr>
              <p:custDataLst>
                <p:tags r:id="rId144"/>
              </p:custDataLst>
            </p:nvPr>
          </p:nvSpPr>
          <p:spPr bwMode="gray">
            <a:xfrm>
              <a:off x="2990227" y="5022829"/>
              <a:ext cx="134447" cy="137679"/>
            </a:xfrm>
            <a:custGeom>
              <a:avLst/>
              <a:gdLst>
                <a:gd name="T0" fmla="*/ 23 w 82"/>
                <a:gd name="T1" fmla="*/ 0 h 84"/>
                <a:gd name="T2" fmla="*/ 59 w 82"/>
                <a:gd name="T3" fmla="*/ 30 h 84"/>
                <a:gd name="T4" fmla="*/ 67 w 82"/>
                <a:gd name="T5" fmla="*/ 38 h 84"/>
                <a:gd name="T6" fmla="*/ 76 w 82"/>
                <a:gd name="T7" fmla="*/ 51 h 84"/>
                <a:gd name="T8" fmla="*/ 58 w 82"/>
                <a:gd name="T9" fmla="*/ 84 h 84"/>
                <a:gd name="T10" fmla="*/ 26 w 82"/>
                <a:gd name="T11" fmla="*/ 83 h 84"/>
                <a:gd name="T12" fmla="*/ 5 w 82"/>
                <a:gd name="T13" fmla="*/ 74 h 84"/>
                <a:gd name="T14" fmla="*/ 2 w 82"/>
                <a:gd name="T15" fmla="*/ 48 h 84"/>
                <a:gd name="T16" fmla="*/ 4 w 82"/>
                <a:gd name="T17" fmla="*/ 20 h 84"/>
                <a:gd name="T18" fmla="*/ 23 w 82"/>
                <a:gd name="T19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84">
                  <a:moveTo>
                    <a:pt x="23" y="0"/>
                  </a:moveTo>
                  <a:cubicBezTo>
                    <a:pt x="31" y="10"/>
                    <a:pt x="48" y="23"/>
                    <a:pt x="59" y="30"/>
                  </a:cubicBezTo>
                  <a:cubicBezTo>
                    <a:pt x="64" y="36"/>
                    <a:pt x="61" y="34"/>
                    <a:pt x="67" y="38"/>
                  </a:cubicBezTo>
                  <a:cubicBezTo>
                    <a:pt x="71" y="45"/>
                    <a:pt x="72" y="44"/>
                    <a:pt x="76" y="51"/>
                  </a:cubicBezTo>
                  <a:cubicBezTo>
                    <a:pt x="80" y="77"/>
                    <a:pt x="82" y="82"/>
                    <a:pt x="58" y="84"/>
                  </a:cubicBezTo>
                  <a:cubicBezTo>
                    <a:pt x="47" y="84"/>
                    <a:pt x="37" y="84"/>
                    <a:pt x="26" y="83"/>
                  </a:cubicBezTo>
                  <a:cubicBezTo>
                    <a:pt x="19" y="82"/>
                    <a:pt x="13" y="75"/>
                    <a:pt x="5" y="74"/>
                  </a:cubicBezTo>
                  <a:cubicBezTo>
                    <a:pt x="0" y="67"/>
                    <a:pt x="2" y="57"/>
                    <a:pt x="2" y="48"/>
                  </a:cubicBezTo>
                  <a:cubicBezTo>
                    <a:pt x="2" y="39"/>
                    <a:pt x="1" y="28"/>
                    <a:pt x="4" y="20"/>
                  </a:cubicBezTo>
                  <a:cubicBezTo>
                    <a:pt x="7" y="12"/>
                    <a:pt x="20" y="4"/>
                    <a:pt x="23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0" name="Freeform 416"/>
            <p:cNvSpPr>
              <a:spLocks/>
            </p:cNvSpPr>
            <p:nvPr>
              <p:custDataLst>
                <p:tags r:id="rId145"/>
              </p:custDataLst>
            </p:nvPr>
          </p:nvSpPr>
          <p:spPr bwMode="gray">
            <a:xfrm>
              <a:off x="2159248" y="3830697"/>
              <a:ext cx="93951" cy="111763"/>
            </a:xfrm>
            <a:custGeom>
              <a:avLst/>
              <a:gdLst>
                <a:gd name="T0" fmla="*/ 1 w 57"/>
                <a:gd name="T1" fmla="*/ 58 h 69"/>
                <a:gd name="T2" fmla="*/ 15 w 57"/>
                <a:gd name="T3" fmla="*/ 68 h 69"/>
                <a:gd name="T4" fmla="*/ 34 w 57"/>
                <a:gd name="T5" fmla="*/ 65 h 69"/>
                <a:gd name="T6" fmla="*/ 52 w 57"/>
                <a:gd name="T7" fmla="*/ 49 h 69"/>
                <a:gd name="T8" fmla="*/ 46 w 57"/>
                <a:gd name="T9" fmla="*/ 40 h 69"/>
                <a:gd name="T10" fmla="*/ 52 w 57"/>
                <a:gd name="T11" fmla="*/ 20 h 69"/>
                <a:gd name="T12" fmla="*/ 57 w 57"/>
                <a:gd name="T13" fmla="*/ 2 h 69"/>
                <a:gd name="T14" fmla="*/ 49 w 57"/>
                <a:gd name="T15" fmla="*/ 7 h 69"/>
                <a:gd name="T16" fmla="*/ 25 w 57"/>
                <a:gd name="T17" fmla="*/ 7 h 69"/>
                <a:gd name="T18" fmla="*/ 27 w 57"/>
                <a:gd name="T19" fmla="*/ 22 h 69"/>
                <a:gd name="T20" fmla="*/ 37 w 57"/>
                <a:gd name="T21" fmla="*/ 34 h 69"/>
                <a:gd name="T22" fmla="*/ 15 w 57"/>
                <a:gd name="T23" fmla="*/ 35 h 69"/>
                <a:gd name="T24" fmla="*/ 6 w 57"/>
                <a:gd name="T25" fmla="*/ 46 h 69"/>
                <a:gd name="T26" fmla="*/ 1 w 57"/>
                <a:gd name="T27" fmla="*/ 58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69">
                  <a:moveTo>
                    <a:pt x="1" y="58"/>
                  </a:moveTo>
                  <a:cubicBezTo>
                    <a:pt x="2" y="62"/>
                    <a:pt x="10" y="67"/>
                    <a:pt x="15" y="68"/>
                  </a:cubicBezTo>
                  <a:cubicBezTo>
                    <a:pt x="20" y="69"/>
                    <a:pt x="28" y="68"/>
                    <a:pt x="34" y="65"/>
                  </a:cubicBezTo>
                  <a:cubicBezTo>
                    <a:pt x="40" y="62"/>
                    <a:pt x="50" y="53"/>
                    <a:pt x="52" y="49"/>
                  </a:cubicBezTo>
                  <a:cubicBezTo>
                    <a:pt x="54" y="45"/>
                    <a:pt x="46" y="45"/>
                    <a:pt x="46" y="40"/>
                  </a:cubicBezTo>
                  <a:cubicBezTo>
                    <a:pt x="46" y="35"/>
                    <a:pt x="50" y="26"/>
                    <a:pt x="52" y="20"/>
                  </a:cubicBezTo>
                  <a:cubicBezTo>
                    <a:pt x="54" y="14"/>
                    <a:pt x="57" y="4"/>
                    <a:pt x="57" y="2"/>
                  </a:cubicBezTo>
                  <a:cubicBezTo>
                    <a:pt x="57" y="0"/>
                    <a:pt x="54" y="6"/>
                    <a:pt x="49" y="7"/>
                  </a:cubicBezTo>
                  <a:cubicBezTo>
                    <a:pt x="44" y="8"/>
                    <a:pt x="29" y="5"/>
                    <a:pt x="25" y="7"/>
                  </a:cubicBezTo>
                  <a:cubicBezTo>
                    <a:pt x="21" y="9"/>
                    <a:pt x="25" y="18"/>
                    <a:pt x="27" y="22"/>
                  </a:cubicBezTo>
                  <a:cubicBezTo>
                    <a:pt x="29" y="26"/>
                    <a:pt x="39" y="32"/>
                    <a:pt x="37" y="34"/>
                  </a:cubicBezTo>
                  <a:cubicBezTo>
                    <a:pt x="35" y="36"/>
                    <a:pt x="20" y="33"/>
                    <a:pt x="15" y="35"/>
                  </a:cubicBezTo>
                  <a:cubicBezTo>
                    <a:pt x="10" y="37"/>
                    <a:pt x="8" y="42"/>
                    <a:pt x="6" y="46"/>
                  </a:cubicBezTo>
                  <a:cubicBezTo>
                    <a:pt x="4" y="50"/>
                    <a:pt x="0" y="54"/>
                    <a:pt x="1" y="5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1" name="Freeform 417"/>
            <p:cNvSpPr>
              <a:spLocks/>
            </p:cNvSpPr>
            <p:nvPr>
              <p:custDataLst>
                <p:tags r:id="rId146"/>
              </p:custDataLst>
            </p:nvPr>
          </p:nvSpPr>
          <p:spPr bwMode="gray">
            <a:xfrm>
              <a:off x="2238621" y="3876050"/>
              <a:ext cx="147406" cy="85847"/>
            </a:xfrm>
            <a:custGeom>
              <a:avLst/>
              <a:gdLst>
                <a:gd name="T0" fmla="*/ 3 w 89"/>
                <a:gd name="T1" fmla="*/ 34 h 53"/>
                <a:gd name="T2" fmla="*/ 18 w 89"/>
                <a:gd name="T3" fmla="*/ 42 h 53"/>
                <a:gd name="T4" fmla="*/ 25 w 89"/>
                <a:gd name="T5" fmla="*/ 52 h 53"/>
                <a:gd name="T6" fmla="*/ 46 w 89"/>
                <a:gd name="T7" fmla="*/ 39 h 53"/>
                <a:gd name="T8" fmla="*/ 66 w 89"/>
                <a:gd name="T9" fmla="*/ 30 h 53"/>
                <a:gd name="T10" fmla="*/ 87 w 89"/>
                <a:gd name="T11" fmla="*/ 28 h 53"/>
                <a:gd name="T12" fmla="*/ 78 w 89"/>
                <a:gd name="T13" fmla="*/ 7 h 53"/>
                <a:gd name="T14" fmla="*/ 63 w 89"/>
                <a:gd name="T15" fmla="*/ 7 h 53"/>
                <a:gd name="T16" fmla="*/ 40 w 89"/>
                <a:gd name="T17" fmla="*/ 1 h 53"/>
                <a:gd name="T18" fmla="*/ 24 w 89"/>
                <a:gd name="T19" fmla="*/ 12 h 53"/>
                <a:gd name="T20" fmla="*/ 9 w 89"/>
                <a:gd name="T21" fmla="*/ 12 h 53"/>
                <a:gd name="T22" fmla="*/ 1 w 89"/>
                <a:gd name="T23" fmla="*/ 22 h 53"/>
                <a:gd name="T24" fmla="*/ 3 w 8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9" h="53">
                  <a:moveTo>
                    <a:pt x="3" y="34"/>
                  </a:moveTo>
                  <a:cubicBezTo>
                    <a:pt x="6" y="37"/>
                    <a:pt x="14" y="39"/>
                    <a:pt x="18" y="42"/>
                  </a:cubicBezTo>
                  <a:cubicBezTo>
                    <a:pt x="22" y="45"/>
                    <a:pt x="20" y="53"/>
                    <a:pt x="25" y="52"/>
                  </a:cubicBezTo>
                  <a:cubicBezTo>
                    <a:pt x="30" y="51"/>
                    <a:pt x="39" y="43"/>
                    <a:pt x="46" y="39"/>
                  </a:cubicBezTo>
                  <a:cubicBezTo>
                    <a:pt x="53" y="35"/>
                    <a:pt x="59" y="32"/>
                    <a:pt x="66" y="30"/>
                  </a:cubicBezTo>
                  <a:cubicBezTo>
                    <a:pt x="73" y="28"/>
                    <a:pt x="85" y="32"/>
                    <a:pt x="87" y="28"/>
                  </a:cubicBezTo>
                  <a:cubicBezTo>
                    <a:pt x="89" y="24"/>
                    <a:pt x="82" y="10"/>
                    <a:pt x="78" y="7"/>
                  </a:cubicBezTo>
                  <a:cubicBezTo>
                    <a:pt x="74" y="4"/>
                    <a:pt x="69" y="8"/>
                    <a:pt x="63" y="7"/>
                  </a:cubicBezTo>
                  <a:cubicBezTo>
                    <a:pt x="57" y="6"/>
                    <a:pt x="46" y="0"/>
                    <a:pt x="40" y="1"/>
                  </a:cubicBezTo>
                  <a:cubicBezTo>
                    <a:pt x="34" y="2"/>
                    <a:pt x="29" y="10"/>
                    <a:pt x="24" y="12"/>
                  </a:cubicBezTo>
                  <a:cubicBezTo>
                    <a:pt x="19" y="14"/>
                    <a:pt x="13" y="10"/>
                    <a:pt x="9" y="12"/>
                  </a:cubicBezTo>
                  <a:cubicBezTo>
                    <a:pt x="5" y="14"/>
                    <a:pt x="2" y="18"/>
                    <a:pt x="1" y="22"/>
                  </a:cubicBezTo>
                  <a:cubicBezTo>
                    <a:pt x="0" y="26"/>
                    <a:pt x="1" y="30"/>
                    <a:pt x="3" y="3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2" name="Freeform 418"/>
            <p:cNvSpPr>
              <a:spLocks/>
            </p:cNvSpPr>
            <p:nvPr>
              <p:custDataLst>
                <p:tags r:id="rId147"/>
              </p:custDataLst>
            </p:nvPr>
          </p:nvSpPr>
          <p:spPr bwMode="gray">
            <a:xfrm>
              <a:off x="2201364" y="3929502"/>
              <a:ext cx="82612" cy="55071"/>
            </a:xfrm>
            <a:custGeom>
              <a:avLst/>
              <a:gdLst>
                <a:gd name="T0" fmla="*/ 13 w 50"/>
                <a:gd name="T1" fmla="*/ 0 h 34"/>
                <a:gd name="T2" fmla="*/ 1 w 50"/>
                <a:gd name="T3" fmla="*/ 16 h 34"/>
                <a:gd name="T4" fmla="*/ 10 w 50"/>
                <a:gd name="T5" fmla="*/ 24 h 34"/>
                <a:gd name="T6" fmla="*/ 32 w 50"/>
                <a:gd name="T7" fmla="*/ 27 h 34"/>
                <a:gd name="T8" fmla="*/ 44 w 50"/>
                <a:gd name="T9" fmla="*/ 33 h 34"/>
                <a:gd name="T10" fmla="*/ 49 w 50"/>
                <a:gd name="T11" fmla="*/ 22 h 34"/>
                <a:gd name="T12" fmla="*/ 38 w 50"/>
                <a:gd name="T13" fmla="*/ 12 h 34"/>
                <a:gd name="T14" fmla="*/ 31 w 50"/>
                <a:gd name="T15" fmla="*/ 3 h 34"/>
                <a:gd name="T16" fmla="*/ 15 w 50"/>
                <a:gd name="T17" fmla="*/ 1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0" h="34">
                  <a:moveTo>
                    <a:pt x="13" y="0"/>
                  </a:moveTo>
                  <a:cubicBezTo>
                    <a:pt x="11" y="3"/>
                    <a:pt x="2" y="12"/>
                    <a:pt x="1" y="16"/>
                  </a:cubicBezTo>
                  <a:cubicBezTo>
                    <a:pt x="0" y="20"/>
                    <a:pt x="5" y="22"/>
                    <a:pt x="10" y="24"/>
                  </a:cubicBezTo>
                  <a:cubicBezTo>
                    <a:pt x="15" y="26"/>
                    <a:pt x="26" y="26"/>
                    <a:pt x="32" y="27"/>
                  </a:cubicBezTo>
                  <a:cubicBezTo>
                    <a:pt x="38" y="28"/>
                    <a:pt x="41" y="34"/>
                    <a:pt x="44" y="33"/>
                  </a:cubicBezTo>
                  <a:cubicBezTo>
                    <a:pt x="47" y="32"/>
                    <a:pt x="50" y="26"/>
                    <a:pt x="49" y="22"/>
                  </a:cubicBezTo>
                  <a:cubicBezTo>
                    <a:pt x="48" y="18"/>
                    <a:pt x="41" y="15"/>
                    <a:pt x="38" y="12"/>
                  </a:cubicBezTo>
                  <a:cubicBezTo>
                    <a:pt x="35" y="9"/>
                    <a:pt x="35" y="5"/>
                    <a:pt x="31" y="3"/>
                  </a:cubicBezTo>
                  <a:cubicBezTo>
                    <a:pt x="27" y="1"/>
                    <a:pt x="18" y="2"/>
                    <a:pt x="15" y="1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3" name="Freeform 419"/>
            <p:cNvSpPr>
              <a:spLocks/>
            </p:cNvSpPr>
            <p:nvPr>
              <p:custDataLst>
                <p:tags r:id="rId148"/>
              </p:custDataLst>
            </p:nvPr>
          </p:nvSpPr>
          <p:spPr bwMode="gray">
            <a:xfrm>
              <a:off x="2274257" y="3918164"/>
              <a:ext cx="111770" cy="108523"/>
            </a:xfrm>
            <a:custGeom>
              <a:avLst/>
              <a:gdLst>
                <a:gd name="T0" fmla="*/ 3 w 67"/>
                <a:gd name="T1" fmla="*/ 35 h 67"/>
                <a:gd name="T2" fmla="*/ 18 w 67"/>
                <a:gd name="T3" fmla="*/ 50 h 67"/>
                <a:gd name="T4" fmla="*/ 26 w 67"/>
                <a:gd name="T5" fmla="*/ 58 h 67"/>
                <a:gd name="T6" fmla="*/ 26 w 67"/>
                <a:gd name="T7" fmla="*/ 55 h 67"/>
                <a:gd name="T8" fmla="*/ 42 w 67"/>
                <a:gd name="T9" fmla="*/ 65 h 67"/>
                <a:gd name="T10" fmla="*/ 60 w 67"/>
                <a:gd name="T11" fmla="*/ 59 h 67"/>
                <a:gd name="T12" fmla="*/ 62 w 67"/>
                <a:gd name="T13" fmla="*/ 16 h 67"/>
                <a:gd name="T14" fmla="*/ 62 w 67"/>
                <a:gd name="T15" fmla="*/ 1 h 67"/>
                <a:gd name="T16" fmla="*/ 33 w 67"/>
                <a:gd name="T17" fmla="*/ 8 h 67"/>
                <a:gd name="T18" fmla="*/ 3 w 67"/>
                <a:gd name="T19" fmla="*/ 35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" y="35"/>
                  </a:moveTo>
                  <a:cubicBezTo>
                    <a:pt x="0" y="42"/>
                    <a:pt x="14" y="46"/>
                    <a:pt x="18" y="50"/>
                  </a:cubicBezTo>
                  <a:cubicBezTo>
                    <a:pt x="22" y="54"/>
                    <a:pt x="25" y="57"/>
                    <a:pt x="26" y="58"/>
                  </a:cubicBezTo>
                  <a:cubicBezTo>
                    <a:pt x="27" y="59"/>
                    <a:pt x="23" y="54"/>
                    <a:pt x="26" y="55"/>
                  </a:cubicBezTo>
                  <a:cubicBezTo>
                    <a:pt x="29" y="56"/>
                    <a:pt x="36" y="64"/>
                    <a:pt x="42" y="65"/>
                  </a:cubicBezTo>
                  <a:cubicBezTo>
                    <a:pt x="48" y="66"/>
                    <a:pt x="57" y="67"/>
                    <a:pt x="60" y="59"/>
                  </a:cubicBezTo>
                  <a:cubicBezTo>
                    <a:pt x="63" y="51"/>
                    <a:pt x="62" y="26"/>
                    <a:pt x="62" y="16"/>
                  </a:cubicBezTo>
                  <a:cubicBezTo>
                    <a:pt x="62" y="6"/>
                    <a:pt x="67" y="2"/>
                    <a:pt x="62" y="1"/>
                  </a:cubicBezTo>
                  <a:cubicBezTo>
                    <a:pt x="57" y="0"/>
                    <a:pt x="43" y="3"/>
                    <a:pt x="33" y="8"/>
                  </a:cubicBezTo>
                  <a:cubicBezTo>
                    <a:pt x="23" y="13"/>
                    <a:pt x="6" y="28"/>
                    <a:pt x="3" y="3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4" name="Freeform 420"/>
            <p:cNvSpPr>
              <a:spLocks/>
            </p:cNvSpPr>
            <p:nvPr>
              <p:custDataLst>
                <p:tags r:id="rId149"/>
              </p:custDataLst>
            </p:nvPr>
          </p:nvSpPr>
          <p:spPr bwMode="gray">
            <a:xfrm>
              <a:off x="2343910" y="3707597"/>
              <a:ext cx="252695" cy="89086"/>
            </a:xfrm>
            <a:custGeom>
              <a:avLst/>
              <a:gdLst>
                <a:gd name="T0" fmla="*/ 0 w 152"/>
                <a:gd name="T1" fmla="*/ 19 h 56"/>
                <a:gd name="T2" fmla="*/ 12 w 152"/>
                <a:gd name="T3" fmla="*/ 9 h 56"/>
                <a:gd name="T4" fmla="*/ 23 w 152"/>
                <a:gd name="T5" fmla="*/ 0 h 56"/>
                <a:gd name="T6" fmla="*/ 92 w 152"/>
                <a:gd name="T7" fmla="*/ 4 h 56"/>
                <a:gd name="T8" fmla="*/ 110 w 152"/>
                <a:gd name="T9" fmla="*/ 13 h 56"/>
                <a:gd name="T10" fmla="*/ 128 w 152"/>
                <a:gd name="T11" fmla="*/ 21 h 56"/>
                <a:gd name="T12" fmla="*/ 143 w 152"/>
                <a:gd name="T13" fmla="*/ 31 h 56"/>
                <a:gd name="T14" fmla="*/ 152 w 152"/>
                <a:gd name="T15" fmla="*/ 43 h 56"/>
                <a:gd name="T16" fmla="*/ 143 w 152"/>
                <a:gd name="T17" fmla="*/ 54 h 56"/>
                <a:gd name="T18" fmla="*/ 93 w 152"/>
                <a:gd name="T19" fmla="*/ 45 h 56"/>
                <a:gd name="T20" fmla="*/ 51 w 152"/>
                <a:gd name="T21" fmla="*/ 18 h 56"/>
                <a:gd name="T22" fmla="*/ 24 w 152"/>
                <a:gd name="T23" fmla="*/ 28 h 56"/>
                <a:gd name="T24" fmla="*/ 15 w 152"/>
                <a:gd name="T25" fmla="*/ 16 h 56"/>
                <a:gd name="T26" fmla="*/ 0 w 152"/>
                <a:gd name="T27" fmla="*/ 19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52" h="56">
                  <a:moveTo>
                    <a:pt x="0" y="19"/>
                  </a:moveTo>
                  <a:cubicBezTo>
                    <a:pt x="5" y="16"/>
                    <a:pt x="7" y="12"/>
                    <a:pt x="12" y="9"/>
                  </a:cubicBezTo>
                  <a:cubicBezTo>
                    <a:pt x="15" y="3"/>
                    <a:pt x="16" y="1"/>
                    <a:pt x="23" y="0"/>
                  </a:cubicBezTo>
                  <a:cubicBezTo>
                    <a:pt x="57" y="1"/>
                    <a:pt x="66" y="2"/>
                    <a:pt x="92" y="4"/>
                  </a:cubicBezTo>
                  <a:cubicBezTo>
                    <a:pt x="98" y="7"/>
                    <a:pt x="104" y="9"/>
                    <a:pt x="110" y="13"/>
                  </a:cubicBezTo>
                  <a:cubicBezTo>
                    <a:pt x="115" y="20"/>
                    <a:pt x="120" y="18"/>
                    <a:pt x="128" y="21"/>
                  </a:cubicBezTo>
                  <a:cubicBezTo>
                    <a:pt x="129" y="29"/>
                    <a:pt x="135" y="29"/>
                    <a:pt x="143" y="31"/>
                  </a:cubicBezTo>
                  <a:cubicBezTo>
                    <a:pt x="148" y="35"/>
                    <a:pt x="149" y="38"/>
                    <a:pt x="152" y="43"/>
                  </a:cubicBezTo>
                  <a:cubicBezTo>
                    <a:pt x="149" y="48"/>
                    <a:pt x="148" y="51"/>
                    <a:pt x="143" y="54"/>
                  </a:cubicBezTo>
                  <a:cubicBezTo>
                    <a:pt x="113" y="52"/>
                    <a:pt x="112" y="56"/>
                    <a:pt x="93" y="45"/>
                  </a:cubicBezTo>
                  <a:cubicBezTo>
                    <a:pt x="89" y="38"/>
                    <a:pt x="61" y="20"/>
                    <a:pt x="51" y="18"/>
                  </a:cubicBezTo>
                  <a:cubicBezTo>
                    <a:pt x="27" y="20"/>
                    <a:pt x="39" y="25"/>
                    <a:pt x="24" y="28"/>
                  </a:cubicBezTo>
                  <a:cubicBezTo>
                    <a:pt x="19" y="24"/>
                    <a:pt x="17" y="22"/>
                    <a:pt x="15" y="16"/>
                  </a:cubicBezTo>
                  <a:cubicBezTo>
                    <a:pt x="11" y="18"/>
                    <a:pt x="3" y="22"/>
                    <a:pt x="0" y="1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5" name="Freeform 421"/>
            <p:cNvSpPr>
              <a:spLocks/>
            </p:cNvSpPr>
            <p:nvPr>
              <p:custDataLst>
                <p:tags r:id="rId150"/>
              </p:custDataLst>
            </p:nvPr>
          </p:nvSpPr>
          <p:spPr bwMode="gray">
            <a:xfrm>
              <a:off x="2481597" y="3599073"/>
              <a:ext cx="199241" cy="161974"/>
            </a:xfrm>
            <a:custGeom>
              <a:avLst/>
              <a:gdLst>
                <a:gd name="T0" fmla="*/ 3 w 121"/>
                <a:gd name="T1" fmla="*/ 3 h 100"/>
                <a:gd name="T2" fmla="*/ 27 w 121"/>
                <a:gd name="T3" fmla="*/ 1 h 100"/>
                <a:gd name="T4" fmla="*/ 34 w 121"/>
                <a:gd name="T5" fmla="*/ 12 h 100"/>
                <a:gd name="T6" fmla="*/ 31 w 121"/>
                <a:gd name="T7" fmla="*/ 34 h 100"/>
                <a:gd name="T8" fmla="*/ 40 w 121"/>
                <a:gd name="T9" fmla="*/ 33 h 100"/>
                <a:gd name="T10" fmla="*/ 45 w 121"/>
                <a:gd name="T11" fmla="*/ 51 h 100"/>
                <a:gd name="T12" fmla="*/ 63 w 121"/>
                <a:gd name="T13" fmla="*/ 57 h 100"/>
                <a:gd name="T14" fmla="*/ 81 w 121"/>
                <a:gd name="T15" fmla="*/ 55 h 100"/>
                <a:gd name="T16" fmla="*/ 76 w 121"/>
                <a:gd name="T17" fmla="*/ 54 h 100"/>
                <a:gd name="T18" fmla="*/ 93 w 121"/>
                <a:gd name="T19" fmla="*/ 76 h 100"/>
                <a:gd name="T20" fmla="*/ 115 w 121"/>
                <a:gd name="T21" fmla="*/ 87 h 100"/>
                <a:gd name="T22" fmla="*/ 109 w 121"/>
                <a:gd name="T23" fmla="*/ 99 h 100"/>
                <a:gd name="T24" fmla="*/ 85 w 121"/>
                <a:gd name="T25" fmla="*/ 76 h 100"/>
                <a:gd name="T26" fmla="*/ 73 w 121"/>
                <a:gd name="T27" fmla="*/ 81 h 100"/>
                <a:gd name="T28" fmla="*/ 42 w 121"/>
                <a:gd name="T29" fmla="*/ 61 h 100"/>
                <a:gd name="T30" fmla="*/ 31 w 121"/>
                <a:gd name="T31" fmla="*/ 43 h 100"/>
                <a:gd name="T32" fmla="*/ 21 w 121"/>
                <a:gd name="T33" fmla="*/ 66 h 100"/>
                <a:gd name="T34" fmla="*/ 9 w 121"/>
                <a:gd name="T35" fmla="*/ 54 h 100"/>
                <a:gd name="T36" fmla="*/ 16 w 121"/>
                <a:gd name="T37" fmla="*/ 28 h 100"/>
                <a:gd name="T38" fmla="*/ 0 w 121"/>
                <a:gd name="T39" fmla="*/ 13 h 100"/>
                <a:gd name="T40" fmla="*/ 3 w 121"/>
                <a:gd name="T41" fmla="*/ 3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21" h="100">
                  <a:moveTo>
                    <a:pt x="3" y="3"/>
                  </a:moveTo>
                  <a:cubicBezTo>
                    <a:pt x="12" y="2"/>
                    <a:pt x="18" y="0"/>
                    <a:pt x="27" y="1"/>
                  </a:cubicBezTo>
                  <a:cubicBezTo>
                    <a:pt x="32" y="7"/>
                    <a:pt x="37" y="4"/>
                    <a:pt x="34" y="12"/>
                  </a:cubicBezTo>
                  <a:cubicBezTo>
                    <a:pt x="32" y="23"/>
                    <a:pt x="30" y="20"/>
                    <a:pt x="31" y="34"/>
                  </a:cubicBezTo>
                  <a:cubicBezTo>
                    <a:pt x="34" y="34"/>
                    <a:pt x="37" y="33"/>
                    <a:pt x="40" y="33"/>
                  </a:cubicBezTo>
                  <a:cubicBezTo>
                    <a:pt x="54" y="33"/>
                    <a:pt x="58" y="45"/>
                    <a:pt x="45" y="51"/>
                  </a:cubicBezTo>
                  <a:cubicBezTo>
                    <a:pt x="51" y="54"/>
                    <a:pt x="57" y="55"/>
                    <a:pt x="63" y="57"/>
                  </a:cubicBezTo>
                  <a:cubicBezTo>
                    <a:pt x="69" y="56"/>
                    <a:pt x="75" y="56"/>
                    <a:pt x="81" y="55"/>
                  </a:cubicBezTo>
                  <a:cubicBezTo>
                    <a:pt x="83" y="55"/>
                    <a:pt x="77" y="52"/>
                    <a:pt x="76" y="54"/>
                  </a:cubicBezTo>
                  <a:cubicBezTo>
                    <a:pt x="71" y="63"/>
                    <a:pt x="84" y="75"/>
                    <a:pt x="93" y="76"/>
                  </a:cubicBezTo>
                  <a:cubicBezTo>
                    <a:pt x="97" y="83"/>
                    <a:pt x="107" y="83"/>
                    <a:pt x="115" y="87"/>
                  </a:cubicBezTo>
                  <a:cubicBezTo>
                    <a:pt x="121" y="95"/>
                    <a:pt x="120" y="100"/>
                    <a:pt x="109" y="99"/>
                  </a:cubicBezTo>
                  <a:cubicBezTo>
                    <a:pt x="99" y="94"/>
                    <a:pt x="95" y="82"/>
                    <a:pt x="85" y="76"/>
                  </a:cubicBezTo>
                  <a:cubicBezTo>
                    <a:pt x="76" y="79"/>
                    <a:pt x="82" y="86"/>
                    <a:pt x="73" y="81"/>
                  </a:cubicBezTo>
                  <a:cubicBezTo>
                    <a:pt x="65" y="68"/>
                    <a:pt x="56" y="63"/>
                    <a:pt x="42" y="61"/>
                  </a:cubicBezTo>
                  <a:cubicBezTo>
                    <a:pt x="38" y="55"/>
                    <a:pt x="34" y="50"/>
                    <a:pt x="31" y="43"/>
                  </a:cubicBezTo>
                  <a:cubicBezTo>
                    <a:pt x="21" y="46"/>
                    <a:pt x="23" y="55"/>
                    <a:pt x="21" y="66"/>
                  </a:cubicBezTo>
                  <a:cubicBezTo>
                    <a:pt x="18" y="61"/>
                    <a:pt x="9" y="54"/>
                    <a:pt x="9" y="54"/>
                  </a:cubicBezTo>
                  <a:cubicBezTo>
                    <a:pt x="5" y="44"/>
                    <a:pt x="8" y="34"/>
                    <a:pt x="16" y="28"/>
                  </a:cubicBezTo>
                  <a:cubicBezTo>
                    <a:pt x="15" y="14"/>
                    <a:pt x="13" y="16"/>
                    <a:pt x="0" y="13"/>
                  </a:cubicBezTo>
                  <a:cubicBezTo>
                    <a:pt x="1" y="5"/>
                    <a:pt x="0" y="8"/>
                    <a:pt x="3" y="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6" name="Freeform 422"/>
            <p:cNvSpPr>
              <a:spLocks/>
            </p:cNvSpPr>
            <p:nvPr>
              <p:custDataLst>
                <p:tags r:id="rId151"/>
              </p:custDataLst>
            </p:nvPr>
          </p:nvSpPr>
          <p:spPr bwMode="gray">
            <a:xfrm>
              <a:off x="2504275" y="3824219"/>
              <a:ext cx="69654" cy="17818"/>
            </a:xfrm>
            <a:custGeom>
              <a:avLst/>
              <a:gdLst>
                <a:gd name="T0" fmla="*/ 2 w 43"/>
                <a:gd name="T1" fmla="*/ 5 h 11"/>
                <a:gd name="T2" fmla="*/ 22 w 43"/>
                <a:gd name="T3" fmla="*/ 2 h 11"/>
                <a:gd name="T4" fmla="*/ 5 w 43"/>
                <a:gd name="T5" fmla="*/ 6 h 11"/>
                <a:gd name="T6" fmla="*/ 2 w 43"/>
                <a:gd name="T7" fmla="*/ 5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11">
                  <a:moveTo>
                    <a:pt x="2" y="5"/>
                  </a:moveTo>
                  <a:cubicBezTo>
                    <a:pt x="11" y="0"/>
                    <a:pt x="10" y="0"/>
                    <a:pt x="22" y="2"/>
                  </a:cubicBezTo>
                  <a:cubicBezTo>
                    <a:pt x="34" y="11"/>
                    <a:pt x="43" y="9"/>
                    <a:pt x="5" y="6"/>
                  </a:cubicBezTo>
                  <a:cubicBezTo>
                    <a:pt x="0" y="3"/>
                    <a:pt x="0" y="2"/>
                    <a:pt x="2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7" name="Freeform 423"/>
            <p:cNvSpPr>
              <a:spLocks/>
            </p:cNvSpPr>
            <p:nvPr>
              <p:custDataLst>
                <p:tags r:id="rId152"/>
              </p:custDataLst>
            </p:nvPr>
          </p:nvSpPr>
          <p:spPr bwMode="gray">
            <a:xfrm>
              <a:off x="2658159" y="3780485"/>
              <a:ext cx="105290" cy="66410"/>
            </a:xfrm>
            <a:custGeom>
              <a:avLst/>
              <a:gdLst>
                <a:gd name="T0" fmla="*/ 2 w 64"/>
                <a:gd name="T1" fmla="*/ 3 h 41"/>
                <a:gd name="T2" fmla="*/ 1 w 64"/>
                <a:gd name="T3" fmla="*/ 18 h 41"/>
                <a:gd name="T4" fmla="*/ 11 w 64"/>
                <a:gd name="T5" fmla="*/ 38 h 41"/>
                <a:gd name="T6" fmla="*/ 56 w 64"/>
                <a:gd name="T7" fmla="*/ 36 h 41"/>
                <a:gd name="T8" fmla="*/ 59 w 64"/>
                <a:gd name="T9" fmla="*/ 32 h 41"/>
                <a:gd name="T10" fmla="*/ 32 w 64"/>
                <a:gd name="T11" fmla="*/ 5 h 41"/>
                <a:gd name="T12" fmla="*/ 8 w 64"/>
                <a:gd name="T13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41">
                  <a:moveTo>
                    <a:pt x="2" y="3"/>
                  </a:moveTo>
                  <a:cubicBezTo>
                    <a:pt x="2" y="5"/>
                    <a:pt x="0" y="12"/>
                    <a:pt x="1" y="18"/>
                  </a:cubicBezTo>
                  <a:cubicBezTo>
                    <a:pt x="2" y="24"/>
                    <a:pt x="2" y="35"/>
                    <a:pt x="11" y="38"/>
                  </a:cubicBezTo>
                  <a:cubicBezTo>
                    <a:pt x="20" y="41"/>
                    <a:pt x="45" y="36"/>
                    <a:pt x="56" y="36"/>
                  </a:cubicBezTo>
                  <a:cubicBezTo>
                    <a:pt x="64" y="35"/>
                    <a:pt x="63" y="37"/>
                    <a:pt x="59" y="32"/>
                  </a:cubicBezTo>
                  <a:cubicBezTo>
                    <a:pt x="47" y="29"/>
                    <a:pt x="40" y="10"/>
                    <a:pt x="32" y="5"/>
                  </a:cubicBezTo>
                  <a:cubicBezTo>
                    <a:pt x="24" y="0"/>
                    <a:pt x="13" y="3"/>
                    <a:pt x="8" y="2"/>
                  </a:cubicBez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48" name="Freeform 424"/>
            <p:cNvSpPr>
              <a:spLocks/>
            </p:cNvSpPr>
            <p:nvPr>
              <p:custDataLst>
                <p:tags r:id="rId153"/>
              </p:custDataLst>
            </p:nvPr>
          </p:nvSpPr>
          <p:spPr bwMode="gray">
            <a:xfrm>
              <a:off x="2557729" y="4706979"/>
              <a:ext cx="285092" cy="1205090"/>
            </a:xfrm>
            <a:custGeom>
              <a:avLst/>
              <a:gdLst>
                <a:gd name="T0" fmla="*/ 80 w 172"/>
                <a:gd name="T1" fmla="*/ 87 h 745"/>
                <a:gd name="T2" fmla="*/ 71 w 172"/>
                <a:gd name="T3" fmla="*/ 169 h 745"/>
                <a:gd name="T4" fmla="*/ 65 w 172"/>
                <a:gd name="T5" fmla="*/ 184 h 745"/>
                <a:gd name="T6" fmla="*/ 65 w 172"/>
                <a:gd name="T7" fmla="*/ 217 h 745"/>
                <a:gd name="T8" fmla="*/ 53 w 172"/>
                <a:gd name="T9" fmla="*/ 291 h 745"/>
                <a:gd name="T10" fmla="*/ 34 w 172"/>
                <a:gd name="T11" fmla="*/ 330 h 745"/>
                <a:gd name="T12" fmla="*/ 40 w 172"/>
                <a:gd name="T13" fmla="*/ 370 h 745"/>
                <a:gd name="T14" fmla="*/ 28 w 172"/>
                <a:gd name="T15" fmla="*/ 408 h 745"/>
                <a:gd name="T16" fmla="*/ 8 w 172"/>
                <a:gd name="T17" fmla="*/ 523 h 745"/>
                <a:gd name="T18" fmla="*/ 11 w 172"/>
                <a:gd name="T19" fmla="*/ 616 h 745"/>
                <a:gd name="T20" fmla="*/ 28 w 172"/>
                <a:gd name="T21" fmla="*/ 679 h 745"/>
                <a:gd name="T22" fmla="*/ 52 w 172"/>
                <a:gd name="T23" fmla="*/ 702 h 745"/>
                <a:gd name="T24" fmla="*/ 89 w 172"/>
                <a:gd name="T25" fmla="*/ 721 h 745"/>
                <a:gd name="T26" fmla="*/ 121 w 172"/>
                <a:gd name="T27" fmla="*/ 745 h 745"/>
                <a:gd name="T28" fmla="*/ 151 w 172"/>
                <a:gd name="T29" fmla="*/ 715 h 745"/>
                <a:gd name="T30" fmla="*/ 172 w 172"/>
                <a:gd name="T31" fmla="*/ 711 h 745"/>
                <a:gd name="T32" fmla="*/ 124 w 172"/>
                <a:gd name="T33" fmla="*/ 703 h 745"/>
                <a:gd name="T34" fmla="*/ 98 w 172"/>
                <a:gd name="T35" fmla="*/ 693 h 745"/>
                <a:gd name="T36" fmla="*/ 71 w 172"/>
                <a:gd name="T37" fmla="*/ 651 h 745"/>
                <a:gd name="T38" fmla="*/ 56 w 172"/>
                <a:gd name="T39" fmla="*/ 630 h 745"/>
                <a:gd name="T40" fmla="*/ 43 w 172"/>
                <a:gd name="T41" fmla="*/ 600 h 745"/>
                <a:gd name="T42" fmla="*/ 52 w 172"/>
                <a:gd name="T43" fmla="*/ 570 h 745"/>
                <a:gd name="T44" fmla="*/ 58 w 172"/>
                <a:gd name="T45" fmla="*/ 541 h 745"/>
                <a:gd name="T46" fmla="*/ 70 w 172"/>
                <a:gd name="T47" fmla="*/ 484 h 745"/>
                <a:gd name="T48" fmla="*/ 67 w 172"/>
                <a:gd name="T49" fmla="*/ 456 h 745"/>
                <a:gd name="T50" fmla="*/ 56 w 172"/>
                <a:gd name="T51" fmla="*/ 426 h 745"/>
                <a:gd name="T52" fmla="*/ 62 w 172"/>
                <a:gd name="T53" fmla="*/ 394 h 745"/>
                <a:gd name="T54" fmla="*/ 73 w 172"/>
                <a:gd name="T55" fmla="*/ 342 h 745"/>
                <a:gd name="T56" fmla="*/ 88 w 172"/>
                <a:gd name="T57" fmla="*/ 300 h 745"/>
                <a:gd name="T58" fmla="*/ 89 w 172"/>
                <a:gd name="T59" fmla="*/ 256 h 745"/>
                <a:gd name="T60" fmla="*/ 91 w 172"/>
                <a:gd name="T61" fmla="*/ 186 h 745"/>
                <a:gd name="T62" fmla="*/ 115 w 172"/>
                <a:gd name="T63" fmla="*/ 153 h 745"/>
                <a:gd name="T64" fmla="*/ 116 w 172"/>
                <a:gd name="T65" fmla="*/ 117 h 745"/>
                <a:gd name="T66" fmla="*/ 128 w 172"/>
                <a:gd name="T67" fmla="*/ 96 h 745"/>
                <a:gd name="T68" fmla="*/ 128 w 172"/>
                <a:gd name="T69" fmla="*/ 72 h 745"/>
                <a:gd name="T70" fmla="*/ 103 w 172"/>
                <a:gd name="T71" fmla="*/ 34 h 745"/>
                <a:gd name="T72" fmla="*/ 97 w 172"/>
                <a:gd name="T73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2" h="745">
                  <a:moveTo>
                    <a:pt x="85" y="10"/>
                  </a:moveTo>
                  <a:cubicBezTo>
                    <a:pt x="84" y="40"/>
                    <a:pt x="98" y="63"/>
                    <a:pt x="80" y="87"/>
                  </a:cubicBezTo>
                  <a:cubicBezTo>
                    <a:pt x="81" y="103"/>
                    <a:pt x="83" y="134"/>
                    <a:pt x="77" y="150"/>
                  </a:cubicBezTo>
                  <a:cubicBezTo>
                    <a:pt x="76" y="156"/>
                    <a:pt x="74" y="163"/>
                    <a:pt x="71" y="169"/>
                  </a:cubicBezTo>
                  <a:cubicBezTo>
                    <a:pt x="71" y="174"/>
                    <a:pt x="73" y="183"/>
                    <a:pt x="71" y="187"/>
                  </a:cubicBezTo>
                  <a:cubicBezTo>
                    <a:pt x="70" y="189"/>
                    <a:pt x="65" y="182"/>
                    <a:pt x="65" y="184"/>
                  </a:cubicBezTo>
                  <a:cubicBezTo>
                    <a:pt x="63" y="193"/>
                    <a:pt x="65" y="202"/>
                    <a:pt x="64" y="211"/>
                  </a:cubicBezTo>
                  <a:cubicBezTo>
                    <a:pt x="64" y="213"/>
                    <a:pt x="66" y="215"/>
                    <a:pt x="65" y="217"/>
                  </a:cubicBezTo>
                  <a:cubicBezTo>
                    <a:pt x="67" y="229"/>
                    <a:pt x="77" y="253"/>
                    <a:pt x="61" y="261"/>
                  </a:cubicBezTo>
                  <a:cubicBezTo>
                    <a:pt x="56" y="270"/>
                    <a:pt x="57" y="281"/>
                    <a:pt x="53" y="291"/>
                  </a:cubicBezTo>
                  <a:cubicBezTo>
                    <a:pt x="52" y="300"/>
                    <a:pt x="48" y="315"/>
                    <a:pt x="41" y="319"/>
                  </a:cubicBezTo>
                  <a:cubicBezTo>
                    <a:pt x="40" y="325"/>
                    <a:pt x="40" y="327"/>
                    <a:pt x="34" y="330"/>
                  </a:cubicBezTo>
                  <a:cubicBezTo>
                    <a:pt x="31" y="335"/>
                    <a:pt x="40" y="346"/>
                    <a:pt x="37" y="351"/>
                  </a:cubicBezTo>
                  <a:cubicBezTo>
                    <a:pt x="35" y="362"/>
                    <a:pt x="35" y="361"/>
                    <a:pt x="40" y="370"/>
                  </a:cubicBezTo>
                  <a:cubicBezTo>
                    <a:pt x="40" y="375"/>
                    <a:pt x="45" y="375"/>
                    <a:pt x="43" y="381"/>
                  </a:cubicBezTo>
                  <a:cubicBezTo>
                    <a:pt x="41" y="387"/>
                    <a:pt x="33" y="392"/>
                    <a:pt x="28" y="408"/>
                  </a:cubicBezTo>
                  <a:cubicBezTo>
                    <a:pt x="14" y="426"/>
                    <a:pt x="29" y="458"/>
                    <a:pt x="14" y="478"/>
                  </a:cubicBezTo>
                  <a:cubicBezTo>
                    <a:pt x="11" y="493"/>
                    <a:pt x="11" y="508"/>
                    <a:pt x="8" y="523"/>
                  </a:cubicBezTo>
                  <a:cubicBezTo>
                    <a:pt x="7" y="537"/>
                    <a:pt x="8" y="552"/>
                    <a:pt x="2" y="565"/>
                  </a:cubicBezTo>
                  <a:cubicBezTo>
                    <a:pt x="3" y="584"/>
                    <a:pt x="0" y="601"/>
                    <a:pt x="11" y="616"/>
                  </a:cubicBezTo>
                  <a:cubicBezTo>
                    <a:pt x="12" y="625"/>
                    <a:pt x="8" y="646"/>
                    <a:pt x="19" y="651"/>
                  </a:cubicBezTo>
                  <a:cubicBezTo>
                    <a:pt x="26" y="661"/>
                    <a:pt x="17" y="672"/>
                    <a:pt x="28" y="679"/>
                  </a:cubicBezTo>
                  <a:cubicBezTo>
                    <a:pt x="31" y="684"/>
                    <a:pt x="34" y="688"/>
                    <a:pt x="37" y="693"/>
                  </a:cubicBezTo>
                  <a:cubicBezTo>
                    <a:pt x="40" y="698"/>
                    <a:pt x="46" y="698"/>
                    <a:pt x="52" y="702"/>
                  </a:cubicBezTo>
                  <a:cubicBezTo>
                    <a:pt x="58" y="706"/>
                    <a:pt x="70" y="712"/>
                    <a:pt x="76" y="715"/>
                  </a:cubicBezTo>
                  <a:cubicBezTo>
                    <a:pt x="81" y="717"/>
                    <a:pt x="85" y="718"/>
                    <a:pt x="89" y="721"/>
                  </a:cubicBezTo>
                  <a:cubicBezTo>
                    <a:pt x="92" y="727"/>
                    <a:pt x="98" y="732"/>
                    <a:pt x="104" y="735"/>
                  </a:cubicBezTo>
                  <a:cubicBezTo>
                    <a:pt x="107" y="742"/>
                    <a:pt x="114" y="744"/>
                    <a:pt x="121" y="745"/>
                  </a:cubicBezTo>
                  <a:cubicBezTo>
                    <a:pt x="130" y="744"/>
                    <a:pt x="135" y="745"/>
                    <a:pt x="137" y="736"/>
                  </a:cubicBezTo>
                  <a:cubicBezTo>
                    <a:pt x="124" y="719"/>
                    <a:pt x="141" y="716"/>
                    <a:pt x="151" y="715"/>
                  </a:cubicBezTo>
                  <a:cubicBezTo>
                    <a:pt x="156" y="711"/>
                    <a:pt x="163" y="713"/>
                    <a:pt x="166" y="712"/>
                  </a:cubicBezTo>
                  <a:cubicBezTo>
                    <a:pt x="168" y="711"/>
                    <a:pt x="170" y="711"/>
                    <a:pt x="172" y="711"/>
                  </a:cubicBezTo>
                  <a:cubicBezTo>
                    <a:pt x="168" y="710"/>
                    <a:pt x="150" y="706"/>
                    <a:pt x="142" y="705"/>
                  </a:cubicBezTo>
                  <a:cubicBezTo>
                    <a:pt x="134" y="704"/>
                    <a:pt x="130" y="703"/>
                    <a:pt x="124" y="703"/>
                  </a:cubicBezTo>
                  <a:cubicBezTo>
                    <a:pt x="119" y="702"/>
                    <a:pt x="111" y="705"/>
                    <a:pt x="107" y="703"/>
                  </a:cubicBezTo>
                  <a:cubicBezTo>
                    <a:pt x="103" y="701"/>
                    <a:pt x="100" y="697"/>
                    <a:pt x="98" y="693"/>
                  </a:cubicBezTo>
                  <a:cubicBezTo>
                    <a:pt x="92" y="689"/>
                    <a:pt x="96" y="688"/>
                    <a:pt x="92" y="681"/>
                  </a:cubicBezTo>
                  <a:cubicBezTo>
                    <a:pt x="88" y="674"/>
                    <a:pt x="77" y="658"/>
                    <a:pt x="71" y="651"/>
                  </a:cubicBezTo>
                  <a:cubicBezTo>
                    <a:pt x="57" y="648"/>
                    <a:pt x="61" y="650"/>
                    <a:pt x="56" y="639"/>
                  </a:cubicBezTo>
                  <a:cubicBezTo>
                    <a:pt x="53" y="634"/>
                    <a:pt x="55" y="634"/>
                    <a:pt x="56" y="630"/>
                  </a:cubicBezTo>
                  <a:cubicBezTo>
                    <a:pt x="57" y="626"/>
                    <a:pt x="63" y="617"/>
                    <a:pt x="61" y="612"/>
                  </a:cubicBezTo>
                  <a:cubicBezTo>
                    <a:pt x="57" y="605"/>
                    <a:pt x="51" y="601"/>
                    <a:pt x="43" y="600"/>
                  </a:cubicBezTo>
                  <a:cubicBezTo>
                    <a:pt x="40" y="596"/>
                    <a:pt x="40" y="593"/>
                    <a:pt x="41" y="588"/>
                  </a:cubicBezTo>
                  <a:cubicBezTo>
                    <a:pt x="42" y="583"/>
                    <a:pt x="50" y="575"/>
                    <a:pt x="52" y="570"/>
                  </a:cubicBezTo>
                  <a:cubicBezTo>
                    <a:pt x="54" y="562"/>
                    <a:pt x="51" y="560"/>
                    <a:pt x="52" y="555"/>
                  </a:cubicBezTo>
                  <a:cubicBezTo>
                    <a:pt x="53" y="550"/>
                    <a:pt x="55" y="549"/>
                    <a:pt x="58" y="541"/>
                  </a:cubicBezTo>
                  <a:cubicBezTo>
                    <a:pt x="60" y="532"/>
                    <a:pt x="66" y="513"/>
                    <a:pt x="68" y="504"/>
                  </a:cubicBezTo>
                  <a:cubicBezTo>
                    <a:pt x="70" y="495"/>
                    <a:pt x="70" y="490"/>
                    <a:pt x="70" y="484"/>
                  </a:cubicBezTo>
                  <a:cubicBezTo>
                    <a:pt x="71" y="478"/>
                    <a:pt x="70" y="472"/>
                    <a:pt x="71" y="466"/>
                  </a:cubicBezTo>
                  <a:cubicBezTo>
                    <a:pt x="63" y="456"/>
                    <a:pt x="71" y="463"/>
                    <a:pt x="67" y="456"/>
                  </a:cubicBezTo>
                  <a:cubicBezTo>
                    <a:pt x="66" y="452"/>
                    <a:pt x="60" y="447"/>
                    <a:pt x="58" y="442"/>
                  </a:cubicBezTo>
                  <a:cubicBezTo>
                    <a:pt x="56" y="437"/>
                    <a:pt x="56" y="431"/>
                    <a:pt x="56" y="426"/>
                  </a:cubicBezTo>
                  <a:cubicBezTo>
                    <a:pt x="55" y="420"/>
                    <a:pt x="55" y="416"/>
                    <a:pt x="58" y="411"/>
                  </a:cubicBezTo>
                  <a:cubicBezTo>
                    <a:pt x="58" y="406"/>
                    <a:pt x="60" y="399"/>
                    <a:pt x="62" y="394"/>
                  </a:cubicBezTo>
                  <a:cubicBezTo>
                    <a:pt x="64" y="389"/>
                    <a:pt x="66" y="387"/>
                    <a:pt x="68" y="378"/>
                  </a:cubicBezTo>
                  <a:cubicBezTo>
                    <a:pt x="69" y="365"/>
                    <a:pt x="71" y="354"/>
                    <a:pt x="73" y="342"/>
                  </a:cubicBezTo>
                  <a:cubicBezTo>
                    <a:pt x="75" y="332"/>
                    <a:pt x="73" y="325"/>
                    <a:pt x="76" y="318"/>
                  </a:cubicBezTo>
                  <a:cubicBezTo>
                    <a:pt x="78" y="311"/>
                    <a:pt x="85" y="307"/>
                    <a:pt x="88" y="300"/>
                  </a:cubicBezTo>
                  <a:cubicBezTo>
                    <a:pt x="90" y="291"/>
                    <a:pt x="95" y="281"/>
                    <a:pt x="95" y="274"/>
                  </a:cubicBezTo>
                  <a:cubicBezTo>
                    <a:pt x="95" y="267"/>
                    <a:pt x="90" y="265"/>
                    <a:pt x="89" y="256"/>
                  </a:cubicBezTo>
                  <a:cubicBezTo>
                    <a:pt x="88" y="247"/>
                    <a:pt x="86" y="234"/>
                    <a:pt x="86" y="222"/>
                  </a:cubicBezTo>
                  <a:cubicBezTo>
                    <a:pt x="87" y="211"/>
                    <a:pt x="86" y="197"/>
                    <a:pt x="91" y="186"/>
                  </a:cubicBezTo>
                  <a:cubicBezTo>
                    <a:pt x="93" y="177"/>
                    <a:pt x="99" y="170"/>
                    <a:pt x="106" y="166"/>
                  </a:cubicBezTo>
                  <a:cubicBezTo>
                    <a:pt x="109" y="162"/>
                    <a:pt x="112" y="157"/>
                    <a:pt x="115" y="153"/>
                  </a:cubicBezTo>
                  <a:cubicBezTo>
                    <a:pt x="116" y="148"/>
                    <a:pt x="113" y="141"/>
                    <a:pt x="113" y="135"/>
                  </a:cubicBezTo>
                  <a:cubicBezTo>
                    <a:pt x="113" y="129"/>
                    <a:pt x="114" y="123"/>
                    <a:pt x="116" y="117"/>
                  </a:cubicBezTo>
                  <a:cubicBezTo>
                    <a:pt x="118" y="111"/>
                    <a:pt x="122" y="103"/>
                    <a:pt x="124" y="100"/>
                  </a:cubicBezTo>
                  <a:cubicBezTo>
                    <a:pt x="125" y="99"/>
                    <a:pt x="127" y="98"/>
                    <a:pt x="128" y="96"/>
                  </a:cubicBezTo>
                  <a:cubicBezTo>
                    <a:pt x="133" y="79"/>
                    <a:pt x="148" y="64"/>
                    <a:pt x="136" y="73"/>
                  </a:cubicBezTo>
                  <a:cubicBezTo>
                    <a:pt x="130" y="69"/>
                    <a:pt x="131" y="78"/>
                    <a:pt x="128" y="72"/>
                  </a:cubicBezTo>
                  <a:cubicBezTo>
                    <a:pt x="127" y="66"/>
                    <a:pt x="114" y="67"/>
                    <a:pt x="110" y="61"/>
                  </a:cubicBezTo>
                  <a:cubicBezTo>
                    <a:pt x="106" y="55"/>
                    <a:pt x="104" y="42"/>
                    <a:pt x="103" y="34"/>
                  </a:cubicBezTo>
                  <a:cubicBezTo>
                    <a:pt x="102" y="26"/>
                    <a:pt x="107" y="21"/>
                    <a:pt x="106" y="15"/>
                  </a:cubicBezTo>
                  <a:cubicBezTo>
                    <a:pt x="103" y="8"/>
                    <a:pt x="105" y="1"/>
                    <a:pt x="97" y="0"/>
                  </a:cubicBezTo>
                  <a:cubicBezTo>
                    <a:pt x="90" y="3"/>
                    <a:pt x="81" y="8"/>
                    <a:pt x="85" y="1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349" name="Group 426"/>
            <p:cNvGrpSpPr>
              <a:grpSpLocks/>
            </p:cNvGrpSpPr>
            <p:nvPr>
              <p:custDataLst>
                <p:tags r:id="rId154"/>
              </p:custDataLst>
            </p:nvPr>
          </p:nvGrpSpPr>
          <p:grpSpPr bwMode="auto">
            <a:xfrm>
              <a:off x="2862259" y="3838796"/>
              <a:ext cx="110149" cy="178172"/>
              <a:chOff x="4714" y="2568"/>
              <a:chExt cx="67" cy="110"/>
            </a:xfrm>
            <a:grpFill/>
          </p:grpSpPr>
          <p:sp>
            <p:nvSpPr>
              <p:cNvPr id="370" name="Freeform 427"/>
              <p:cNvSpPr>
                <a:spLocks/>
              </p:cNvSpPr>
              <p:nvPr>
                <p:custDataLst>
                  <p:tags r:id="rId170"/>
                </p:custDataLst>
              </p:nvPr>
            </p:nvSpPr>
            <p:spPr bwMode="gray">
              <a:xfrm>
                <a:off x="4751" y="2668"/>
                <a:ext cx="17" cy="10"/>
              </a:xfrm>
              <a:custGeom>
                <a:avLst/>
                <a:gdLst>
                  <a:gd name="T0" fmla="*/ 0 w 17"/>
                  <a:gd name="T1" fmla="*/ 1 h 10"/>
                  <a:gd name="T2" fmla="*/ 9 w 17"/>
                  <a:gd name="T3" fmla="*/ 2 h 10"/>
                  <a:gd name="T4" fmla="*/ 0 w 17"/>
                  <a:gd name="T5" fmla="*/ 1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7" h="10">
                    <a:moveTo>
                      <a:pt x="0" y="1"/>
                    </a:moveTo>
                    <a:cubicBezTo>
                      <a:pt x="3" y="1"/>
                      <a:pt x="7" y="0"/>
                      <a:pt x="9" y="2"/>
                    </a:cubicBezTo>
                    <a:cubicBezTo>
                      <a:pt x="17" y="8"/>
                      <a:pt x="4" y="10"/>
                      <a:pt x="0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1" name="Freeform 428"/>
              <p:cNvSpPr>
                <a:spLocks/>
              </p:cNvSpPr>
              <p:nvPr>
                <p:custDataLst>
                  <p:tags r:id="rId171"/>
                </p:custDataLst>
              </p:nvPr>
            </p:nvSpPr>
            <p:spPr bwMode="gray">
              <a:xfrm>
                <a:off x="4765" y="2640"/>
                <a:ext cx="16" cy="6"/>
              </a:xfrm>
              <a:custGeom>
                <a:avLst/>
                <a:gdLst>
                  <a:gd name="T0" fmla="*/ 4 w 16"/>
                  <a:gd name="T1" fmla="*/ 0 h 6"/>
                  <a:gd name="T2" fmla="*/ 13 w 16"/>
                  <a:gd name="T3" fmla="*/ 2 h 6"/>
                  <a:gd name="T4" fmla="*/ 1 w 16"/>
                  <a:gd name="T5" fmla="*/ 3 h 6"/>
                  <a:gd name="T6" fmla="*/ 4 w 1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6">
                    <a:moveTo>
                      <a:pt x="4" y="0"/>
                    </a:moveTo>
                    <a:cubicBezTo>
                      <a:pt x="7" y="1"/>
                      <a:pt x="11" y="0"/>
                      <a:pt x="13" y="2"/>
                    </a:cubicBezTo>
                    <a:cubicBezTo>
                      <a:pt x="16" y="5"/>
                      <a:pt x="4" y="6"/>
                      <a:pt x="1" y="3"/>
                    </a:cubicBezTo>
                    <a:cubicBezTo>
                      <a:pt x="0" y="2"/>
                      <a:pt x="3" y="1"/>
                      <a:pt x="4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2" name="Freeform 429"/>
              <p:cNvSpPr>
                <a:spLocks/>
              </p:cNvSpPr>
              <p:nvPr>
                <p:custDataLst>
                  <p:tags r:id="rId172"/>
                </p:custDataLst>
              </p:nvPr>
            </p:nvSpPr>
            <p:spPr bwMode="gray">
              <a:xfrm>
                <a:off x="4742" y="2645"/>
                <a:ext cx="12" cy="7"/>
              </a:xfrm>
              <a:custGeom>
                <a:avLst/>
                <a:gdLst>
                  <a:gd name="T0" fmla="*/ 6 w 12"/>
                  <a:gd name="T1" fmla="*/ 3 h 7"/>
                  <a:gd name="T2" fmla="*/ 2 w 12"/>
                  <a:gd name="T3" fmla="*/ 6 h 7"/>
                  <a:gd name="T4" fmla="*/ 11 w 12"/>
                  <a:gd name="T5" fmla="*/ 4 h 7"/>
                  <a:gd name="T6" fmla="*/ 8 w 12"/>
                  <a:gd name="T7" fmla="*/ 0 h 7"/>
                  <a:gd name="T8" fmla="*/ 6 w 12"/>
                  <a:gd name="T9" fmla="*/ 3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7">
                    <a:moveTo>
                      <a:pt x="6" y="3"/>
                    </a:moveTo>
                    <a:cubicBezTo>
                      <a:pt x="5" y="4"/>
                      <a:pt x="0" y="6"/>
                      <a:pt x="2" y="6"/>
                    </a:cubicBezTo>
                    <a:cubicBezTo>
                      <a:pt x="5" y="7"/>
                      <a:pt x="9" y="6"/>
                      <a:pt x="11" y="4"/>
                    </a:cubicBezTo>
                    <a:cubicBezTo>
                      <a:pt x="12" y="3"/>
                      <a:pt x="10" y="0"/>
                      <a:pt x="8" y="0"/>
                    </a:cubicBezTo>
                    <a:cubicBezTo>
                      <a:pt x="7" y="0"/>
                      <a:pt x="7" y="2"/>
                      <a:pt x="6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3" name="Freeform 430"/>
              <p:cNvSpPr>
                <a:spLocks/>
              </p:cNvSpPr>
              <p:nvPr>
                <p:custDataLst>
                  <p:tags r:id="rId173"/>
                </p:custDataLst>
              </p:nvPr>
            </p:nvSpPr>
            <p:spPr bwMode="gray">
              <a:xfrm>
                <a:off x="4733" y="2652"/>
                <a:ext cx="13" cy="14"/>
              </a:xfrm>
              <a:custGeom>
                <a:avLst/>
                <a:gdLst>
                  <a:gd name="T0" fmla="*/ 5 w 13"/>
                  <a:gd name="T1" fmla="*/ 6 h 14"/>
                  <a:gd name="T2" fmla="*/ 9 w 13"/>
                  <a:gd name="T3" fmla="*/ 14 h 14"/>
                  <a:gd name="T4" fmla="*/ 5 w 13"/>
                  <a:gd name="T5" fmla="*/ 6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4">
                    <a:moveTo>
                      <a:pt x="5" y="6"/>
                    </a:moveTo>
                    <a:cubicBezTo>
                      <a:pt x="13" y="0"/>
                      <a:pt x="11" y="9"/>
                      <a:pt x="9" y="14"/>
                    </a:cubicBezTo>
                    <a:cubicBezTo>
                      <a:pt x="0" y="11"/>
                      <a:pt x="1" y="14"/>
                      <a:pt x="5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4" name="Freeform 431"/>
              <p:cNvSpPr>
                <a:spLocks/>
              </p:cNvSpPr>
              <p:nvPr>
                <p:custDataLst>
                  <p:tags r:id="rId174"/>
                </p:custDataLst>
              </p:nvPr>
            </p:nvSpPr>
            <p:spPr bwMode="gray">
              <a:xfrm>
                <a:off x="4714" y="2568"/>
                <a:ext cx="33" cy="25"/>
              </a:xfrm>
              <a:custGeom>
                <a:avLst/>
                <a:gdLst>
                  <a:gd name="T0" fmla="*/ 3 w 33"/>
                  <a:gd name="T1" fmla="*/ 2 h 25"/>
                  <a:gd name="T2" fmla="*/ 15 w 33"/>
                  <a:gd name="T3" fmla="*/ 3 h 25"/>
                  <a:gd name="T4" fmla="*/ 21 w 33"/>
                  <a:gd name="T5" fmla="*/ 12 h 25"/>
                  <a:gd name="T6" fmla="*/ 33 w 33"/>
                  <a:gd name="T7" fmla="*/ 5 h 25"/>
                  <a:gd name="T8" fmla="*/ 21 w 33"/>
                  <a:gd name="T9" fmla="*/ 21 h 25"/>
                  <a:gd name="T10" fmla="*/ 7 w 33"/>
                  <a:gd name="T11" fmla="*/ 15 h 25"/>
                  <a:gd name="T12" fmla="*/ 3 w 33"/>
                  <a:gd name="T13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" h="25">
                    <a:moveTo>
                      <a:pt x="3" y="2"/>
                    </a:moveTo>
                    <a:cubicBezTo>
                      <a:pt x="7" y="2"/>
                      <a:pt x="12" y="0"/>
                      <a:pt x="15" y="3"/>
                    </a:cubicBezTo>
                    <a:cubicBezTo>
                      <a:pt x="25" y="12"/>
                      <a:pt x="8" y="17"/>
                      <a:pt x="21" y="12"/>
                    </a:cubicBezTo>
                    <a:cubicBezTo>
                      <a:pt x="22" y="3"/>
                      <a:pt x="25" y="2"/>
                      <a:pt x="33" y="5"/>
                    </a:cubicBezTo>
                    <a:cubicBezTo>
                      <a:pt x="29" y="25"/>
                      <a:pt x="24" y="6"/>
                      <a:pt x="21" y="21"/>
                    </a:cubicBezTo>
                    <a:cubicBezTo>
                      <a:pt x="15" y="20"/>
                      <a:pt x="12" y="17"/>
                      <a:pt x="7" y="15"/>
                    </a:cubicBezTo>
                    <a:cubicBezTo>
                      <a:pt x="2" y="10"/>
                      <a:pt x="0" y="8"/>
                      <a:pt x="3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375" name="Freeform 432"/>
              <p:cNvSpPr>
                <a:spLocks/>
              </p:cNvSpPr>
              <p:nvPr>
                <p:custDataLst>
                  <p:tags r:id="rId175"/>
                </p:custDataLst>
              </p:nvPr>
            </p:nvSpPr>
            <p:spPr bwMode="gray">
              <a:xfrm>
                <a:off x="4745" y="2589"/>
                <a:ext cx="20" cy="48"/>
              </a:xfrm>
              <a:custGeom>
                <a:avLst/>
                <a:gdLst>
                  <a:gd name="T0" fmla="*/ 6 w 20"/>
                  <a:gd name="T1" fmla="*/ 0 h 48"/>
                  <a:gd name="T2" fmla="*/ 5 w 20"/>
                  <a:gd name="T3" fmla="*/ 12 h 48"/>
                  <a:gd name="T4" fmla="*/ 9 w 20"/>
                  <a:gd name="T5" fmla="*/ 48 h 48"/>
                  <a:gd name="T6" fmla="*/ 12 w 20"/>
                  <a:gd name="T7" fmla="*/ 32 h 48"/>
                  <a:gd name="T8" fmla="*/ 6 w 20"/>
                  <a:gd name="T9" fmla="*/ 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48">
                    <a:moveTo>
                      <a:pt x="6" y="0"/>
                    </a:moveTo>
                    <a:cubicBezTo>
                      <a:pt x="0" y="3"/>
                      <a:pt x="2" y="6"/>
                      <a:pt x="5" y="12"/>
                    </a:cubicBezTo>
                    <a:cubicBezTo>
                      <a:pt x="7" y="26"/>
                      <a:pt x="8" y="33"/>
                      <a:pt x="9" y="48"/>
                    </a:cubicBezTo>
                    <a:cubicBezTo>
                      <a:pt x="20" y="46"/>
                      <a:pt x="17" y="39"/>
                      <a:pt x="12" y="32"/>
                    </a:cubicBezTo>
                    <a:cubicBezTo>
                      <a:pt x="14" y="12"/>
                      <a:pt x="18" y="12"/>
                      <a:pt x="6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rgbClr val="FFFFFF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4400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CA" kern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350" name="Freeform 433"/>
            <p:cNvSpPr>
              <a:spLocks/>
            </p:cNvSpPr>
            <p:nvPr>
              <p:custDataLst>
                <p:tags r:id="rId155"/>
              </p:custDataLst>
            </p:nvPr>
          </p:nvSpPr>
          <p:spPr bwMode="gray">
            <a:xfrm>
              <a:off x="1550188" y="3437099"/>
              <a:ext cx="745127" cy="476205"/>
            </a:xfrm>
            <a:custGeom>
              <a:avLst/>
              <a:gdLst>
                <a:gd name="T0" fmla="*/ 9 w 451"/>
                <a:gd name="T1" fmla="*/ 30 h 295"/>
                <a:gd name="T2" fmla="*/ 44 w 451"/>
                <a:gd name="T3" fmla="*/ 74 h 295"/>
                <a:gd name="T4" fmla="*/ 65 w 451"/>
                <a:gd name="T5" fmla="*/ 116 h 295"/>
                <a:gd name="T6" fmla="*/ 81 w 451"/>
                <a:gd name="T7" fmla="*/ 149 h 295"/>
                <a:gd name="T8" fmla="*/ 105 w 451"/>
                <a:gd name="T9" fmla="*/ 170 h 295"/>
                <a:gd name="T10" fmla="*/ 95 w 451"/>
                <a:gd name="T11" fmla="*/ 129 h 295"/>
                <a:gd name="T12" fmla="*/ 66 w 451"/>
                <a:gd name="T13" fmla="*/ 83 h 295"/>
                <a:gd name="T14" fmla="*/ 44 w 451"/>
                <a:gd name="T15" fmla="*/ 51 h 295"/>
                <a:gd name="T16" fmla="*/ 35 w 451"/>
                <a:gd name="T17" fmla="*/ 20 h 295"/>
                <a:gd name="T18" fmla="*/ 65 w 451"/>
                <a:gd name="T19" fmla="*/ 45 h 295"/>
                <a:gd name="T20" fmla="*/ 120 w 451"/>
                <a:gd name="T21" fmla="*/ 116 h 295"/>
                <a:gd name="T22" fmla="*/ 152 w 451"/>
                <a:gd name="T23" fmla="*/ 156 h 295"/>
                <a:gd name="T24" fmla="*/ 171 w 451"/>
                <a:gd name="T25" fmla="*/ 213 h 295"/>
                <a:gd name="T26" fmla="*/ 201 w 451"/>
                <a:gd name="T27" fmla="*/ 237 h 295"/>
                <a:gd name="T28" fmla="*/ 273 w 451"/>
                <a:gd name="T29" fmla="*/ 276 h 295"/>
                <a:gd name="T30" fmla="*/ 327 w 451"/>
                <a:gd name="T31" fmla="*/ 279 h 295"/>
                <a:gd name="T32" fmla="*/ 371 w 451"/>
                <a:gd name="T33" fmla="*/ 294 h 295"/>
                <a:gd name="T34" fmla="*/ 398 w 451"/>
                <a:gd name="T35" fmla="*/ 279 h 295"/>
                <a:gd name="T36" fmla="*/ 387 w 451"/>
                <a:gd name="T37" fmla="*/ 257 h 295"/>
                <a:gd name="T38" fmla="*/ 413 w 451"/>
                <a:gd name="T39" fmla="*/ 251 h 295"/>
                <a:gd name="T40" fmla="*/ 450 w 451"/>
                <a:gd name="T41" fmla="*/ 195 h 295"/>
                <a:gd name="T42" fmla="*/ 411 w 451"/>
                <a:gd name="T43" fmla="*/ 198 h 295"/>
                <a:gd name="T44" fmla="*/ 396 w 451"/>
                <a:gd name="T45" fmla="*/ 221 h 295"/>
                <a:gd name="T46" fmla="*/ 348 w 451"/>
                <a:gd name="T47" fmla="*/ 242 h 295"/>
                <a:gd name="T48" fmla="*/ 315 w 451"/>
                <a:gd name="T49" fmla="*/ 233 h 295"/>
                <a:gd name="T50" fmla="*/ 285 w 451"/>
                <a:gd name="T51" fmla="*/ 167 h 295"/>
                <a:gd name="T52" fmla="*/ 272 w 451"/>
                <a:gd name="T53" fmla="*/ 117 h 295"/>
                <a:gd name="T54" fmla="*/ 249 w 451"/>
                <a:gd name="T55" fmla="*/ 74 h 295"/>
                <a:gd name="T56" fmla="*/ 212 w 451"/>
                <a:gd name="T57" fmla="*/ 65 h 295"/>
                <a:gd name="T58" fmla="*/ 147 w 451"/>
                <a:gd name="T59" fmla="*/ 18 h 295"/>
                <a:gd name="T60" fmla="*/ 116 w 451"/>
                <a:gd name="T61" fmla="*/ 30 h 295"/>
                <a:gd name="T62" fmla="*/ 63 w 451"/>
                <a:gd name="T63" fmla="*/ 21 h 295"/>
                <a:gd name="T64" fmla="*/ 5 w 451"/>
                <a:gd name="T65" fmla="*/ 9 h 2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51" h="295">
                  <a:moveTo>
                    <a:pt x="5" y="9"/>
                  </a:moveTo>
                  <a:cubicBezTo>
                    <a:pt x="0" y="13"/>
                    <a:pt x="5" y="22"/>
                    <a:pt x="9" y="30"/>
                  </a:cubicBezTo>
                  <a:cubicBezTo>
                    <a:pt x="13" y="38"/>
                    <a:pt x="21" y="50"/>
                    <a:pt x="27" y="57"/>
                  </a:cubicBezTo>
                  <a:cubicBezTo>
                    <a:pt x="33" y="64"/>
                    <a:pt x="41" y="68"/>
                    <a:pt x="44" y="74"/>
                  </a:cubicBezTo>
                  <a:cubicBezTo>
                    <a:pt x="47" y="80"/>
                    <a:pt x="41" y="88"/>
                    <a:pt x="44" y="95"/>
                  </a:cubicBezTo>
                  <a:cubicBezTo>
                    <a:pt x="47" y="102"/>
                    <a:pt x="60" y="110"/>
                    <a:pt x="65" y="116"/>
                  </a:cubicBezTo>
                  <a:cubicBezTo>
                    <a:pt x="70" y="122"/>
                    <a:pt x="72" y="129"/>
                    <a:pt x="75" y="134"/>
                  </a:cubicBezTo>
                  <a:cubicBezTo>
                    <a:pt x="78" y="139"/>
                    <a:pt x="77" y="146"/>
                    <a:pt x="81" y="149"/>
                  </a:cubicBezTo>
                  <a:cubicBezTo>
                    <a:pt x="85" y="152"/>
                    <a:pt x="97" y="150"/>
                    <a:pt x="101" y="153"/>
                  </a:cubicBezTo>
                  <a:cubicBezTo>
                    <a:pt x="105" y="156"/>
                    <a:pt x="103" y="169"/>
                    <a:pt x="105" y="170"/>
                  </a:cubicBezTo>
                  <a:cubicBezTo>
                    <a:pt x="107" y="171"/>
                    <a:pt x="115" y="166"/>
                    <a:pt x="113" y="159"/>
                  </a:cubicBezTo>
                  <a:cubicBezTo>
                    <a:pt x="111" y="152"/>
                    <a:pt x="101" y="138"/>
                    <a:pt x="95" y="129"/>
                  </a:cubicBezTo>
                  <a:cubicBezTo>
                    <a:pt x="89" y="120"/>
                    <a:pt x="82" y="110"/>
                    <a:pt x="77" y="102"/>
                  </a:cubicBezTo>
                  <a:cubicBezTo>
                    <a:pt x="72" y="94"/>
                    <a:pt x="70" y="90"/>
                    <a:pt x="66" y="83"/>
                  </a:cubicBezTo>
                  <a:cubicBezTo>
                    <a:pt x="62" y="76"/>
                    <a:pt x="57" y="67"/>
                    <a:pt x="53" y="62"/>
                  </a:cubicBezTo>
                  <a:cubicBezTo>
                    <a:pt x="49" y="57"/>
                    <a:pt x="47" y="56"/>
                    <a:pt x="44" y="51"/>
                  </a:cubicBezTo>
                  <a:cubicBezTo>
                    <a:pt x="41" y="46"/>
                    <a:pt x="36" y="38"/>
                    <a:pt x="35" y="33"/>
                  </a:cubicBezTo>
                  <a:cubicBezTo>
                    <a:pt x="34" y="28"/>
                    <a:pt x="31" y="21"/>
                    <a:pt x="35" y="20"/>
                  </a:cubicBezTo>
                  <a:cubicBezTo>
                    <a:pt x="39" y="19"/>
                    <a:pt x="54" y="25"/>
                    <a:pt x="59" y="29"/>
                  </a:cubicBezTo>
                  <a:cubicBezTo>
                    <a:pt x="64" y="33"/>
                    <a:pt x="61" y="37"/>
                    <a:pt x="65" y="45"/>
                  </a:cubicBezTo>
                  <a:cubicBezTo>
                    <a:pt x="69" y="53"/>
                    <a:pt x="75" y="68"/>
                    <a:pt x="84" y="80"/>
                  </a:cubicBezTo>
                  <a:cubicBezTo>
                    <a:pt x="93" y="92"/>
                    <a:pt x="114" y="108"/>
                    <a:pt x="120" y="116"/>
                  </a:cubicBezTo>
                  <a:cubicBezTo>
                    <a:pt x="126" y="124"/>
                    <a:pt x="114" y="122"/>
                    <a:pt x="119" y="129"/>
                  </a:cubicBezTo>
                  <a:cubicBezTo>
                    <a:pt x="124" y="136"/>
                    <a:pt x="142" y="145"/>
                    <a:pt x="152" y="156"/>
                  </a:cubicBezTo>
                  <a:cubicBezTo>
                    <a:pt x="162" y="167"/>
                    <a:pt x="174" y="189"/>
                    <a:pt x="177" y="198"/>
                  </a:cubicBezTo>
                  <a:cubicBezTo>
                    <a:pt x="180" y="207"/>
                    <a:pt x="170" y="207"/>
                    <a:pt x="171" y="213"/>
                  </a:cubicBezTo>
                  <a:cubicBezTo>
                    <a:pt x="172" y="219"/>
                    <a:pt x="181" y="233"/>
                    <a:pt x="186" y="237"/>
                  </a:cubicBezTo>
                  <a:cubicBezTo>
                    <a:pt x="191" y="241"/>
                    <a:pt x="194" y="235"/>
                    <a:pt x="201" y="237"/>
                  </a:cubicBezTo>
                  <a:cubicBezTo>
                    <a:pt x="208" y="239"/>
                    <a:pt x="216" y="246"/>
                    <a:pt x="228" y="252"/>
                  </a:cubicBezTo>
                  <a:cubicBezTo>
                    <a:pt x="240" y="258"/>
                    <a:pt x="260" y="271"/>
                    <a:pt x="273" y="276"/>
                  </a:cubicBezTo>
                  <a:cubicBezTo>
                    <a:pt x="286" y="281"/>
                    <a:pt x="296" y="281"/>
                    <a:pt x="305" y="281"/>
                  </a:cubicBezTo>
                  <a:cubicBezTo>
                    <a:pt x="314" y="281"/>
                    <a:pt x="320" y="279"/>
                    <a:pt x="327" y="279"/>
                  </a:cubicBezTo>
                  <a:cubicBezTo>
                    <a:pt x="334" y="279"/>
                    <a:pt x="343" y="279"/>
                    <a:pt x="350" y="282"/>
                  </a:cubicBezTo>
                  <a:cubicBezTo>
                    <a:pt x="357" y="285"/>
                    <a:pt x="366" y="295"/>
                    <a:pt x="371" y="294"/>
                  </a:cubicBezTo>
                  <a:cubicBezTo>
                    <a:pt x="376" y="293"/>
                    <a:pt x="376" y="281"/>
                    <a:pt x="380" y="279"/>
                  </a:cubicBezTo>
                  <a:cubicBezTo>
                    <a:pt x="384" y="277"/>
                    <a:pt x="393" y="279"/>
                    <a:pt x="398" y="279"/>
                  </a:cubicBezTo>
                  <a:cubicBezTo>
                    <a:pt x="403" y="279"/>
                    <a:pt x="410" y="279"/>
                    <a:pt x="408" y="276"/>
                  </a:cubicBezTo>
                  <a:cubicBezTo>
                    <a:pt x="406" y="273"/>
                    <a:pt x="389" y="261"/>
                    <a:pt x="387" y="257"/>
                  </a:cubicBezTo>
                  <a:cubicBezTo>
                    <a:pt x="385" y="253"/>
                    <a:pt x="391" y="253"/>
                    <a:pt x="395" y="252"/>
                  </a:cubicBezTo>
                  <a:cubicBezTo>
                    <a:pt x="399" y="251"/>
                    <a:pt x="407" y="252"/>
                    <a:pt x="413" y="251"/>
                  </a:cubicBezTo>
                  <a:cubicBezTo>
                    <a:pt x="419" y="250"/>
                    <a:pt x="425" y="252"/>
                    <a:pt x="431" y="243"/>
                  </a:cubicBezTo>
                  <a:cubicBezTo>
                    <a:pt x="437" y="234"/>
                    <a:pt x="451" y="204"/>
                    <a:pt x="450" y="195"/>
                  </a:cubicBezTo>
                  <a:cubicBezTo>
                    <a:pt x="449" y="186"/>
                    <a:pt x="431" y="191"/>
                    <a:pt x="425" y="191"/>
                  </a:cubicBezTo>
                  <a:cubicBezTo>
                    <a:pt x="419" y="191"/>
                    <a:pt x="415" y="197"/>
                    <a:pt x="411" y="198"/>
                  </a:cubicBezTo>
                  <a:cubicBezTo>
                    <a:pt x="407" y="199"/>
                    <a:pt x="401" y="194"/>
                    <a:pt x="399" y="198"/>
                  </a:cubicBezTo>
                  <a:cubicBezTo>
                    <a:pt x="397" y="202"/>
                    <a:pt x="399" y="215"/>
                    <a:pt x="396" y="221"/>
                  </a:cubicBezTo>
                  <a:cubicBezTo>
                    <a:pt x="393" y="227"/>
                    <a:pt x="391" y="233"/>
                    <a:pt x="383" y="237"/>
                  </a:cubicBezTo>
                  <a:cubicBezTo>
                    <a:pt x="375" y="241"/>
                    <a:pt x="355" y="241"/>
                    <a:pt x="348" y="242"/>
                  </a:cubicBezTo>
                  <a:cubicBezTo>
                    <a:pt x="341" y="243"/>
                    <a:pt x="343" y="244"/>
                    <a:pt x="338" y="243"/>
                  </a:cubicBezTo>
                  <a:cubicBezTo>
                    <a:pt x="333" y="242"/>
                    <a:pt x="321" y="240"/>
                    <a:pt x="315" y="233"/>
                  </a:cubicBezTo>
                  <a:cubicBezTo>
                    <a:pt x="309" y="226"/>
                    <a:pt x="304" y="211"/>
                    <a:pt x="299" y="200"/>
                  </a:cubicBezTo>
                  <a:cubicBezTo>
                    <a:pt x="294" y="189"/>
                    <a:pt x="286" y="181"/>
                    <a:pt x="285" y="167"/>
                  </a:cubicBezTo>
                  <a:cubicBezTo>
                    <a:pt x="284" y="153"/>
                    <a:pt x="292" y="125"/>
                    <a:pt x="290" y="117"/>
                  </a:cubicBezTo>
                  <a:cubicBezTo>
                    <a:pt x="288" y="109"/>
                    <a:pt x="277" y="119"/>
                    <a:pt x="272" y="117"/>
                  </a:cubicBezTo>
                  <a:cubicBezTo>
                    <a:pt x="267" y="115"/>
                    <a:pt x="262" y="112"/>
                    <a:pt x="258" y="105"/>
                  </a:cubicBezTo>
                  <a:cubicBezTo>
                    <a:pt x="254" y="98"/>
                    <a:pt x="256" y="82"/>
                    <a:pt x="249" y="74"/>
                  </a:cubicBezTo>
                  <a:cubicBezTo>
                    <a:pt x="242" y="66"/>
                    <a:pt x="219" y="55"/>
                    <a:pt x="213" y="54"/>
                  </a:cubicBezTo>
                  <a:cubicBezTo>
                    <a:pt x="207" y="53"/>
                    <a:pt x="216" y="65"/>
                    <a:pt x="212" y="65"/>
                  </a:cubicBezTo>
                  <a:cubicBezTo>
                    <a:pt x="208" y="65"/>
                    <a:pt x="200" y="61"/>
                    <a:pt x="189" y="53"/>
                  </a:cubicBezTo>
                  <a:cubicBezTo>
                    <a:pt x="178" y="45"/>
                    <a:pt x="156" y="23"/>
                    <a:pt x="147" y="18"/>
                  </a:cubicBezTo>
                  <a:cubicBezTo>
                    <a:pt x="138" y="13"/>
                    <a:pt x="140" y="18"/>
                    <a:pt x="135" y="20"/>
                  </a:cubicBezTo>
                  <a:cubicBezTo>
                    <a:pt x="130" y="22"/>
                    <a:pt x="123" y="28"/>
                    <a:pt x="116" y="30"/>
                  </a:cubicBezTo>
                  <a:cubicBezTo>
                    <a:pt x="109" y="32"/>
                    <a:pt x="104" y="35"/>
                    <a:pt x="95" y="33"/>
                  </a:cubicBezTo>
                  <a:cubicBezTo>
                    <a:pt x="86" y="31"/>
                    <a:pt x="73" y="26"/>
                    <a:pt x="63" y="21"/>
                  </a:cubicBezTo>
                  <a:cubicBezTo>
                    <a:pt x="53" y="16"/>
                    <a:pt x="45" y="4"/>
                    <a:pt x="35" y="2"/>
                  </a:cubicBezTo>
                  <a:cubicBezTo>
                    <a:pt x="25" y="0"/>
                    <a:pt x="11" y="8"/>
                    <a:pt x="5" y="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1" name="Freeform 434"/>
            <p:cNvSpPr>
              <a:spLocks/>
            </p:cNvSpPr>
            <p:nvPr>
              <p:custDataLst>
                <p:tags r:id="rId156"/>
              </p:custDataLst>
            </p:nvPr>
          </p:nvSpPr>
          <p:spPr bwMode="gray">
            <a:xfrm>
              <a:off x="2881697" y="4753952"/>
              <a:ext cx="226778" cy="207327"/>
            </a:xfrm>
            <a:custGeom>
              <a:avLst/>
              <a:gdLst>
                <a:gd name="T0" fmla="*/ 0 w 137"/>
                <a:gd name="T1" fmla="*/ 43 h 128"/>
                <a:gd name="T2" fmla="*/ 6 w 137"/>
                <a:gd name="T3" fmla="*/ 28 h 128"/>
                <a:gd name="T4" fmla="*/ 12 w 137"/>
                <a:gd name="T5" fmla="*/ 10 h 128"/>
                <a:gd name="T6" fmla="*/ 24 w 137"/>
                <a:gd name="T7" fmla="*/ 4 h 128"/>
                <a:gd name="T8" fmla="*/ 35 w 137"/>
                <a:gd name="T9" fmla="*/ 2 h 128"/>
                <a:gd name="T10" fmla="*/ 69 w 137"/>
                <a:gd name="T11" fmla="*/ 5 h 128"/>
                <a:gd name="T12" fmla="*/ 69 w 137"/>
                <a:gd name="T13" fmla="*/ 19 h 128"/>
                <a:gd name="T14" fmla="*/ 70 w 137"/>
                <a:gd name="T15" fmla="*/ 41 h 128"/>
                <a:gd name="T16" fmla="*/ 94 w 137"/>
                <a:gd name="T17" fmla="*/ 47 h 128"/>
                <a:gd name="T18" fmla="*/ 114 w 137"/>
                <a:gd name="T19" fmla="*/ 49 h 128"/>
                <a:gd name="T20" fmla="*/ 115 w 137"/>
                <a:gd name="T21" fmla="*/ 65 h 128"/>
                <a:gd name="T22" fmla="*/ 132 w 137"/>
                <a:gd name="T23" fmla="*/ 76 h 128"/>
                <a:gd name="T24" fmla="*/ 136 w 137"/>
                <a:gd name="T25" fmla="*/ 92 h 128"/>
                <a:gd name="T26" fmla="*/ 126 w 137"/>
                <a:gd name="T27" fmla="*/ 110 h 128"/>
                <a:gd name="T28" fmla="*/ 115 w 137"/>
                <a:gd name="T29" fmla="*/ 127 h 128"/>
                <a:gd name="T30" fmla="*/ 70 w 137"/>
                <a:gd name="T31" fmla="*/ 119 h 128"/>
                <a:gd name="T32" fmla="*/ 76 w 137"/>
                <a:gd name="T33" fmla="*/ 103 h 128"/>
                <a:gd name="T34" fmla="*/ 57 w 137"/>
                <a:gd name="T35" fmla="*/ 86 h 128"/>
                <a:gd name="T36" fmla="*/ 39 w 137"/>
                <a:gd name="T37" fmla="*/ 73 h 128"/>
                <a:gd name="T38" fmla="*/ 15 w 137"/>
                <a:gd name="T39" fmla="*/ 53 h 128"/>
                <a:gd name="T40" fmla="*/ 0 w 137"/>
                <a:gd name="T41" fmla="*/ 43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28">
                  <a:moveTo>
                    <a:pt x="0" y="43"/>
                  </a:moveTo>
                  <a:cubicBezTo>
                    <a:pt x="1" y="38"/>
                    <a:pt x="6" y="28"/>
                    <a:pt x="6" y="28"/>
                  </a:cubicBezTo>
                  <a:cubicBezTo>
                    <a:pt x="8" y="23"/>
                    <a:pt x="9" y="14"/>
                    <a:pt x="12" y="10"/>
                  </a:cubicBezTo>
                  <a:cubicBezTo>
                    <a:pt x="15" y="6"/>
                    <a:pt x="20" y="5"/>
                    <a:pt x="24" y="4"/>
                  </a:cubicBezTo>
                  <a:cubicBezTo>
                    <a:pt x="29" y="0"/>
                    <a:pt x="28" y="2"/>
                    <a:pt x="35" y="2"/>
                  </a:cubicBezTo>
                  <a:cubicBezTo>
                    <a:pt x="42" y="2"/>
                    <a:pt x="63" y="2"/>
                    <a:pt x="69" y="5"/>
                  </a:cubicBezTo>
                  <a:cubicBezTo>
                    <a:pt x="75" y="8"/>
                    <a:pt x="69" y="13"/>
                    <a:pt x="69" y="19"/>
                  </a:cubicBezTo>
                  <a:cubicBezTo>
                    <a:pt x="69" y="25"/>
                    <a:pt x="66" y="36"/>
                    <a:pt x="70" y="41"/>
                  </a:cubicBezTo>
                  <a:cubicBezTo>
                    <a:pt x="74" y="49"/>
                    <a:pt x="87" y="45"/>
                    <a:pt x="94" y="47"/>
                  </a:cubicBezTo>
                  <a:cubicBezTo>
                    <a:pt x="101" y="48"/>
                    <a:pt x="110" y="46"/>
                    <a:pt x="114" y="49"/>
                  </a:cubicBezTo>
                  <a:cubicBezTo>
                    <a:pt x="118" y="51"/>
                    <a:pt x="112" y="61"/>
                    <a:pt x="115" y="65"/>
                  </a:cubicBezTo>
                  <a:cubicBezTo>
                    <a:pt x="118" y="69"/>
                    <a:pt x="129" y="72"/>
                    <a:pt x="132" y="76"/>
                  </a:cubicBezTo>
                  <a:cubicBezTo>
                    <a:pt x="135" y="80"/>
                    <a:pt x="137" y="86"/>
                    <a:pt x="136" y="92"/>
                  </a:cubicBezTo>
                  <a:cubicBezTo>
                    <a:pt x="135" y="98"/>
                    <a:pt x="129" y="104"/>
                    <a:pt x="126" y="110"/>
                  </a:cubicBezTo>
                  <a:cubicBezTo>
                    <a:pt x="123" y="116"/>
                    <a:pt x="124" y="125"/>
                    <a:pt x="115" y="127"/>
                  </a:cubicBezTo>
                  <a:cubicBezTo>
                    <a:pt x="87" y="126"/>
                    <a:pt x="86" y="128"/>
                    <a:pt x="70" y="119"/>
                  </a:cubicBezTo>
                  <a:cubicBezTo>
                    <a:pt x="63" y="115"/>
                    <a:pt x="78" y="108"/>
                    <a:pt x="76" y="103"/>
                  </a:cubicBezTo>
                  <a:cubicBezTo>
                    <a:pt x="74" y="98"/>
                    <a:pt x="63" y="91"/>
                    <a:pt x="57" y="86"/>
                  </a:cubicBezTo>
                  <a:cubicBezTo>
                    <a:pt x="53" y="77"/>
                    <a:pt x="50" y="75"/>
                    <a:pt x="39" y="73"/>
                  </a:cubicBezTo>
                  <a:cubicBezTo>
                    <a:pt x="33" y="67"/>
                    <a:pt x="21" y="58"/>
                    <a:pt x="15" y="53"/>
                  </a:cubicBezTo>
                  <a:cubicBezTo>
                    <a:pt x="9" y="48"/>
                    <a:pt x="3" y="45"/>
                    <a:pt x="0" y="4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2" name="Freeform 435"/>
            <p:cNvSpPr>
              <a:spLocks/>
            </p:cNvSpPr>
            <p:nvPr>
              <p:custDataLst>
                <p:tags r:id="rId157"/>
              </p:custDataLst>
            </p:nvPr>
          </p:nvSpPr>
          <p:spPr bwMode="gray">
            <a:xfrm>
              <a:off x="2232142" y="3838796"/>
              <a:ext cx="29157" cy="63171"/>
            </a:xfrm>
            <a:custGeom>
              <a:avLst/>
              <a:gdLst>
                <a:gd name="T0" fmla="*/ 14 w 19"/>
                <a:gd name="T1" fmla="*/ 0 h 38"/>
                <a:gd name="T2" fmla="*/ 19 w 19"/>
                <a:gd name="T3" fmla="*/ 32 h 38"/>
                <a:gd name="T4" fmla="*/ 5 w 19"/>
                <a:gd name="T5" fmla="*/ 38 h 38"/>
                <a:gd name="T6" fmla="*/ 4 w 19"/>
                <a:gd name="T7" fmla="*/ 23 h 38"/>
                <a:gd name="T8" fmla="*/ 10 w 19"/>
                <a:gd name="T9" fmla="*/ 9 h 38"/>
                <a:gd name="T10" fmla="*/ 14 w 19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38">
                  <a:moveTo>
                    <a:pt x="14" y="0"/>
                  </a:moveTo>
                  <a:cubicBezTo>
                    <a:pt x="18" y="22"/>
                    <a:pt x="16" y="11"/>
                    <a:pt x="19" y="32"/>
                  </a:cubicBezTo>
                  <a:cubicBezTo>
                    <a:pt x="13" y="33"/>
                    <a:pt x="10" y="36"/>
                    <a:pt x="5" y="38"/>
                  </a:cubicBezTo>
                  <a:cubicBezTo>
                    <a:pt x="0" y="32"/>
                    <a:pt x="1" y="30"/>
                    <a:pt x="4" y="23"/>
                  </a:cubicBezTo>
                  <a:cubicBezTo>
                    <a:pt x="5" y="17"/>
                    <a:pt x="7" y="14"/>
                    <a:pt x="10" y="9"/>
                  </a:cubicBezTo>
                  <a:cubicBezTo>
                    <a:pt x="11" y="2"/>
                    <a:pt x="10" y="4"/>
                    <a:pt x="14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3" name="Freeform 436"/>
            <p:cNvSpPr>
              <a:spLocks/>
            </p:cNvSpPr>
            <p:nvPr>
              <p:custDataLst>
                <p:tags r:id="rId158"/>
              </p:custDataLst>
            </p:nvPr>
          </p:nvSpPr>
          <p:spPr bwMode="gray">
            <a:xfrm>
              <a:off x="2321232" y="4005630"/>
              <a:ext cx="110149" cy="95565"/>
            </a:xfrm>
            <a:custGeom>
              <a:avLst/>
              <a:gdLst>
                <a:gd name="T0" fmla="*/ 5 w 68"/>
                <a:gd name="T1" fmla="*/ 4 h 58"/>
                <a:gd name="T2" fmla="*/ 14 w 68"/>
                <a:gd name="T3" fmla="*/ 15 h 58"/>
                <a:gd name="T4" fmla="*/ 23 w 68"/>
                <a:gd name="T5" fmla="*/ 31 h 58"/>
                <a:gd name="T6" fmla="*/ 33 w 68"/>
                <a:gd name="T7" fmla="*/ 36 h 58"/>
                <a:gd name="T8" fmla="*/ 60 w 68"/>
                <a:gd name="T9" fmla="*/ 51 h 58"/>
                <a:gd name="T10" fmla="*/ 68 w 68"/>
                <a:gd name="T11" fmla="*/ 43 h 58"/>
                <a:gd name="T12" fmla="*/ 51 w 68"/>
                <a:gd name="T13" fmla="*/ 33 h 58"/>
                <a:gd name="T14" fmla="*/ 39 w 68"/>
                <a:gd name="T15" fmla="*/ 24 h 58"/>
                <a:gd name="T16" fmla="*/ 38 w 68"/>
                <a:gd name="T17" fmla="*/ 16 h 58"/>
                <a:gd name="T18" fmla="*/ 5 w 68"/>
                <a:gd name="T19" fmla="*/ 4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58">
                  <a:moveTo>
                    <a:pt x="5" y="4"/>
                  </a:moveTo>
                  <a:cubicBezTo>
                    <a:pt x="0" y="3"/>
                    <a:pt x="11" y="11"/>
                    <a:pt x="14" y="15"/>
                  </a:cubicBezTo>
                  <a:cubicBezTo>
                    <a:pt x="17" y="19"/>
                    <a:pt x="20" y="28"/>
                    <a:pt x="23" y="31"/>
                  </a:cubicBezTo>
                  <a:cubicBezTo>
                    <a:pt x="28" y="33"/>
                    <a:pt x="29" y="33"/>
                    <a:pt x="33" y="36"/>
                  </a:cubicBezTo>
                  <a:cubicBezTo>
                    <a:pt x="36" y="45"/>
                    <a:pt x="52" y="48"/>
                    <a:pt x="60" y="51"/>
                  </a:cubicBezTo>
                  <a:cubicBezTo>
                    <a:pt x="65" y="58"/>
                    <a:pt x="65" y="49"/>
                    <a:pt x="68" y="43"/>
                  </a:cubicBezTo>
                  <a:cubicBezTo>
                    <a:pt x="61" y="39"/>
                    <a:pt x="59" y="35"/>
                    <a:pt x="51" y="33"/>
                  </a:cubicBezTo>
                  <a:cubicBezTo>
                    <a:pt x="47" y="30"/>
                    <a:pt x="41" y="27"/>
                    <a:pt x="39" y="24"/>
                  </a:cubicBezTo>
                  <a:cubicBezTo>
                    <a:pt x="37" y="21"/>
                    <a:pt x="44" y="19"/>
                    <a:pt x="38" y="16"/>
                  </a:cubicBezTo>
                  <a:cubicBezTo>
                    <a:pt x="30" y="0"/>
                    <a:pt x="16" y="15"/>
                    <a:pt x="5" y="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4" name="Freeform 437"/>
            <p:cNvSpPr>
              <a:spLocks/>
            </p:cNvSpPr>
            <p:nvPr>
              <p:custDataLst>
                <p:tags r:id="rId159"/>
              </p:custDataLst>
            </p:nvPr>
          </p:nvSpPr>
          <p:spPr bwMode="gray">
            <a:xfrm>
              <a:off x="2611184" y="3778866"/>
              <a:ext cx="61554" cy="69650"/>
            </a:xfrm>
            <a:custGeom>
              <a:avLst/>
              <a:gdLst>
                <a:gd name="T0" fmla="*/ 15 w 69"/>
                <a:gd name="T1" fmla="*/ 0 h 43"/>
                <a:gd name="T2" fmla="*/ 22 w 69"/>
                <a:gd name="T3" fmla="*/ 12 h 43"/>
                <a:gd name="T4" fmla="*/ 16 w 69"/>
                <a:gd name="T5" fmla="*/ 27 h 43"/>
                <a:gd name="T6" fmla="*/ 0 w 69"/>
                <a:gd name="T7" fmla="*/ 28 h 43"/>
                <a:gd name="T8" fmla="*/ 7 w 69"/>
                <a:gd name="T9" fmla="*/ 37 h 43"/>
                <a:gd name="T10" fmla="*/ 31 w 69"/>
                <a:gd name="T11" fmla="*/ 34 h 43"/>
                <a:gd name="T12" fmla="*/ 46 w 69"/>
                <a:gd name="T13" fmla="*/ 43 h 43"/>
                <a:gd name="T14" fmla="*/ 69 w 69"/>
                <a:gd name="T15" fmla="*/ 37 h 43"/>
                <a:gd name="T16" fmla="*/ 54 w 69"/>
                <a:gd name="T17" fmla="*/ 16 h 43"/>
                <a:gd name="T18" fmla="*/ 60 w 69"/>
                <a:gd name="T19" fmla="*/ 1 h 43"/>
                <a:gd name="T20" fmla="*/ 40 w 69"/>
                <a:gd name="T21" fmla="*/ 4 h 43"/>
                <a:gd name="T22" fmla="*/ 25 w 69"/>
                <a:gd name="T23" fmla="*/ 4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9" h="43">
                  <a:moveTo>
                    <a:pt x="15" y="0"/>
                  </a:moveTo>
                  <a:lnTo>
                    <a:pt x="22" y="12"/>
                  </a:lnTo>
                  <a:lnTo>
                    <a:pt x="16" y="27"/>
                  </a:lnTo>
                  <a:lnTo>
                    <a:pt x="0" y="28"/>
                  </a:lnTo>
                  <a:lnTo>
                    <a:pt x="7" y="37"/>
                  </a:lnTo>
                  <a:lnTo>
                    <a:pt x="31" y="34"/>
                  </a:lnTo>
                  <a:lnTo>
                    <a:pt x="46" y="43"/>
                  </a:lnTo>
                  <a:lnTo>
                    <a:pt x="69" y="37"/>
                  </a:lnTo>
                  <a:lnTo>
                    <a:pt x="54" y="16"/>
                  </a:lnTo>
                  <a:lnTo>
                    <a:pt x="60" y="1"/>
                  </a:lnTo>
                  <a:lnTo>
                    <a:pt x="40" y="4"/>
                  </a:lnTo>
                  <a:lnTo>
                    <a:pt x="25" y="4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5" name="Freeform 438"/>
            <p:cNvSpPr>
              <a:spLocks/>
            </p:cNvSpPr>
            <p:nvPr>
              <p:custDataLst>
                <p:tags r:id="rId160"/>
              </p:custDataLst>
            </p:nvPr>
          </p:nvSpPr>
          <p:spPr bwMode="gray">
            <a:xfrm>
              <a:off x="2773168" y="3820980"/>
              <a:ext cx="74513" cy="22676"/>
            </a:xfrm>
            <a:custGeom>
              <a:avLst/>
              <a:gdLst>
                <a:gd name="T0" fmla="*/ 0 w 45"/>
                <a:gd name="T1" fmla="*/ 8 h 15"/>
                <a:gd name="T2" fmla="*/ 24 w 45"/>
                <a:gd name="T3" fmla="*/ 8 h 15"/>
                <a:gd name="T4" fmla="*/ 43 w 45"/>
                <a:gd name="T5" fmla="*/ 0 h 15"/>
                <a:gd name="T6" fmla="*/ 45 w 45"/>
                <a:gd name="T7" fmla="*/ 14 h 15"/>
                <a:gd name="T8" fmla="*/ 21 w 45"/>
                <a:gd name="T9" fmla="*/ 15 h 15"/>
                <a:gd name="T10" fmla="*/ 0 w 45"/>
                <a:gd name="T11" fmla="*/ 8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15">
                  <a:moveTo>
                    <a:pt x="0" y="8"/>
                  </a:moveTo>
                  <a:lnTo>
                    <a:pt x="24" y="8"/>
                  </a:lnTo>
                  <a:lnTo>
                    <a:pt x="43" y="0"/>
                  </a:lnTo>
                  <a:lnTo>
                    <a:pt x="45" y="14"/>
                  </a:lnTo>
                  <a:lnTo>
                    <a:pt x="21" y="15"/>
                  </a:lnTo>
                  <a:lnTo>
                    <a:pt x="0" y="8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6" name="Freeform 490"/>
            <p:cNvSpPr>
              <a:spLocks/>
            </p:cNvSpPr>
            <p:nvPr>
              <p:custDataLst>
                <p:tags r:id="rId161"/>
              </p:custDataLst>
            </p:nvPr>
          </p:nvSpPr>
          <p:spPr bwMode="gray">
            <a:xfrm>
              <a:off x="4744513" y="3710836"/>
              <a:ext cx="265654" cy="390359"/>
            </a:xfrm>
            <a:custGeom>
              <a:avLst/>
              <a:gdLst>
                <a:gd name="T0" fmla="*/ 140 w 160"/>
                <a:gd name="T1" fmla="*/ 182 h 236"/>
                <a:gd name="T2" fmla="*/ 137 w 160"/>
                <a:gd name="T3" fmla="*/ 164 h 236"/>
                <a:gd name="T4" fmla="*/ 131 w 160"/>
                <a:gd name="T5" fmla="*/ 154 h 236"/>
                <a:gd name="T6" fmla="*/ 137 w 160"/>
                <a:gd name="T7" fmla="*/ 136 h 236"/>
                <a:gd name="T8" fmla="*/ 158 w 160"/>
                <a:gd name="T9" fmla="*/ 106 h 236"/>
                <a:gd name="T10" fmla="*/ 158 w 160"/>
                <a:gd name="T11" fmla="*/ 63 h 236"/>
                <a:gd name="T12" fmla="*/ 143 w 160"/>
                <a:gd name="T13" fmla="*/ 49 h 236"/>
                <a:gd name="T14" fmla="*/ 125 w 160"/>
                <a:gd name="T15" fmla="*/ 39 h 236"/>
                <a:gd name="T16" fmla="*/ 107 w 160"/>
                <a:gd name="T17" fmla="*/ 30 h 236"/>
                <a:gd name="T18" fmla="*/ 92 w 160"/>
                <a:gd name="T19" fmla="*/ 26 h 236"/>
                <a:gd name="T20" fmla="*/ 77 w 160"/>
                <a:gd name="T21" fmla="*/ 8 h 236"/>
                <a:gd name="T22" fmla="*/ 65 w 160"/>
                <a:gd name="T23" fmla="*/ 7 h 236"/>
                <a:gd name="T24" fmla="*/ 50 w 160"/>
                <a:gd name="T25" fmla="*/ 4 h 236"/>
                <a:gd name="T26" fmla="*/ 26 w 160"/>
                <a:gd name="T27" fmla="*/ 2 h 236"/>
                <a:gd name="T28" fmla="*/ 31 w 160"/>
                <a:gd name="T29" fmla="*/ 17 h 236"/>
                <a:gd name="T30" fmla="*/ 40 w 160"/>
                <a:gd name="T31" fmla="*/ 51 h 236"/>
                <a:gd name="T32" fmla="*/ 34 w 160"/>
                <a:gd name="T33" fmla="*/ 93 h 236"/>
                <a:gd name="T34" fmla="*/ 21 w 160"/>
                <a:gd name="T35" fmla="*/ 116 h 236"/>
                <a:gd name="T36" fmla="*/ 5 w 160"/>
                <a:gd name="T37" fmla="*/ 131 h 236"/>
                <a:gd name="T38" fmla="*/ 13 w 160"/>
                <a:gd name="T39" fmla="*/ 158 h 236"/>
                <a:gd name="T40" fmla="*/ 28 w 160"/>
                <a:gd name="T41" fmla="*/ 188 h 236"/>
                <a:gd name="T42" fmla="*/ 29 w 160"/>
                <a:gd name="T43" fmla="*/ 197 h 236"/>
                <a:gd name="T44" fmla="*/ 14 w 160"/>
                <a:gd name="T45" fmla="*/ 205 h 236"/>
                <a:gd name="T46" fmla="*/ 26 w 160"/>
                <a:gd name="T47" fmla="*/ 217 h 236"/>
                <a:gd name="T48" fmla="*/ 43 w 160"/>
                <a:gd name="T49" fmla="*/ 232 h 236"/>
                <a:gd name="T50" fmla="*/ 67 w 160"/>
                <a:gd name="T51" fmla="*/ 235 h 236"/>
                <a:gd name="T52" fmla="*/ 83 w 160"/>
                <a:gd name="T53" fmla="*/ 228 h 236"/>
                <a:gd name="T54" fmla="*/ 98 w 160"/>
                <a:gd name="T55" fmla="*/ 214 h 236"/>
                <a:gd name="T56" fmla="*/ 115 w 160"/>
                <a:gd name="T57" fmla="*/ 205 h 236"/>
                <a:gd name="T58" fmla="*/ 121 w 160"/>
                <a:gd name="T59" fmla="*/ 197 h 236"/>
                <a:gd name="T60" fmla="*/ 142 w 160"/>
                <a:gd name="T61" fmla="*/ 185 h 236"/>
                <a:gd name="T62" fmla="*/ 140 w 160"/>
                <a:gd name="T63" fmla="*/ 182 h 2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0" h="236">
                  <a:moveTo>
                    <a:pt x="140" y="182"/>
                  </a:moveTo>
                  <a:cubicBezTo>
                    <a:pt x="140" y="178"/>
                    <a:pt x="138" y="169"/>
                    <a:pt x="137" y="164"/>
                  </a:cubicBezTo>
                  <a:cubicBezTo>
                    <a:pt x="136" y="159"/>
                    <a:pt x="131" y="159"/>
                    <a:pt x="131" y="154"/>
                  </a:cubicBezTo>
                  <a:cubicBezTo>
                    <a:pt x="133" y="149"/>
                    <a:pt x="137" y="136"/>
                    <a:pt x="137" y="136"/>
                  </a:cubicBezTo>
                  <a:cubicBezTo>
                    <a:pt x="145" y="123"/>
                    <a:pt x="140" y="110"/>
                    <a:pt x="158" y="106"/>
                  </a:cubicBezTo>
                  <a:cubicBezTo>
                    <a:pt x="160" y="93"/>
                    <a:pt x="160" y="72"/>
                    <a:pt x="158" y="63"/>
                  </a:cubicBezTo>
                  <a:cubicBezTo>
                    <a:pt x="156" y="54"/>
                    <a:pt x="148" y="53"/>
                    <a:pt x="143" y="49"/>
                  </a:cubicBezTo>
                  <a:cubicBezTo>
                    <a:pt x="138" y="42"/>
                    <a:pt x="133" y="40"/>
                    <a:pt x="125" y="39"/>
                  </a:cubicBezTo>
                  <a:cubicBezTo>
                    <a:pt x="118" y="36"/>
                    <a:pt x="114" y="31"/>
                    <a:pt x="107" y="30"/>
                  </a:cubicBezTo>
                  <a:cubicBezTo>
                    <a:pt x="103" y="28"/>
                    <a:pt x="99" y="30"/>
                    <a:pt x="92" y="26"/>
                  </a:cubicBezTo>
                  <a:cubicBezTo>
                    <a:pt x="87" y="22"/>
                    <a:pt x="81" y="11"/>
                    <a:pt x="77" y="8"/>
                  </a:cubicBezTo>
                  <a:cubicBezTo>
                    <a:pt x="73" y="5"/>
                    <a:pt x="69" y="8"/>
                    <a:pt x="65" y="7"/>
                  </a:cubicBezTo>
                  <a:cubicBezTo>
                    <a:pt x="60" y="5"/>
                    <a:pt x="54" y="7"/>
                    <a:pt x="50" y="4"/>
                  </a:cubicBezTo>
                  <a:cubicBezTo>
                    <a:pt x="41" y="4"/>
                    <a:pt x="34" y="0"/>
                    <a:pt x="26" y="2"/>
                  </a:cubicBezTo>
                  <a:cubicBezTo>
                    <a:pt x="22" y="3"/>
                    <a:pt x="25" y="16"/>
                    <a:pt x="31" y="17"/>
                  </a:cubicBezTo>
                  <a:cubicBezTo>
                    <a:pt x="37" y="27"/>
                    <a:pt x="36" y="40"/>
                    <a:pt x="40" y="51"/>
                  </a:cubicBezTo>
                  <a:cubicBezTo>
                    <a:pt x="43" y="69"/>
                    <a:pt x="45" y="79"/>
                    <a:pt x="34" y="93"/>
                  </a:cubicBezTo>
                  <a:cubicBezTo>
                    <a:pt x="31" y="104"/>
                    <a:pt x="26" y="110"/>
                    <a:pt x="21" y="116"/>
                  </a:cubicBezTo>
                  <a:cubicBezTo>
                    <a:pt x="16" y="122"/>
                    <a:pt x="6" y="124"/>
                    <a:pt x="5" y="131"/>
                  </a:cubicBezTo>
                  <a:cubicBezTo>
                    <a:pt x="3" y="142"/>
                    <a:pt x="0" y="156"/>
                    <a:pt x="13" y="158"/>
                  </a:cubicBezTo>
                  <a:cubicBezTo>
                    <a:pt x="14" y="170"/>
                    <a:pt x="21" y="179"/>
                    <a:pt x="28" y="188"/>
                  </a:cubicBezTo>
                  <a:cubicBezTo>
                    <a:pt x="29" y="195"/>
                    <a:pt x="38" y="195"/>
                    <a:pt x="29" y="197"/>
                  </a:cubicBezTo>
                  <a:cubicBezTo>
                    <a:pt x="23" y="200"/>
                    <a:pt x="18" y="199"/>
                    <a:pt x="14" y="205"/>
                  </a:cubicBezTo>
                  <a:cubicBezTo>
                    <a:pt x="16" y="210"/>
                    <a:pt x="21" y="213"/>
                    <a:pt x="26" y="217"/>
                  </a:cubicBezTo>
                  <a:cubicBezTo>
                    <a:pt x="32" y="226"/>
                    <a:pt x="32" y="231"/>
                    <a:pt x="43" y="232"/>
                  </a:cubicBezTo>
                  <a:cubicBezTo>
                    <a:pt x="50" y="235"/>
                    <a:pt x="60" y="236"/>
                    <a:pt x="67" y="235"/>
                  </a:cubicBezTo>
                  <a:cubicBezTo>
                    <a:pt x="74" y="234"/>
                    <a:pt x="78" y="232"/>
                    <a:pt x="83" y="228"/>
                  </a:cubicBezTo>
                  <a:cubicBezTo>
                    <a:pt x="86" y="219"/>
                    <a:pt x="91" y="219"/>
                    <a:pt x="98" y="214"/>
                  </a:cubicBezTo>
                  <a:cubicBezTo>
                    <a:pt x="102" y="207"/>
                    <a:pt x="107" y="206"/>
                    <a:pt x="115" y="205"/>
                  </a:cubicBezTo>
                  <a:cubicBezTo>
                    <a:pt x="125" y="197"/>
                    <a:pt x="113" y="207"/>
                    <a:pt x="121" y="197"/>
                  </a:cubicBezTo>
                  <a:cubicBezTo>
                    <a:pt x="125" y="192"/>
                    <a:pt x="138" y="187"/>
                    <a:pt x="142" y="185"/>
                  </a:cubicBezTo>
                  <a:cubicBezTo>
                    <a:pt x="143" y="184"/>
                    <a:pt x="141" y="183"/>
                    <a:pt x="140" y="182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7" name="Freeform 491"/>
            <p:cNvSpPr>
              <a:spLocks/>
            </p:cNvSpPr>
            <p:nvPr>
              <p:custDataLst>
                <p:tags r:id="rId162"/>
              </p:custDataLst>
            </p:nvPr>
          </p:nvSpPr>
          <p:spPr bwMode="gray">
            <a:xfrm>
              <a:off x="5233705" y="3924643"/>
              <a:ext cx="357985" cy="270498"/>
            </a:xfrm>
            <a:custGeom>
              <a:avLst/>
              <a:gdLst>
                <a:gd name="T0" fmla="*/ 46 w 216"/>
                <a:gd name="T1" fmla="*/ 5 h 164"/>
                <a:gd name="T2" fmla="*/ 68 w 216"/>
                <a:gd name="T3" fmla="*/ 6 h 164"/>
                <a:gd name="T4" fmla="*/ 87 w 216"/>
                <a:gd name="T5" fmla="*/ 6 h 164"/>
                <a:gd name="T6" fmla="*/ 113 w 216"/>
                <a:gd name="T7" fmla="*/ 6 h 164"/>
                <a:gd name="T8" fmla="*/ 124 w 216"/>
                <a:gd name="T9" fmla="*/ 9 h 164"/>
                <a:gd name="T10" fmla="*/ 129 w 216"/>
                <a:gd name="T11" fmla="*/ 24 h 164"/>
                <a:gd name="T12" fmla="*/ 122 w 216"/>
                <a:gd name="T13" fmla="*/ 27 h 164"/>
                <a:gd name="T14" fmla="*/ 124 w 216"/>
                <a:gd name="T15" fmla="*/ 39 h 164"/>
                <a:gd name="T16" fmla="*/ 153 w 216"/>
                <a:gd name="T17" fmla="*/ 64 h 164"/>
                <a:gd name="T18" fmla="*/ 170 w 216"/>
                <a:gd name="T19" fmla="*/ 82 h 164"/>
                <a:gd name="T20" fmla="*/ 182 w 216"/>
                <a:gd name="T21" fmla="*/ 85 h 164"/>
                <a:gd name="T22" fmla="*/ 200 w 216"/>
                <a:gd name="T23" fmla="*/ 94 h 164"/>
                <a:gd name="T24" fmla="*/ 215 w 216"/>
                <a:gd name="T25" fmla="*/ 103 h 164"/>
                <a:gd name="T26" fmla="*/ 198 w 216"/>
                <a:gd name="T27" fmla="*/ 120 h 164"/>
                <a:gd name="T28" fmla="*/ 186 w 216"/>
                <a:gd name="T29" fmla="*/ 133 h 164"/>
                <a:gd name="T30" fmla="*/ 168 w 216"/>
                <a:gd name="T31" fmla="*/ 143 h 164"/>
                <a:gd name="T32" fmla="*/ 132 w 216"/>
                <a:gd name="T33" fmla="*/ 146 h 164"/>
                <a:gd name="T34" fmla="*/ 107 w 216"/>
                <a:gd name="T35" fmla="*/ 161 h 164"/>
                <a:gd name="T36" fmla="*/ 87 w 216"/>
                <a:gd name="T37" fmla="*/ 162 h 164"/>
                <a:gd name="T38" fmla="*/ 65 w 216"/>
                <a:gd name="T39" fmla="*/ 162 h 164"/>
                <a:gd name="T40" fmla="*/ 48 w 216"/>
                <a:gd name="T41" fmla="*/ 148 h 164"/>
                <a:gd name="T42" fmla="*/ 42 w 216"/>
                <a:gd name="T43" fmla="*/ 144 h 164"/>
                <a:gd name="T44" fmla="*/ 24 w 216"/>
                <a:gd name="T45" fmla="*/ 127 h 164"/>
                <a:gd name="T46" fmla="*/ 18 w 216"/>
                <a:gd name="T47" fmla="*/ 113 h 164"/>
                <a:gd name="T48" fmla="*/ 2 w 216"/>
                <a:gd name="T49" fmla="*/ 99 h 164"/>
                <a:gd name="T50" fmla="*/ 4 w 216"/>
                <a:gd name="T51" fmla="*/ 92 h 164"/>
                <a:gd name="T52" fmla="*/ 14 w 216"/>
                <a:gd name="T53" fmla="*/ 83 h 164"/>
                <a:gd name="T54" fmla="*/ 16 w 216"/>
                <a:gd name="T55" fmla="*/ 60 h 164"/>
                <a:gd name="T56" fmla="*/ 28 w 216"/>
                <a:gd name="T57" fmla="*/ 42 h 164"/>
                <a:gd name="T58" fmla="*/ 41 w 216"/>
                <a:gd name="T59" fmla="*/ 31 h 164"/>
                <a:gd name="T60" fmla="*/ 46 w 216"/>
                <a:gd name="T61" fmla="*/ 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216" h="164">
                  <a:moveTo>
                    <a:pt x="46" y="5"/>
                  </a:moveTo>
                  <a:cubicBezTo>
                    <a:pt x="50" y="0"/>
                    <a:pt x="61" y="6"/>
                    <a:pt x="68" y="6"/>
                  </a:cubicBezTo>
                  <a:cubicBezTo>
                    <a:pt x="75" y="6"/>
                    <a:pt x="80" y="6"/>
                    <a:pt x="87" y="6"/>
                  </a:cubicBezTo>
                  <a:cubicBezTo>
                    <a:pt x="94" y="6"/>
                    <a:pt x="107" y="6"/>
                    <a:pt x="113" y="6"/>
                  </a:cubicBezTo>
                  <a:cubicBezTo>
                    <a:pt x="117" y="8"/>
                    <a:pt x="121" y="5"/>
                    <a:pt x="124" y="9"/>
                  </a:cubicBezTo>
                  <a:cubicBezTo>
                    <a:pt x="126" y="11"/>
                    <a:pt x="130" y="21"/>
                    <a:pt x="129" y="24"/>
                  </a:cubicBezTo>
                  <a:cubicBezTo>
                    <a:pt x="129" y="27"/>
                    <a:pt x="123" y="25"/>
                    <a:pt x="122" y="27"/>
                  </a:cubicBezTo>
                  <a:cubicBezTo>
                    <a:pt x="121" y="28"/>
                    <a:pt x="119" y="33"/>
                    <a:pt x="124" y="39"/>
                  </a:cubicBezTo>
                  <a:cubicBezTo>
                    <a:pt x="129" y="45"/>
                    <a:pt x="145" y="57"/>
                    <a:pt x="153" y="64"/>
                  </a:cubicBezTo>
                  <a:cubicBezTo>
                    <a:pt x="156" y="69"/>
                    <a:pt x="164" y="78"/>
                    <a:pt x="170" y="82"/>
                  </a:cubicBezTo>
                  <a:cubicBezTo>
                    <a:pt x="174" y="83"/>
                    <a:pt x="182" y="85"/>
                    <a:pt x="182" y="85"/>
                  </a:cubicBezTo>
                  <a:cubicBezTo>
                    <a:pt x="186" y="88"/>
                    <a:pt x="196" y="91"/>
                    <a:pt x="200" y="94"/>
                  </a:cubicBezTo>
                  <a:cubicBezTo>
                    <a:pt x="205" y="97"/>
                    <a:pt x="215" y="99"/>
                    <a:pt x="215" y="103"/>
                  </a:cubicBezTo>
                  <a:cubicBezTo>
                    <a:pt x="216" y="108"/>
                    <a:pt x="203" y="115"/>
                    <a:pt x="198" y="120"/>
                  </a:cubicBezTo>
                  <a:cubicBezTo>
                    <a:pt x="193" y="125"/>
                    <a:pt x="191" y="129"/>
                    <a:pt x="186" y="133"/>
                  </a:cubicBezTo>
                  <a:cubicBezTo>
                    <a:pt x="178" y="138"/>
                    <a:pt x="177" y="141"/>
                    <a:pt x="168" y="143"/>
                  </a:cubicBezTo>
                  <a:cubicBezTo>
                    <a:pt x="159" y="145"/>
                    <a:pt x="142" y="143"/>
                    <a:pt x="132" y="146"/>
                  </a:cubicBezTo>
                  <a:cubicBezTo>
                    <a:pt x="122" y="156"/>
                    <a:pt x="123" y="159"/>
                    <a:pt x="107" y="161"/>
                  </a:cubicBezTo>
                  <a:cubicBezTo>
                    <a:pt x="100" y="164"/>
                    <a:pt x="94" y="162"/>
                    <a:pt x="87" y="162"/>
                  </a:cubicBezTo>
                  <a:cubicBezTo>
                    <a:pt x="80" y="162"/>
                    <a:pt x="71" y="164"/>
                    <a:pt x="65" y="162"/>
                  </a:cubicBezTo>
                  <a:cubicBezTo>
                    <a:pt x="54" y="158"/>
                    <a:pt x="62" y="157"/>
                    <a:pt x="48" y="148"/>
                  </a:cubicBezTo>
                  <a:cubicBezTo>
                    <a:pt x="46" y="147"/>
                    <a:pt x="42" y="144"/>
                    <a:pt x="42" y="144"/>
                  </a:cubicBezTo>
                  <a:cubicBezTo>
                    <a:pt x="38" y="141"/>
                    <a:pt x="29" y="133"/>
                    <a:pt x="24" y="127"/>
                  </a:cubicBezTo>
                  <a:cubicBezTo>
                    <a:pt x="20" y="122"/>
                    <a:pt x="22" y="118"/>
                    <a:pt x="18" y="113"/>
                  </a:cubicBezTo>
                  <a:cubicBezTo>
                    <a:pt x="15" y="109"/>
                    <a:pt x="2" y="99"/>
                    <a:pt x="2" y="99"/>
                  </a:cubicBezTo>
                  <a:cubicBezTo>
                    <a:pt x="0" y="95"/>
                    <a:pt x="2" y="95"/>
                    <a:pt x="4" y="92"/>
                  </a:cubicBezTo>
                  <a:cubicBezTo>
                    <a:pt x="6" y="89"/>
                    <a:pt x="12" y="88"/>
                    <a:pt x="14" y="83"/>
                  </a:cubicBezTo>
                  <a:cubicBezTo>
                    <a:pt x="17" y="76"/>
                    <a:pt x="11" y="67"/>
                    <a:pt x="16" y="60"/>
                  </a:cubicBezTo>
                  <a:cubicBezTo>
                    <a:pt x="18" y="56"/>
                    <a:pt x="25" y="45"/>
                    <a:pt x="28" y="42"/>
                  </a:cubicBezTo>
                  <a:cubicBezTo>
                    <a:pt x="31" y="39"/>
                    <a:pt x="41" y="31"/>
                    <a:pt x="41" y="31"/>
                  </a:cubicBezTo>
                  <a:cubicBezTo>
                    <a:pt x="44" y="24"/>
                    <a:pt x="50" y="13"/>
                    <a:pt x="46" y="5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8" name="Freeform 492"/>
            <p:cNvSpPr>
              <a:spLocks/>
            </p:cNvSpPr>
            <p:nvPr>
              <p:custDataLst>
                <p:tags r:id="rId163"/>
              </p:custDataLst>
            </p:nvPr>
          </p:nvSpPr>
          <p:spPr bwMode="gray">
            <a:xfrm>
              <a:off x="4778530" y="4010489"/>
              <a:ext cx="312630" cy="197609"/>
            </a:xfrm>
            <a:custGeom>
              <a:avLst/>
              <a:gdLst>
                <a:gd name="T0" fmla="*/ 11 w 188"/>
                <a:gd name="T1" fmla="*/ 49 h 119"/>
                <a:gd name="T2" fmla="*/ 47 w 188"/>
                <a:gd name="T3" fmla="*/ 52 h 119"/>
                <a:gd name="T4" fmla="*/ 65 w 188"/>
                <a:gd name="T5" fmla="*/ 40 h 119"/>
                <a:gd name="T6" fmla="*/ 97 w 188"/>
                <a:gd name="T7" fmla="*/ 17 h 119"/>
                <a:gd name="T8" fmla="*/ 121 w 188"/>
                <a:gd name="T9" fmla="*/ 0 h 119"/>
                <a:gd name="T10" fmla="*/ 130 w 188"/>
                <a:gd name="T11" fmla="*/ 14 h 119"/>
                <a:gd name="T12" fmla="*/ 136 w 188"/>
                <a:gd name="T13" fmla="*/ 29 h 119"/>
                <a:gd name="T14" fmla="*/ 144 w 188"/>
                <a:gd name="T15" fmla="*/ 41 h 119"/>
                <a:gd name="T16" fmla="*/ 156 w 188"/>
                <a:gd name="T17" fmla="*/ 48 h 119"/>
                <a:gd name="T18" fmla="*/ 164 w 188"/>
                <a:gd name="T19" fmla="*/ 59 h 119"/>
                <a:gd name="T20" fmla="*/ 180 w 188"/>
                <a:gd name="T21" fmla="*/ 77 h 119"/>
                <a:gd name="T22" fmla="*/ 188 w 188"/>
                <a:gd name="T23" fmla="*/ 87 h 119"/>
                <a:gd name="T24" fmla="*/ 169 w 188"/>
                <a:gd name="T25" fmla="*/ 88 h 119"/>
                <a:gd name="T26" fmla="*/ 152 w 188"/>
                <a:gd name="T27" fmla="*/ 93 h 119"/>
                <a:gd name="T28" fmla="*/ 136 w 188"/>
                <a:gd name="T29" fmla="*/ 91 h 119"/>
                <a:gd name="T30" fmla="*/ 106 w 188"/>
                <a:gd name="T31" fmla="*/ 102 h 119"/>
                <a:gd name="T32" fmla="*/ 86 w 188"/>
                <a:gd name="T33" fmla="*/ 96 h 119"/>
                <a:gd name="T34" fmla="*/ 68 w 188"/>
                <a:gd name="T35" fmla="*/ 91 h 119"/>
                <a:gd name="T36" fmla="*/ 55 w 188"/>
                <a:gd name="T37" fmla="*/ 110 h 119"/>
                <a:gd name="T38" fmla="*/ 34 w 188"/>
                <a:gd name="T39" fmla="*/ 110 h 119"/>
                <a:gd name="T40" fmla="*/ 19 w 188"/>
                <a:gd name="T41" fmla="*/ 116 h 119"/>
                <a:gd name="T42" fmla="*/ 7 w 188"/>
                <a:gd name="T43" fmla="*/ 91 h 119"/>
                <a:gd name="T44" fmla="*/ 10 w 188"/>
                <a:gd name="T45" fmla="*/ 58 h 119"/>
                <a:gd name="T46" fmla="*/ 11 w 188"/>
                <a:gd name="T47" fmla="*/ 49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88" h="119">
                  <a:moveTo>
                    <a:pt x="11" y="49"/>
                  </a:moveTo>
                  <a:cubicBezTo>
                    <a:pt x="16" y="48"/>
                    <a:pt x="38" y="53"/>
                    <a:pt x="47" y="52"/>
                  </a:cubicBezTo>
                  <a:cubicBezTo>
                    <a:pt x="56" y="51"/>
                    <a:pt x="62" y="43"/>
                    <a:pt x="65" y="40"/>
                  </a:cubicBezTo>
                  <a:cubicBezTo>
                    <a:pt x="73" y="34"/>
                    <a:pt x="88" y="23"/>
                    <a:pt x="97" y="17"/>
                  </a:cubicBezTo>
                  <a:cubicBezTo>
                    <a:pt x="98" y="10"/>
                    <a:pt x="114" y="3"/>
                    <a:pt x="121" y="0"/>
                  </a:cubicBezTo>
                  <a:cubicBezTo>
                    <a:pt x="124" y="5"/>
                    <a:pt x="127" y="9"/>
                    <a:pt x="130" y="14"/>
                  </a:cubicBezTo>
                  <a:cubicBezTo>
                    <a:pt x="133" y="19"/>
                    <a:pt x="132" y="24"/>
                    <a:pt x="136" y="29"/>
                  </a:cubicBezTo>
                  <a:cubicBezTo>
                    <a:pt x="138" y="33"/>
                    <a:pt x="141" y="38"/>
                    <a:pt x="144" y="41"/>
                  </a:cubicBezTo>
                  <a:cubicBezTo>
                    <a:pt x="147" y="45"/>
                    <a:pt x="153" y="45"/>
                    <a:pt x="156" y="48"/>
                  </a:cubicBezTo>
                  <a:cubicBezTo>
                    <a:pt x="159" y="51"/>
                    <a:pt x="160" y="54"/>
                    <a:pt x="164" y="59"/>
                  </a:cubicBezTo>
                  <a:cubicBezTo>
                    <a:pt x="170" y="65"/>
                    <a:pt x="171" y="75"/>
                    <a:pt x="180" y="77"/>
                  </a:cubicBezTo>
                  <a:cubicBezTo>
                    <a:pt x="181" y="83"/>
                    <a:pt x="187" y="81"/>
                    <a:pt x="188" y="87"/>
                  </a:cubicBezTo>
                  <a:cubicBezTo>
                    <a:pt x="187" y="90"/>
                    <a:pt x="175" y="87"/>
                    <a:pt x="169" y="88"/>
                  </a:cubicBezTo>
                  <a:cubicBezTo>
                    <a:pt x="163" y="89"/>
                    <a:pt x="157" y="93"/>
                    <a:pt x="152" y="93"/>
                  </a:cubicBezTo>
                  <a:cubicBezTo>
                    <a:pt x="143" y="95"/>
                    <a:pt x="143" y="89"/>
                    <a:pt x="136" y="91"/>
                  </a:cubicBezTo>
                  <a:cubicBezTo>
                    <a:pt x="128" y="93"/>
                    <a:pt x="114" y="101"/>
                    <a:pt x="106" y="102"/>
                  </a:cubicBezTo>
                  <a:cubicBezTo>
                    <a:pt x="96" y="109"/>
                    <a:pt x="96" y="98"/>
                    <a:pt x="86" y="96"/>
                  </a:cubicBezTo>
                  <a:cubicBezTo>
                    <a:pt x="79" y="91"/>
                    <a:pt x="78" y="90"/>
                    <a:pt x="68" y="91"/>
                  </a:cubicBezTo>
                  <a:cubicBezTo>
                    <a:pt x="63" y="92"/>
                    <a:pt x="63" y="106"/>
                    <a:pt x="55" y="110"/>
                  </a:cubicBezTo>
                  <a:cubicBezTo>
                    <a:pt x="49" y="113"/>
                    <a:pt x="40" y="109"/>
                    <a:pt x="34" y="110"/>
                  </a:cubicBezTo>
                  <a:cubicBezTo>
                    <a:pt x="28" y="111"/>
                    <a:pt x="23" y="119"/>
                    <a:pt x="19" y="116"/>
                  </a:cubicBezTo>
                  <a:cubicBezTo>
                    <a:pt x="0" y="113"/>
                    <a:pt x="16" y="103"/>
                    <a:pt x="7" y="91"/>
                  </a:cubicBezTo>
                  <a:cubicBezTo>
                    <a:pt x="4" y="76"/>
                    <a:pt x="1" y="69"/>
                    <a:pt x="10" y="58"/>
                  </a:cubicBezTo>
                  <a:cubicBezTo>
                    <a:pt x="11" y="50"/>
                    <a:pt x="11" y="53"/>
                    <a:pt x="11" y="49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9" name="Freeform 494"/>
            <p:cNvSpPr>
              <a:spLocks/>
            </p:cNvSpPr>
            <p:nvPr>
              <p:custDataLst>
                <p:tags r:id="rId164"/>
              </p:custDataLst>
            </p:nvPr>
          </p:nvSpPr>
          <p:spPr bwMode="gray">
            <a:xfrm>
              <a:off x="4966433" y="3733513"/>
              <a:ext cx="387142" cy="335288"/>
            </a:xfrm>
            <a:custGeom>
              <a:avLst/>
              <a:gdLst>
                <a:gd name="T0" fmla="*/ 12 w 234"/>
                <a:gd name="T1" fmla="*/ 101 h 203"/>
                <a:gd name="T2" fmla="*/ 24 w 234"/>
                <a:gd name="T3" fmla="*/ 87 h 203"/>
                <a:gd name="T4" fmla="*/ 26 w 234"/>
                <a:gd name="T5" fmla="*/ 36 h 203"/>
                <a:gd name="T6" fmla="*/ 41 w 234"/>
                <a:gd name="T7" fmla="*/ 37 h 203"/>
                <a:gd name="T8" fmla="*/ 40 w 234"/>
                <a:gd name="T9" fmla="*/ 7 h 203"/>
                <a:gd name="T10" fmla="*/ 152 w 234"/>
                <a:gd name="T11" fmla="*/ 7 h 203"/>
                <a:gd name="T12" fmla="*/ 181 w 234"/>
                <a:gd name="T13" fmla="*/ 8 h 203"/>
                <a:gd name="T14" fmla="*/ 209 w 234"/>
                <a:gd name="T15" fmla="*/ 0 h 203"/>
                <a:gd name="T16" fmla="*/ 216 w 234"/>
                <a:gd name="T17" fmla="*/ 8 h 203"/>
                <a:gd name="T18" fmla="*/ 218 w 234"/>
                <a:gd name="T19" fmla="*/ 13 h 203"/>
                <a:gd name="T20" fmla="*/ 220 w 234"/>
                <a:gd name="T21" fmla="*/ 22 h 203"/>
                <a:gd name="T22" fmla="*/ 221 w 234"/>
                <a:gd name="T23" fmla="*/ 36 h 203"/>
                <a:gd name="T24" fmla="*/ 234 w 234"/>
                <a:gd name="T25" fmla="*/ 60 h 203"/>
                <a:gd name="T26" fmla="*/ 224 w 234"/>
                <a:gd name="T27" fmla="*/ 78 h 203"/>
                <a:gd name="T28" fmla="*/ 213 w 234"/>
                <a:gd name="T29" fmla="*/ 93 h 203"/>
                <a:gd name="T30" fmla="*/ 211 w 234"/>
                <a:gd name="T31" fmla="*/ 106 h 203"/>
                <a:gd name="T32" fmla="*/ 209 w 234"/>
                <a:gd name="T33" fmla="*/ 112 h 203"/>
                <a:gd name="T34" fmla="*/ 207 w 234"/>
                <a:gd name="T35" fmla="*/ 136 h 203"/>
                <a:gd name="T36" fmla="*/ 199 w 234"/>
                <a:gd name="T37" fmla="*/ 146 h 203"/>
                <a:gd name="T38" fmla="*/ 192 w 234"/>
                <a:gd name="T39" fmla="*/ 157 h 203"/>
                <a:gd name="T40" fmla="*/ 189 w 234"/>
                <a:gd name="T41" fmla="*/ 160 h 203"/>
                <a:gd name="T42" fmla="*/ 181 w 234"/>
                <a:gd name="T43" fmla="*/ 174 h 203"/>
                <a:gd name="T44" fmla="*/ 176 w 234"/>
                <a:gd name="T45" fmla="*/ 190 h 203"/>
                <a:gd name="T46" fmla="*/ 173 w 234"/>
                <a:gd name="T47" fmla="*/ 187 h 203"/>
                <a:gd name="T48" fmla="*/ 162 w 234"/>
                <a:gd name="T49" fmla="*/ 163 h 203"/>
                <a:gd name="T50" fmla="*/ 156 w 234"/>
                <a:gd name="T51" fmla="*/ 156 h 203"/>
                <a:gd name="T52" fmla="*/ 152 w 234"/>
                <a:gd name="T53" fmla="*/ 160 h 203"/>
                <a:gd name="T54" fmla="*/ 145 w 234"/>
                <a:gd name="T55" fmla="*/ 177 h 203"/>
                <a:gd name="T56" fmla="*/ 129 w 234"/>
                <a:gd name="T57" fmla="*/ 189 h 203"/>
                <a:gd name="T58" fmla="*/ 116 w 234"/>
                <a:gd name="T59" fmla="*/ 179 h 203"/>
                <a:gd name="T60" fmla="*/ 106 w 234"/>
                <a:gd name="T61" fmla="*/ 187 h 203"/>
                <a:gd name="T62" fmla="*/ 93 w 234"/>
                <a:gd name="T63" fmla="*/ 193 h 203"/>
                <a:gd name="T64" fmla="*/ 86 w 234"/>
                <a:gd name="T65" fmla="*/ 194 h 203"/>
                <a:gd name="T66" fmla="*/ 63 w 234"/>
                <a:gd name="T67" fmla="*/ 191 h 203"/>
                <a:gd name="T68" fmla="*/ 53 w 234"/>
                <a:gd name="T69" fmla="*/ 179 h 203"/>
                <a:gd name="T70" fmla="*/ 39 w 234"/>
                <a:gd name="T71" fmla="*/ 183 h 203"/>
                <a:gd name="T72" fmla="*/ 36 w 234"/>
                <a:gd name="T73" fmla="*/ 194 h 203"/>
                <a:gd name="T74" fmla="*/ 29 w 234"/>
                <a:gd name="T75" fmla="*/ 203 h 203"/>
                <a:gd name="T76" fmla="*/ 21 w 234"/>
                <a:gd name="T77" fmla="*/ 193 h 203"/>
                <a:gd name="T78" fmla="*/ 13 w 234"/>
                <a:gd name="T79" fmla="*/ 177 h 203"/>
                <a:gd name="T80" fmla="*/ 4 w 234"/>
                <a:gd name="T81" fmla="*/ 159 h 203"/>
                <a:gd name="T82" fmla="*/ 0 w 234"/>
                <a:gd name="T83" fmla="*/ 140 h 203"/>
                <a:gd name="T84" fmla="*/ 4 w 234"/>
                <a:gd name="T85" fmla="*/ 125 h 203"/>
                <a:gd name="T86" fmla="*/ 10 w 234"/>
                <a:gd name="T87" fmla="*/ 115 h 203"/>
                <a:gd name="T88" fmla="*/ 9 w 234"/>
                <a:gd name="T89" fmla="*/ 111 h 203"/>
                <a:gd name="T90" fmla="*/ 12 w 234"/>
                <a:gd name="T91" fmla="*/ 101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34" h="203">
                  <a:moveTo>
                    <a:pt x="12" y="101"/>
                  </a:moveTo>
                  <a:lnTo>
                    <a:pt x="24" y="87"/>
                  </a:lnTo>
                  <a:lnTo>
                    <a:pt x="26" y="36"/>
                  </a:lnTo>
                  <a:lnTo>
                    <a:pt x="41" y="37"/>
                  </a:lnTo>
                  <a:lnTo>
                    <a:pt x="40" y="7"/>
                  </a:lnTo>
                  <a:lnTo>
                    <a:pt x="152" y="7"/>
                  </a:lnTo>
                  <a:lnTo>
                    <a:pt x="181" y="8"/>
                  </a:lnTo>
                  <a:lnTo>
                    <a:pt x="209" y="0"/>
                  </a:lnTo>
                  <a:cubicBezTo>
                    <a:pt x="213" y="2"/>
                    <a:pt x="214" y="6"/>
                    <a:pt x="216" y="8"/>
                  </a:cubicBezTo>
                  <a:cubicBezTo>
                    <a:pt x="217" y="10"/>
                    <a:pt x="217" y="12"/>
                    <a:pt x="218" y="13"/>
                  </a:cubicBezTo>
                  <a:cubicBezTo>
                    <a:pt x="218" y="16"/>
                    <a:pt x="219" y="19"/>
                    <a:pt x="220" y="22"/>
                  </a:cubicBezTo>
                  <a:cubicBezTo>
                    <a:pt x="221" y="26"/>
                    <a:pt x="219" y="30"/>
                    <a:pt x="221" y="36"/>
                  </a:cubicBezTo>
                  <a:cubicBezTo>
                    <a:pt x="224" y="43"/>
                    <a:pt x="233" y="53"/>
                    <a:pt x="234" y="60"/>
                  </a:cubicBezTo>
                  <a:cubicBezTo>
                    <a:pt x="234" y="67"/>
                    <a:pt x="227" y="74"/>
                    <a:pt x="224" y="78"/>
                  </a:cubicBezTo>
                  <a:cubicBezTo>
                    <a:pt x="221" y="83"/>
                    <a:pt x="215" y="89"/>
                    <a:pt x="213" y="93"/>
                  </a:cubicBezTo>
                  <a:cubicBezTo>
                    <a:pt x="211" y="97"/>
                    <a:pt x="214" y="101"/>
                    <a:pt x="211" y="106"/>
                  </a:cubicBezTo>
                  <a:cubicBezTo>
                    <a:pt x="210" y="108"/>
                    <a:pt x="210" y="110"/>
                    <a:pt x="209" y="112"/>
                  </a:cubicBezTo>
                  <a:cubicBezTo>
                    <a:pt x="211" y="117"/>
                    <a:pt x="213" y="132"/>
                    <a:pt x="207" y="136"/>
                  </a:cubicBezTo>
                  <a:cubicBezTo>
                    <a:pt x="204" y="143"/>
                    <a:pt x="209" y="145"/>
                    <a:pt x="199" y="146"/>
                  </a:cubicBezTo>
                  <a:cubicBezTo>
                    <a:pt x="197" y="149"/>
                    <a:pt x="194" y="155"/>
                    <a:pt x="192" y="157"/>
                  </a:cubicBezTo>
                  <a:cubicBezTo>
                    <a:pt x="191" y="158"/>
                    <a:pt x="189" y="160"/>
                    <a:pt x="189" y="160"/>
                  </a:cubicBezTo>
                  <a:cubicBezTo>
                    <a:pt x="187" y="163"/>
                    <a:pt x="183" y="171"/>
                    <a:pt x="181" y="174"/>
                  </a:cubicBezTo>
                  <a:cubicBezTo>
                    <a:pt x="179" y="179"/>
                    <a:pt x="177" y="188"/>
                    <a:pt x="176" y="190"/>
                  </a:cubicBezTo>
                  <a:cubicBezTo>
                    <a:pt x="175" y="191"/>
                    <a:pt x="174" y="189"/>
                    <a:pt x="173" y="187"/>
                  </a:cubicBezTo>
                  <a:cubicBezTo>
                    <a:pt x="171" y="183"/>
                    <a:pt x="165" y="168"/>
                    <a:pt x="162" y="163"/>
                  </a:cubicBezTo>
                  <a:cubicBezTo>
                    <a:pt x="160" y="160"/>
                    <a:pt x="158" y="157"/>
                    <a:pt x="156" y="156"/>
                  </a:cubicBezTo>
                  <a:cubicBezTo>
                    <a:pt x="155" y="157"/>
                    <a:pt x="154" y="157"/>
                    <a:pt x="152" y="160"/>
                  </a:cubicBezTo>
                  <a:lnTo>
                    <a:pt x="145" y="177"/>
                  </a:lnTo>
                  <a:lnTo>
                    <a:pt x="129" y="189"/>
                  </a:lnTo>
                  <a:lnTo>
                    <a:pt x="116" y="179"/>
                  </a:lnTo>
                  <a:cubicBezTo>
                    <a:pt x="112" y="179"/>
                    <a:pt x="109" y="185"/>
                    <a:pt x="106" y="187"/>
                  </a:cubicBezTo>
                  <a:cubicBezTo>
                    <a:pt x="102" y="189"/>
                    <a:pt x="96" y="192"/>
                    <a:pt x="93" y="193"/>
                  </a:cubicBezTo>
                  <a:cubicBezTo>
                    <a:pt x="91" y="194"/>
                    <a:pt x="89" y="194"/>
                    <a:pt x="86" y="194"/>
                  </a:cubicBezTo>
                  <a:cubicBezTo>
                    <a:pt x="83" y="186"/>
                    <a:pt x="69" y="191"/>
                    <a:pt x="63" y="191"/>
                  </a:cubicBezTo>
                  <a:cubicBezTo>
                    <a:pt x="61" y="187"/>
                    <a:pt x="57" y="181"/>
                    <a:pt x="53" y="179"/>
                  </a:cubicBezTo>
                  <a:cubicBezTo>
                    <a:pt x="36" y="179"/>
                    <a:pt x="46" y="178"/>
                    <a:pt x="39" y="183"/>
                  </a:cubicBezTo>
                  <a:cubicBezTo>
                    <a:pt x="37" y="187"/>
                    <a:pt x="37" y="190"/>
                    <a:pt x="36" y="194"/>
                  </a:cubicBezTo>
                  <a:cubicBezTo>
                    <a:pt x="35" y="197"/>
                    <a:pt x="32" y="201"/>
                    <a:pt x="29" y="203"/>
                  </a:cubicBezTo>
                  <a:cubicBezTo>
                    <a:pt x="27" y="203"/>
                    <a:pt x="23" y="196"/>
                    <a:pt x="21" y="193"/>
                  </a:cubicBezTo>
                  <a:cubicBezTo>
                    <a:pt x="18" y="189"/>
                    <a:pt x="16" y="183"/>
                    <a:pt x="13" y="177"/>
                  </a:cubicBezTo>
                  <a:cubicBezTo>
                    <a:pt x="10" y="173"/>
                    <a:pt x="6" y="165"/>
                    <a:pt x="4" y="159"/>
                  </a:cubicBezTo>
                  <a:cubicBezTo>
                    <a:pt x="3" y="155"/>
                    <a:pt x="0" y="146"/>
                    <a:pt x="0" y="140"/>
                  </a:cubicBezTo>
                  <a:cubicBezTo>
                    <a:pt x="0" y="134"/>
                    <a:pt x="2" y="129"/>
                    <a:pt x="4" y="125"/>
                  </a:cubicBezTo>
                  <a:cubicBezTo>
                    <a:pt x="0" y="120"/>
                    <a:pt x="5" y="116"/>
                    <a:pt x="10" y="115"/>
                  </a:cubicBezTo>
                  <a:cubicBezTo>
                    <a:pt x="9" y="114"/>
                    <a:pt x="7" y="113"/>
                    <a:pt x="9" y="111"/>
                  </a:cubicBezTo>
                  <a:cubicBezTo>
                    <a:pt x="10" y="106"/>
                    <a:pt x="9" y="113"/>
                    <a:pt x="12" y="101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0" name="Freeform 493"/>
            <p:cNvSpPr>
              <a:spLocks/>
            </p:cNvSpPr>
            <p:nvPr>
              <p:custDataLst>
                <p:tags r:id="rId165"/>
              </p:custDataLst>
            </p:nvPr>
          </p:nvSpPr>
          <p:spPr bwMode="gray">
            <a:xfrm>
              <a:off x="5013407" y="3982953"/>
              <a:ext cx="291571" cy="208948"/>
            </a:xfrm>
            <a:custGeom>
              <a:avLst/>
              <a:gdLst>
                <a:gd name="T0" fmla="*/ 177 w 177"/>
                <a:gd name="T1" fmla="*/ 113 h 126"/>
                <a:gd name="T2" fmla="*/ 151 w 177"/>
                <a:gd name="T3" fmla="*/ 111 h 126"/>
                <a:gd name="T4" fmla="*/ 142 w 177"/>
                <a:gd name="T5" fmla="*/ 117 h 126"/>
                <a:gd name="T6" fmla="*/ 134 w 177"/>
                <a:gd name="T7" fmla="*/ 123 h 126"/>
                <a:gd name="T8" fmla="*/ 127 w 177"/>
                <a:gd name="T9" fmla="*/ 122 h 126"/>
                <a:gd name="T10" fmla="*/ 113 w 177"/>
                <a:gd name="T11" fmla="*/ 122 h 126"/>
                <a:gd name="T12" fmla="*/ 110 w 177"/>
                <a:gd name="T13" fmla="*/ 126 h 126"/>
                <a:gd name="T14" fmla="*/ 94 w 177"/>
                <a:gd name="T15" fmla="*/ 125 h 126"/>
                <a:gd name="T16" fmla="*/ 87 w 177"/>
                <a:gd name="T17" fmla="*/ 118 h 126"/>
                <a:gd name="T18" fmla="*/ 74 w 177"/>
                <a:gd name="T19" fmla="*/ 113 h 126"/>
                <a:gd name="T20" fmla="*/ 63 w 177"/>
                <a:gd name="T21" fmla="*/ 115 h 126"/>
                <a:gd name="T22" fmla="*/ 50 w 177"/>
                <a:gd name="T23" fmla="*/ 107 h 126"/>
                <a:gd name="T24" fmla="*/ 49 w 177"/>
                <a:gd name="T25" fmla="*/ 105 h 126"/>
                <a:gd name="T26" fmla="*/ 45 w 177"/>
                <a:gd name="T27" fmla="*/ 102 h 126"/>
                <a:gd name="T28" fmla="*/ 32 w 177"/>
                <a:gd name="T29" fmla="*/ 87 h 126"/>
                <a:gd name="T30" fmla="*/ 29 w 177"/>
                <a:gd name="T31" fmla="*/ 81 h 126"/>
                <a:gd name="T32" fmla="*/ 18 w 177"/>
                <a:gd name="T33" fmla="*/ 73 h 126"/>
                <a:gd name="T34" fmla="*/ 12 w 177"/>
                <a:gd name="T35" fmla="*/ 63 h 126"/>
                <a:gd name="T36" fmla="*/ 3 w 177"/>
                <a:gd name="T37" fmla="*/ 59 h 126"/>
                <a:gd name="T38" fmla="*/ 0 w 177"/>
                <a:gd name="T39" fmla="*/ 57 h 126"/>
                <a:gd name="T40" fmla="*/ 4 w 177"/>
                <a:gd name="T41" fmla="*/ 49 h 126"/>
                <a:gd name="T42" fmla="*/ 9 w 177"/>
                <a:gd name="T43" fmla="*/ 35 h 126"/>
                <a:gd name="T44" fmla="*/ 13 w 177"/>
                <a:gd name="T45" fmla="*/ 30 h 126"/>
                <a:gd name="T46" fmla="*/ 25 w 177"/>
                <a:gd name="T47" fmla="*/ 28 h 126"/>
                <a:gd name="T48" fmla="*/ 35 w 177"/>
                <a:gd name="T49" fmla="*/ 37 h 126"/>
                <a:gd name="T50" fmla="*/ 44 w 177"/>
                <a:gd name="T51" fmla="*/ 38 h 126"/>
                <a:gd name="T52" fmla="*/ 59 w 177"/>
                <a:gd name="T53" fmla="*/ 42 h 126"/>
                <a:gd name="T54" fmla="*/ 69 w 177"/>
                <a:gd name="T55" fmla="*/ 41 h 126"/>
                <a:gd name="T56" fmla="*/ 70 w 177"/>
                <a:gd name="T57" fmla="*/ 39 h 126"/>
                <a:gd name="T58" fmla="*/ 81 w 177"/>
                <a:gd name="T59" fmla="*/ 31 h 126"/>
                <a:gd name="T60" fmla="*/ 87 w 177"/>
                <a:gd name="T61" fmla="*/ 27 h 126"/>
                <a:gd name="T62" fmla="*/ 101 w 177"/>
                <a:gd name="T63" fmla="*/ 37 h 126"/>
                <a:gd name="T64" fmla="*/ 107 w 177"/>
                <a:gd name="T65" fmla="*/ 37 h 126"/>
                <a:gd name="T66" fmla="*/ 116 w 177"/>
                <a:gd name="T67" fmla="*/ 26 h 126"/>
                <a:gd name="T68" fmla="*/ 123 w 177"/>
                <a:gd name="T69" fmla="*/ 20 h 126"/>
                <a:gd name="T70" fmla="*/ 124 w 177"/>
                <a:gd name="T71" fmla="*/ 8 h 126"/>
                <a:gd name="T72" fmla="*/ 119 w 177"/>
                <a:gd name="T73" fmla="*/ 4 h 126"/>
                <a:gd name="T74" fmla="*/ 130 w 177"/>
                <a:gd name="T75" fmla="*/ 0 h 126"/>
                <a:gd name="T76" fmla="*/ 134 w 177"/>
                <a:gd name="T77" fmla="*/ 15 h 126"/>
                <a:gd name="T78" fmla="*/ 141 w 177"/>
                <a:gd name="T79" fmla="*/ 25 h 126"/>
                <a:gd name="T80" fmla="*/ 147 w 177"/>
                <a:gd name="T81" fmla="*/ 41 h 126"/>
                <a:gd name="T82" fmla="*/ 144 w 177"/>
                <a:gd name="T83" fmla="*/ 54 h 126"/>
                <a:gd name="T84" fmla="*/ 136 w 177"/>
                <a:gd name="T85" fmla="*/ 56 h 126"/>
                <a:gd name="T86" fmla="*/ 132 w 177"/>
                <a:gd name="T87" fmla="*/ 63 h 126"/>
                <a:gd name="T88" fmla="*/ 140 w 177"/>
                <a:gd name="T89" fmla="*/ 66 h 126"/>
                <a:gd name="T90" fmla="*/ 153 w 177"/>
                <a:gd name="T91" fmla="*/ 80 h 126"/>
                <a:gd name="T92" fmla="*/ 159 w 177"/>
                <a:gd name="T93" fmla="*/ 85 h 126"/>
                <a:gd name="T94" fmla="*/ 164 w 177"/>
                <a:gd name="T95" fmla="*/ 98 h 126"/>
                <a:gd name="T96" fmla="*/ 166 w 177"/>
                <a:gd name="T97" fmla="*/ 101 h 126"/>
                <a:gd name="T98" fmla="*/ 177 w 177"/>
                <a:gd name="T99" fmla="*/ 113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7" h="126">
                  <a:moveTo>
                    <a:pt x="177" y="113"/>
                  </a:moveTo>
                  <a:lnTo>
                    <a:pt x="151" y="111"/>
                  </a:lnTo>
                  <a:cubicBezTo>
                    <a:pt x="148" y="114"/>
                    <a:pt x="145" y="115"/>
                    <a:pt x="142" y="117"/>
                  </a:cubicBezTo>
                  <a:cubicBezTo>
                    <a:pt x="141" y="121"/>
                    <a:pt x="137" y="122"/>
                    <a:pt x="134" y="123"/>
                  </a:cubicBezTo>
                  <a:cubicBezTo>
                    <a:pt x="131" y="121"/>
                    <a:pt x="130" y="122"/>
                    <a:pt x="127" y="122"/>
                  </a:cubicBezTo>
                  <a:cubicBezTo>
                    <a:pt x="124" y="122"/>
                    <a:pt x="116" y="121"/>
                    <a:pt x="113" y="122"/>
                  </a:cubicBezTo>
                  <a:cubicBezTo>
                    <a:pt x="111" y="122"/>
                    <a:pt x="110" y="123"/>
                    <a:pt x="110" y="126"/>
                  </a:cubicBezTo>
                  <a:cubicBezTo>
                    <a:pt x="107" y="126"/>
                    <a:pt x="98" y="126"/>
                    <a:pt x="94" y="125"/>
                  </a:cubicBezTo>
                  <a:cubicBezTo>
                    <a:pt x="94" y="123"/>
                    <a:pt x="89" y="118"/>
                    <a:pt x="87" y="118"/>
                  </a:cubicBezTo>
                  <a:cubicBezTo>
                    <a:pt x="84" y="116"/>
                    <a:pt x="76" y="114"/>
                    <a:pt x="74" y="113"/>
                  </a:cubicBezTo>
                  <a:cubicBezTo>
                    <a:pt x="70" y="112"/>
                    <a:pt x="66" y="115"/>
                    <a:pt x="63" y="115"/>
                  </a:cubicBezTo>
                  <a:cubicBezTo>
                    <a:pt x="59" y="114"/>
                    <a:pt x="52" y="109"/>
                    <a:pt x="50" y="107"/>
                  </a:cubicBezTo>
                  <a:cubicBezTo>
                    <a:pt x="50" y="106"/>
                    <a:pt x="50" y="106"/>
                    <a:pt x="49" y="105"/>
                  </a:cubicBezTo>
                  <a:cubicBezTo>
                    <a:pt x="48" y="105"/>
                    <a:pt x="47" y="104"/>
                    <a:pt x="45" y="102"/>
                  </a:cubicBezTo>
                  <a:cubicBezTo>
                    <a:pt x="42" y="99"/>
                    <a:pt x="35" y="90"/>
                    <a:pt x="32" y="87"/>
                  </a:cubicBezTo>
                  <a:cubicBezTo>
                    <a:pt x="30" y="84"/>
                    <a:pt x="33" y="81"/>
                    <a:pt x="29" y="81"/>
                  </a:cubicBezTo>
                  <a:cubicBezTo>
                    <a:pt x="27" y="79"/>
                    <a:pt x="20" y="75"/>
                    <a:pt x="18" y="73"/>
                  </a:cubicBezTo>
                  <a:cubicBezTo>
                    <a:pt x="15" y="70"/>
                    <a:pt x="14" y="65"/>
                    <a:pt x="12" y="63"/>
                  </a:cubicBezTo>
                  <a:cubicBezTo>
                    <a:pt x="7" y="61"/>
                    <a:pt x="9" y="60"/>
                    <a:pt x="3" y="59"/>
                  </a:cubicBezTo>
                  <a:cubicBezTo>
                    <a:pt x="2" y="58"/>
                    <a:pt x="0" y="59"/>
                    <a:pt x="0" y="57"/>
                  </a:cubicBezTo>
                  <a:cubicBezTo>
                    <a:pt x="0" y="53"/>
                    <a:pt x="1" y="50"/>
                    <a:pt x="4" y="49"/>
                  </a:cubicBezTo>
                  <a:cubicBezTo>
                    <a:pt x="6" y="45"/>
                    <a:pt x="8" y="38"/>
                    <a:pt x="9" y="35"/>
                  </a:cubicBezTo>
                  <a:cubicBezTo>
                    <a:pt x="10" y="32"/>
                    <a:pt x="11" y="32"/>
                    <a:pt x="13" y="30"/>
                  </a:cubicBezTo>
                  <a:cubicBezTo>
                    <a:pt x="16" y="26"/>
                    <a:pt x="18" y="28"/>
                    <a:pt x="25" y="28"/>
                  </a:cubicBezTo>
                  <a:cubicBezTo>
                    <a:pt x="29" y="29"/>
                    <a:pt x="32" y="35"/>
                    <a:pt x="35" y="37"/>
                  </a:cubicBezTo>
                  <a:cubicBezTo>
                    <a:pt x="35" y="42"/>
                    <a:pt x="39" y="39"/>
                    <a:pt x="44" y="38"/>
                  </a:cubicBezTo>
                  <a:cubicBezTo>
                    <a:pt x="48" y="39"/>
                    <a:pt x="55" y="42"/>
                    <a:pt x="59" y="42"/>
                  </a:cubicBezTo>
                  <a:cubicBezTo>
                    <a:pt x="62" y="42"/>
                    <a:pt x="66" y="43"/>
                    <a:pt x="69" y="41"/>
                  </a:cubicBezTo>
                  <a:cubicBezTo>
                    <a:pt x="70" y="40"/>
                    <a:pt x="69" y="39"/>
                    <a:pt x="70" y="39"/>
                  </a:cubicBezTo>
                  <a:cubicBezTo>
                    <a:pt x="72" y="37"/>
                    <a:pt x="78" y="33"/>
                    <a:pt x="81" y="31"/>
                  </a:cubicBezTo>
                  <a:cubicBezTo>
                    <a:pt x="83" y="30"/>
                    <a:pt x="87" y="27"/>
                    <a:pt x="87" y="27"/>
                  </a:cubicBezTo>
                  <a:lnTo>
                    <a:pt x="101" y="37"/>
                  </a:lnTo>
                  <a:lnTo>
                    <a:pt x="107" y="37"/>
                  </a:lnTo>
                  <a:lnTo>
                    <a:pt x="116" y="26"/>
                  </a:lnTo>
                  <a:lnTo>
                    <a:pt x="123" y="20"/>
                  </a:lnTo>
                  <a:lnTo>
                    <a:pt x="124" y="8"/>
                  </a:lnTo>
                  <a:lnTo>
                    <a:pt x="119" y="4"/>
                  </a:lnTo>
                  <a:cubicBezTo>
                    <a:pt x="129" y="4"/>
                    <a:pt x="129" y="6"/>
                    <a:pt x="130" y="0"/>
                  </a:cubicBezTo>
                  <a:cubicBezTo>
                    <a:pt x="136" y="1"/>
                    <a:pt x="132" y="10"/>
                    <a:pt x="134" y="15"/>
                  </a:cubicBezTo>
                  <a:cubicBezTo>
                    <a:pt x="135" y="20"/>
                    <a:pt x="135" y="24"/>
                    <a:pt x="141" y="25"/>
                  </a:cubicBezTo>
                  <a:cubicBezTo>
                    <a:pt x="143" y="29"/>
                    <a:pt x="147" y="36"/>
                    <a:pt x="147" y="41"/>
                  </a:cubicBezTo>
                  <a:cubicBezTo>
                    <a:pt x="147" y="48"/>
                    <a:pt x="151" y="53"/>
                    <a:pt x="144" y="54"/>
                  </a:cubicBezTo>
                  <a:cubicBezTo>
                    <a:pt x="142" y="58"/>
                    <a:pt x="140" y="56"/>
                    <a:pt x="136" y="56"/>
                  </a:cubicBezTo>
                  <a:cubicBezTo>
                    <a:pt x="132" y="57"/>
                    <a:pt x="132" y="59"/>
                    <a:pt x="132" y="63"/>
                  </a:cubicBezTo>
                  <a:cubicBezTo>
                    <a:pt x="133" y="69"/>
                    <a:pt x="131" y="66"/>
                    <a:pt x="140" y="66"/>
                  </a:cubicBezTo>
                  <a:cubicBezTo>
                    <a:pt x="143" y="69"/>
                    <a:pt x="150" y="77"/>
                    <a:pt x="153" y="80"/>
                  </a:cubicBezTo>
                  <a:cubicBezTo>
                    <a:pt x="154" y="82"/>
                    <a:pt x="157" y="82"/>
                    <a:pt x="159" y="85"/>
                  </a:cubicBezTo>
                  <a:cubicBezTo>
                    <a:pt x="161" y="88"/>
                    <a:pt x="163" y="95"/>
                    <a:pt x="164" y="98"/>
                  </a:cubicBezTo>
                  <a:cubicBezTo>
                    <a:pt x="164" y="99"/>
                    <a:pt x="164" y="101"/>
                    <a:pt x="166" y="101"/>
                  </a:cubicBezTo>
                  <a:cubicBezTo>
                    <a:pt x="175" y="102"/>
                    <a:pt x="177" y="113"/>
                    <a:pt x="177" y="11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1" name="Freeform 15"/>
            <p:cNvSpPr>
              <a:spLocks noEditPoints="1"/>
            </p:cNvSpPr>
            <p:nvPr/>
          </p:nvSpPr>
          <p:spPr bwMode="auto">
            <a:xfrm>
              <a:off x="962188" y="1426995"/>
              <a:ext cx="2172206" cy="1755805"/>
            </a:xfrm>
            <a:custGeom>
              <a:avLst/>
              <a:gdLst>
                <a:gd name="T0" fmla="*/ 332 w 1304"/>
                <a:gd name="T1" fmla="*/ 24 h 1052"/>
                <a:gd name="T2" fmla="*/ 186 w 1304"/>
                <a:gd name="T3" fmla="*/ 848 h 1052"/>
                <a:gd name="T4" fmla="*/ 1284 w 1304"/>
                <a:gd name="T5" fmla="*/ 886 h 1052"/>
                <a:gd name="T6" fmla="*/ 1244 w 1304"/>
                <a:gd name="T7" fmla="*/ 788 h 1052"/>
                <a:gd name="T8" fmla="*/ 1182 w 1304"/>
                <a:gd name="T9" fmla="*/ 736 h 1052"/>
                <a:gd name="T10" fmla="*/ 1112 w 1304"/>
                <a:gd name="T11" fmla="*/ 650 h 1052"/>
                <a:gd name="T12" fmla="*/ 1052 w 1304"/>
                <a:gd name="T13" fmla="*/ 618 h 1052"/>
                <a:gd name="T14" fmla="*/ 930 w 1304"/>
                <a:gd name="T15" fmla="*/ 546 h 1052"/>
                <a:gd name="T16" fmla="*/ 906 w 1304"/>
                <a:gd name="T17" fmla="*/ 762 h 1052"/>
                <a:gd name="T18" fmla="*/ 744 w 1304"/>
                <a:gd name="T19" fmla="*/ 694 h 1052"/>
                <a:gd name="T20" fmla="*/ 750 w 1304"/>
                <a:gd name="T21" fmla="*/ 514 h 1052"/>
                <a:gd name="T22" fmla="*/ 790 w 1304"/>
                <a:gd name="T23" fmla="*/ 506 h 1052"/>
                <a:gd name="T24" fmla="*/ 870 w 1304"/>
                <a:gd name="T25" fmla="*/ 482 h 1052"/>
                <a:gd name="T26" fmla="*/ 872 w 1304"/>
                <a:gd name="T27" fmla="*/ 294 h 1052"/>
                <a:gd name="T28" fmla="*/ 916 w 1304"/>
                <a:gd name="T29" fmla="*/ 252 h 1052"/>
                <a:gd name="T30" fmla="*/ 988 w 1304"/>
                <a:gd name="T31" fmla="*/ 414 h 1052"/>
                <a:gd name="T32" fmla="*/ 952 w 1304"/>
                <a:gd name="T33" fmla="*/ 488 h 1052"/>
                <a:gd name="T34" fmla="*/ 1072 w 1304"/>
                <a:gd name="T35" fmla="*/ 554 h 1052"/>
                <a:gd name="T36" fmla="*/ 1114 w 1304"/>
                <a:gd name="T37" fmla="*/ 500 h 1052"/>
                <a:gd name="T38" fmla="*/ 1132 w 1304"/>
                <a:gd name="T39" fmla="*/ 392 h 1052"/>
                <a:gd name="T40" fmla="*/ 1028 w 1304"/>
                <a:gd name="T41" fmla="*/ 256 h 1052"/>
                <a:gd name="T42" fmla="*/ 962 w 1304"/>
                <a:gd name="T43" fmla="*/ 198 h 1052"/>
                <a:gd name="T44" fmla="*/ 920 w 1304"/>
                <a:gd name="T45" fmla="*/ 192 h 1052"/>
                <a:gd name="T46" fmla="*/ 820 w 1304"/>
                <a:gd name="T47" fmla="*/ 142 h 1052"/>
                <a:gd name="T48" fmla="*/ 824 w 1304"/>
                <a:gd name="T49" fmla="*/ 98 h 1052"/>
                <a:gd name="T50" fmla="*/ 794 w 1304"/>
                <a:gd name="T51" fmla="*/ 270 h 1052"/>
                <a:gd name="T52" fmla="*/ 764 w 1304"/>
                <a:gd name="T53" fmla="*/ 304 h 1052"/>
                <a:gd name="T54" fmla="*/ 658 w 1304"/>
                <a:gd name="T55" fmla="*/ 266 h 1052"/>
                <a:gd name="T56" fmla="*/ 626 w 1304"/>
                <a:gd name="T57" fmla="*/ 330 h 1052"/>
                <a:gd name="T58" fmla="*/ 478 w 1304"/>
                <a:gd name="T59" fmla="*/ 382 h 1052"/>
                <a:gd name="T60" fmla="*/ 418 w 1304"/>
                <a:gd name="T61" fmla="*/ 346 h 1052"/>
                <a:gd name="T62" fmla="*/ 580 w 1304"/>
                <a:gd name="T63" fmla="*/ 320 h 1052"/>
                <a:gd name="T64" fmla="*/ 538 w 1304"/>
                <a:gd name="T65" fmla="*/ 106 h 1052"/>
                <a:gd name="T66" fmla="*/ 448 w 1304"/>
                <a:gd name="T67" fmla="*/ 166 h 1052"/>
                <a:gd name="T68" fmla="*/ 380 w 1304"/>
                <a:gd name="T69" fmla="*/ 114 h 1052"/>
                <a:gd name="T70" fmla="*/ 242 w 1304"/>
                <a:gd name="T71" fmla="*/ 86 h 1052"/>
                <a:gd name="T72" fmla="*/ 276 w 1304"/>
                <a:gd name="T73" fmla="*/ 228 h 1052"/>
                <a:gd name="T74" fmla="*/ 334 w 1304"/>
                <a:gd name="T75" fmla="*/ 172 h 1052"/>
                <a:gd name="T76" fmla="*/ 392 w 1304"/>
                <a:gd name="T77" fmla="*/ 252 h 1052"/>
                <a:gd name="T78" fmla="*/ 402 w 1304"/>
                <a:gd name="T79" fmla="*/ 316 h 1052"/>
                <a:gd name="T80" fmla="*/ 228 w 1304"/>
                <a:gd name="T81" fmla="*/ 266 h 1052"/>
                <a:gd name="T82" fmla="*/ 152 w 1304"/>
                <a:gd name="T83" fmla="*/ 306 h 1052"/>
                <a:gd name="T84" fmla="*/ 18 w 1304"/>
                <a:gd name="T85" fmla="*/ 288 h 1052"/>
                <a:gd name="T86" fmla="*/ 112 w 1304"/>
                <a:gd name="T87" fmla="*/ 756 h 1052"/>
                <a:gd name="T88" fmla="*/ 702 w 1304"/>
                <a:gd name="T89" fmla="*/ 912 h 1052"/>
                <a:gd name="T90" fmla="*/ 834 w 1304"/>
                <a:gd name="T91" fmla="*/ 948 h 1052"/>
                <a:gd name="T92" fmla="*/ 858 w 1304"/>
                <a:gd name="T93" fmla="*/ 1038 h 1052"/>
                <a:gd name="T94" fmla="*/ 1076 w 1304"/>
                <a:gd name="T95" fmla="*/ 932 h 1052"/>
                <a:gd name="T96" fmla="*/ 1194 w 1304"/>
                <a:gd name="T97" fmla="*/ 936 h 1052"/>
                <a:gd name="T98" fmla="*/ 1102 w 1304"/>
                <a:gd name="T99" fmla="*/ 910 h 1052"/>
                <a:gd name="T100" fmla="*/ 1134 w 1304"/>
                <a:gd name="T101" fmla="*/ 872 h 1052"/>
                <a:gd name="T102" fmla="*/ 1194 w 1304"/>
                <a:gd name="T103" fmla="*/ 920 h 1052"/>
                <a:gd name="T104" fmla="*/ 772 w 1304"/>
                <a:gd name="T105" fmla="*/ 446 h 1052"/>
                <a:gd name="T106" fmla="*/ 126 w 1304"/>
                <a:gd name="T107" fmla="*/ 772 h 1052"/>
                <a:gd name="T108" fmla="*/ 588 w 1304"/>
                <a:gd name="T109" fmla="*/ 154 h 1052"/>
                <a:gd name="T110" fmla="*/ 654 w 1304"/>
                <a:gd name="T111" fmla="*/ 204 h 1052"/>
                <a:gd name="T112" fmla="*/ 674 w 1304"/>
                <a:gd name="T113" fmla="*/ 90 h 1052"/>
                <a:gd name="T114" fmla="*/ 740 w 1304"/>
                <a:gd name="T115" fmla="*/ 118 h 1052"/>
                <a:gd name="T116" fmla="*/ 948 w 1304"/>
                <a:gd name="T117" fmla="*/ 140 h 1052"/>
                <a:gd name="T118" fmla="*/ 972 w 1304"/>
                <a:gd name="T119" fmla="*/ 352 h 1052"/>
                <a:gd name="T120" fmla="*/ 870 w 1304"/>
                <a:gd name="T121" fmla="*/ 536 h 1052"/>
                <a:gd name="T122" fmla="*/ 898 w 1304"/>
                <a:gd name="T123" fmla="*/ 644 h 1052"/>
                <a:gd name="T124" fmla="*/ 1160 w 1304"/>
                <a:gd name="T125" fmla="*/ 892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04" h="1052">
                  <a:moveTo>
                    <a:pt x="650" y="32"/>
                  </a:moveTo>
                  <a:lnTo>
                    <a:pt x="650" y="32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50" y="34"/>
                  </a:lnTo>
                  <a:lnTo>
                    <a:pt x="698" y="54"/>
                  </a:lnTo>
                  <a:lnTo>
                    <a:pt x="698" y="54"/>
                  </a:lnTo>
                  <a:lnTo>
                    <a:pt x="700" y="54"/>
                  </a:lnTo>
                  <a:lnTo>
                    <a:pt x="700" y="54"/>
                  </a:lnTo>
                  <a:lnTo>
                    <a:pt x="702" y="50"/>
                  </a:lnTo>
                  <a:lnTo>
                    <a:pt x="702" y="22"/>
                  </a:lnTo>
                  <a:lnTo>
                    <a:pt x="702" y="22"/>
                  </a:lnTo>
                  <a:lnTo>
                    <a:pt x="700" y="20"/>
                  </a:lnTo>
                  <a:lnTo>
                    <a:pt x="680" y="2"/>
                  </a:lnTo>
                  <a:lnTo>
                    <a:pt x="680" y="2"/>
                  </a:lnTo>
                  <a:lnTo>
                    <a:pt x="678" y="0"/>
                  </a:lnTo>
                  <a:lnTo>
                    <a:pt x="670" y="0"/>
                  </a:lnTo>
                  <a:lnTo>
                    <a:pt x="670" y="0"/>
                  </a:lnTo>
                  <a:lnTo>
                    <a:pt x="668" y="2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50" y="30"/>
                  </a:lnTo>
                  <a:lnTo>
                    <a:pt x="648" y="30"/>
                  </a:lnTo>
                  <a:lnTo>
                    <a:pt x="648" y="30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48" y="32"/>
                  </a:lnTo>
                  <a:lnTo>
                    <a:pt x="650" y="32"/>
                  </a:lnTo>
                  <a:lnTo>
                    <a:pt x="650" y="32"/>
                  </a:lnTo>
                  <a:close/>
                  <a:moveTo>
                    <a:pt x="718" y="54"/>
                  </a:moveTo>
                  <a:lnTo>
                    <a:pt x="802" y="72"/>
                  </a:lnTo>
                  <a:lnTo>
                    <a:pt x="802" y="72"/>
                  </a:lnTo>
                  <a:lnTo>
                    <a:pt x="802" y="72"/>
                  </a:lnTo>
                  <a:lnTo>
                    <a:pt x="832" y="72"/>
                  </a:lnTo>
                  <a:lnTo>
                    <a:pt x="832" y="72"/>
                  </a:lnTo>
                  <a:lnTo>
                    <a:pt x="834" y="72"/>
                  </a:lnTo>
                  <a:lnTo>
                    <a:pt x="852" y="54"/>
                  </a:lnTo>
                  <a:lnTo>
                    <a:pt x="870" y="62"/>
                  </a:lnTo>
                  <a:lnTo>
                    <a:pt x="870" y="62"/>
                  </a:lnTo>
                  <a:lnTo>
                    <a:pt x="874" y="62"/>
                  </a:lnTo>
                  <a:lnTo>
                    <a:pt x="900" y="52"/>
                  </a:lnTo>
                  <a:lnTo>
                    <a:pt x="900" y="52"/>
                  </a:lnTo>
                  <a:lnTo>
                    <a:pt x="902" y="50"/>
                  </a:lnTo>
                  <a:lnTo>
                    <a:pt x="908" y="10"/>
                  </a:lnTo>
                  <a:lnTo>
                    <a:pt x="908" y="10"/>
                  </a:lnTo>
                  <a:lnTo>
                    <a:pt x="908" y="8"/>
                  </a:lnTo>
                  <a:lnTo>
                    <a:pt x="908" y="8"/>
                  </a:lnTo>
                  <a:lnTo>
                    <a:pt x="906" y="6"/>
                  </a:lnTo>
                  <a:lnTo>
                    <a:pt x="718" y="4"/>
                  </a:lnTo>
                  <a:lnTo>
                    <a:pt x="718" y="4"/>
                  </a:lnTo>
                  <a:lnTo>
                    <a:pt x="714" y="6"/>
                  </a:lnTo>
                  <a:lnTo>
                    <a:pt x="714" y="8"/>
                  </a:lnTo>
                  <a:lnTo>
                    <a:pt x="714" y="8"/>
                  </a:lnTo>
                  <a:lnTo>
                    <a:pt x="714" y="10"/>
                  </a:lnTo>
                  <a:lnTo>
                    <a:pt x="716" y="50"/>
                  </a:lnTo>
                  <a:lnTo>
                    <a:pt x="716" y="50"/>
                  </a:lnTo>
                  <a:lnTo>
                    <a:pt x="718" y="54"/>
                  </a:lnTo>
                  <a:lnTo>
                    <a:pt x="718" y="54"/>
                  </a:lnTo>
                  <a:close/>
                  <a:moveTo>
                    <a:pt x="592" y="34"/>
                  </a:moveTo>
                  <a:lnTo>
                    <a:pt x="592" y="34"/>
                  </a:lnTo>
                  <a:lnTo>
                    <a:pt x="594" y="34"/>
                  </a:lnTo>
                  <a:lnTo>
                    <a:pt x="622" y="34"/>
                  </a:lnTo>
                  <a:lnTo>
                    <a:pt x="622" y="34"/>
                  </a:lnTo>
                  <a:lnTo>
                    <a:pt x="624" y="32"/>
                  </a:lnTo>
                  <a:lnTo>
                    <a:pt x="634" y="12"/>
                  </a:lnTo>
                  <a:lnTo>
                    <a:pt x="634" y="12"/>
                  </a:lnTo>
                  <a:lnTo>
                    <a:pt x="636" y="10"/>
                  </a:lnTo>
                  <a:lnTo>
                    <a:pt x="636" y="10"/>
                  </a:lnTo>
                  <a:lnTo>
                    <a:pt x="636" y="8"/>
                  </a:lnTo>
                  <a:lnTo>
                    <a:pt x="636" y="8"/>
                  </a:lnTo>
                  <a:lnTo>
                    <a:pt x="636" y="6"/>
                  </a:lnTo>
                  <a:lnTo>
                    <a:pt x="634" y="6"/>
                  </a:lnTo>
                  <a:lnTo>
                    <a:pt x="634" y="6"/>
                  </a:lnTo>
                  <a:lnTo>
                    <a:pt x="632" y="6"/>
                  </a:lnTo>
                  <a:lnTo>
                    <a:pt x="630" y="6"/>
                  </a:lnTo>
                  <a:lnTo>
                    <a:pt x="630" y="6"/>
                  </a:lnTo>
                  <a:lnTo>
                    <a:pt x="556" y="4"/>
                  </a:lnTo>
                  <a:lnTo>
                    <a:pt x="556" y="4"/>
                  </a:lnTo>
                  <a:lnTo>
                    <a:pt x="552" y="6"/>
                  </a:lnTo>
                  <a:lnTo>
                    <a:pt x="552" y="6"/>
                  </a:lnTo>
                  <a:lnTo>
                    <a:pt x="552" y="8"/>
                  </a:lnTo>
                  <a:lnTo>
                    <a:pt x="554" y="10"/>
                  </a:lnTo>
                  <a:lnTo>
                    <a:pt x="592" y="34"/>
                  </a:lnTo>
                  <a:close/>
                  <a:moveTo>
                    <a:pt x="330" y="22"/>
                  </a:moveTo>
                  <a:lnTo>
                    <a:pt x="330" y="22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4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2" y="26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34" y="26"/>
                  </a:lnTo>
                  <a:lnTo>
                    <a:pt x="372" y="34"/>
                  </a:lnTo>
                  <a:lnTo>
                    <a:pt x="372" y="34"/>
                  </a:lnTo>
                  <a:lnTo>
                    <a:pt x="374" y="32"/>
                  </a:lnTo>
                  <a:lnTo>
                    <a:pt x="382" y="26"/>
                  </a:lnTo>
                  <a:lnTo>
                    <a:pt x="398" y="38"/>
                  </a:lnTo>
                  <a:lnTo>
                    <a:pt x="382" y="48"/>
                  </a:lnTo>
                  <a:lnTo>
                    <a:pt x="382" y="48"/>
                  </a:lnTo>
                  <a:lnTo>
                    <a:pt x="380" y="50"/>
                  </a:lnTo>
                  <a:lnTo>
                    <a:pt x="380" y="50"/>
                  </a:lnTo>
                  <a:lnTo>
                    <a:pt x="380" y="5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390" y="62"/>
                  </a:lnTo>
                  <a:lnTo>
                    <a:pt x="410" y="72"/>
                  </a:lnTo>
                  <a:lnTo>
                    <a:pt x="410" y="72"/>
                  </a:lnTo>
                  <a:lnTo>
                    <a:pt x="412" y="72"/>
                  </a:lnTo>
                  <a:lnTo>
                    <a:pt x="460" y="34"/>
                  </a:lnTo>
                  <a:lnTo>
                    <a:pt x="506" y="34"/>
                  </a:lnTo>
                  <a:lnTo>
                    <a:pt x="506" y="34"/>
                  </a:lnTo>
                  <a:lnTo>
                    <a:pt x="508" y="32"/>
                  </a:lnTo>
                  <a:lnTo>
                    <a:pt x="510" y="30"/>
                  </a:lnTo>
                  <a:lnTo>
                    <a:pt x="512" y="8"/>
                  </a:lnTo>
                  <a:lnTo>
                    <a:pt x="512" y="8"/>
                  </a:lnTo>
                  <a:lnTo>
                    <a:pt x="512" y="6"/>
                  </a:lnTo>
                  <a:lnTo>
                    <a:pt x="512" y="6"/>
                  </a:lnTo>
                  <a:lnTo>
                    <a:pt x="510" y="4"/>
                  </a:lnTo>
                  <a:lnTo>
                    <a:pt x="340" y="4"/>
                  </a:lnTo>
                  <a:lnTo>
                    <a:pt x="340" y="4"/>
                  </a:lnTo>
                  <a:lnTo>
                    <a:pt x="338" y="6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2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lnTo>
                    <a:pt x="330" y="22"/>
                  </a:lnTo>
                  <a:close/>
                  <a:moveTo>
                    <a:pt x="292" y="926"/>
                  </a:moveTo>
                  <a:lnTo>
                    <a:pt x="290" y="922"/>
                  </a:lnTo>
                  <a:lnTo>
                    <a:pt x="288" y="918"/>
                  </a:lnTo>
                  <a:lnTo>
                    <a:pt x="286" y="914"/>
                  </a:lnTo>
                  <a:lnTo>
                    <a:pt x="282" y="910"/>
                  </a:lnTo>
                  <a:lnTo>
                    <a:pt x="280" y="908"/>
                  </a:lnTo>
                  <a:lnTo>
                    <a:pt x="274" y="902"/>
                  </a:lnTo>
                  <a:lnTo>
                    <a:pt x="268" y="896"/>
                  </a:lnTo>
                  <a:lnTo>
                    <a:pt x="264" y="892"/>
                  </a:lnTo>
                  <a:lnTo>
                    <a:pt x="260" y="888"/>
                  </a:lnTo>
                  <a:lnTo>
                    <a:pt x="260" y="888"/>
                  </a:lnTo>
                  <a:lnTo>
                    <a:pt x="258" y="884"/>
                  </a:lnTo>
                  <a:lnTo>
                    <a:pt x="256" y="882"/>
                  </a:lnTo>
                  <a:lnTo>
                    <a:pt x="256" y="878"/>
                  </a:lnTo>
                  <a:lnTo>
                    <a:pt x="256" y="876"/>
                  </a:lnTo>
                  <a:lnTo>
                    <a:pt x="256" y="874"/>
                  </a:lnTo>
                  <a:lnTo>
                    <a:pt x="256" y="872"/>
                  </a:lnTo>
                  <a:lnTo>
                    <a:pt x="256" y="872"/>
                  </a:lnTo>
                  <a:lnTo>
                    <a:pt x="254" y="870"/>
                  </a:lnTo>
                  <a:lnTo>
                    <a:pt x="254" y="868"/>
                  </a:lnTo>
                  <a:lnTo>
                    <a:pt x="248" y="868"/>
                  </a:lnTo>
                  <a:lnTo>
                    <a:pt x="244" y="866"/>
                  </a:lnTo>
                  <a:lnTo>
                    <a:pt x="240" y="864"/>
                  </a:lnTo>
                  <a:lnTo>
                    <a:pt x="236" y="862"/>
                  </a:lnTo>
                  <a:lnTo>
                    <a:pt x="228" y="860"/>
                  </a:lnTo>
                  <a:lnTo>
                    <a:pt x="222" y="854"/>
                  </a:lnTo>
                  <a:lnTo>
                    <a:pt x="216" y="850"/>
                  </a:lnTo>
                  <a:lnTo>
                    <a:pt x="212" y="848"/>
                  </a:lnTo>
                  <a:lnTo>
                    <a:pt x="208" y="848"/>
                  </a:lnTo>
                  <a:lnTo>
                    <a:pt x="204" y="846"/>
                  </a:lnTo>
                  <a:lnTo>
                    <a:pt x="200" y="846"/>
                  </a:lnTo>
                  <a:lnTo>
                    <a:pt x="194" y="844"/>
                  </a:lnTo>
                  <a:lnTo>
                    <a:pt x="188" y="846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8" y="848"/>
                  </a:lnTo>
                  <a:lnTo>
                    <a:pt x="186" y="848"/>
                  </a:lnTo>
                  <a:lnTo>
                    <a:pt x="186" y="848"/>
                  </a:lnTo>
                  <a:lnTo>
                    <a:pt x="186" y="848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0"/>
                  </a:lnTo>
                  <a:lnTo>
                    <a:pt x="186" y="852"/>
                  </a:lnTo>
                  <a:lnTo>
                    <a:pt x="188" y="856"/>
                  </a:lnTo>
                  <a:lnTo>
                    <a:pt x="190" y="860"/>
                  </a:lnTo>
                  <a:lnTo>
                    <a:pt x="192" y="864"/>
                  </a:lnTo>
                  <a:lnTo>
                    <a:pt x="194" y="866"/>
                  </a:lnTo>
                  <a:lnTo>
                    <a:pt x="194" y="866"/>
                  </a:lnTo>
                  <a:lnTo>
                    <a:pt x="194" y="866"/>
                  </a:lnTo>
                  <a:lnTo>
                    <a:pt x="198" y="870"/>
                  </a:lnTo>
                  <a:lnTo>
                    <a:pt x="204" y="874"/>
                  </a:lnTo>
                  <a:lnTo>
                    <a:pt x="210" y="878"/>
                  </a:lnTo>
                  <a:lnTo>
                    <a:pt x="214" y="882"/>
                  </a:lnTo>
                  <a:lnTo>
                    <a:pt x="214" y="882"/>
                  </a:lnTo>
                  <a:lnTo>
                    <a:pt x="218" y="886"/>
                  </a:lnTo>
                  <a:lnTo>
                    <a:pt x="218" y="888"/>
                  </a:lnTo>
                  <a:lnTo>
                    <a:pt x="220" y="892"/>
                  </a:lnTo>
                  <a:lnTo>
                    <a:pt x="220" y="894"/>
                  </a:lnTo>
                  <a:lnTo>
                    <a:pt x="222" y="896"/>
                  </a:lnTo>
                  <a:lnTo>
                    <a:pt x="222" y="898"/>
                  </a:lnTo>
                  <a:lnTo>
                    <a:pt x="222" y="900"/>
                  </a:lnTo>
                  <a:lnTo>
                    <a:pt x="222" y="900"/>
                  </a:lnTo>
                  <a:lnTo>
                    <a:pt x="222" y="902"/>
                  </a:lnTo>
                  <a:lnTo>
                    <a:pt x="222" y="902"/>
                  </a:lnTo>
                  <a:lnTo>
                    <a:pt x="226" y="902"/>
                  </a:lnTo>
                  <a:lnTo>
                    <a:pt x="228" y="902"/>
                  </a:lnTo>
                  <a:lnTo>
                    <a:pt x="232" y="900"/>
                  </a:lnTo>
                  <a:lnTo>
                    <a:pt x="234" y="900"/>
                  </a:lnTo>
                  <a:lnTo>
                    <a:pt x="234" y="900"/>
                  </a:lnTo>
                  <a:lnTo>
                    <a:pt x="234" y="900"/>
                  </a:lnTo>
                  <a:lnTo>
                    <a:pt x="236" y="902"/>
                  </a:lnTo>
                  <a:lnTo>
                    <a:pt x="240" y="908"/>
                  </a:lnTo>
                  <a:lnTo>
                    <a:pt x="244" y="916"/>
                  </a:lnTo>
                  <a:lnTo>
                    <a:pt x="252" y="922"/>
                  </a:lnTo>
                  <a:lnTo>
                    <a:pt x="252" y="922"/>
                  </a:lnTo>
                  <a:lnTo>
                    <a:pt x="252" y="924"/>
                  </a:lnTo>
                  <a:lnTo>
                    <a:pt x="258" y="928"/>
                  </a:lnTo>
                  <a:lnTo>
                    <a:pt x="258" y="928"/>
                  </a:lnTo>
                  <a:lnTo>
                    <a:pt x="258" y="928"/>
                  </a:lnTo>
                  <a:lnTo>
                    <a:pt x="266" y="932"/>
                  </a:lnTo>
                  <a:lnTo>
                    <a:pt x="266" y="932"/>
                  </a:lnTo>
                  <a:lnTo>
                    <a:pt x="266" y="932"/>
                  </a:lnTo>
                  <a:lnTo>
                    <a:pt x="274" y="934"/>
                  </a:lnTo>
                  <a:lnTo>
                    <a:pt x="274" y="934"/>
                  </a:lnTo>
                  <a:lnTo>
                    <a:pt x="274" y="934"/>
                  </a:lnTo>
                  <a:lnTo>
                    <a:pt x="282" y="936"/>
                  </a:lnTo>
                  <a:lnTo>
                    <a:pt x="284" y="936"/>
                  </a:lnTo>
                  <a:lnTo>
                    <a:pt x="292" y="936"/>
                  </a:lnTo>
                  <a:lnTo>
                    <a:pt x="292" y="936"/>
                  </a:lnTo>
                  <a:lnTo>
                    <a:pt x="294" y="934"/>
                  </a:lnTo>
                  <a:lnTo>
                    <a:pt x="294" y="934"/>
                  </a:lnTo>
                  <a:lnTo>
                    <a:pt x="294" y="932"/>
                  </a:lnTo>
                  <a:lnTo>
                    <a:pt x="292" y="926"/>
                  </a:lnTo>
                  <a:close/>
                  <a:moveTo>
                    <a:pt x="1304" y="932"/>
                  </a:moveTo>
                  <a:lnTo>
                    <a:pt x="1302" y="928"/>
                  </a:lnTo>
                  <a:lnTo>
                    <a:pt x="1302" y="930"/>
                  </a:lnTo>
                  <a:lnTo>
                    <a:pt x="1302" y="926"/>
                  </a:lnTo>
                  <a:lnTo>
                    <a:pt x="1300" y="924"/>
                  </a:lnTo>
                  <a:lnTo>
                    <a:pt x="1300" y="922"/>
                  </a:lnTo>
                  <a:lnTo>
                    <a:pt x="1300" y="922"/>
                  </a:lnTo>
                  <a:lnTo>
                    <a:pt x="1300" y="920"/>
                  </a:lnTo>
                  <a:lnTo>
                    <a:pt x="1300" y="918"/>
                  </a:lnTo>
                  <a:lnTo>
                    <a:pt x="1300" y="918"/>
                  </a:lnTo>
                  <a:lnTo>
                    <a:pt x="1298" y="918"/>
                  </a:lnTo>
                  <a:lnTo>
                    <a:pt x="1298" y="916"/>
                  </a:lnTo>
                  <a:lnTo>
                    <a:pt x="1298" y="916"/>
                  </a:lnTo>
                  <a:lnTo>
                    <a:pt x="1296" y="916"/>
                  </a:lnTo>
                  <a:lnTo>
                    <a:pt x="1296" y="916"/>
                  </a:lnTo>
                  <a:lnTo>
                    <a:pt x="1296" y="914"/>
                  </a:lnTo>
                  <a:lnTo>
                    <a:pt x="1298" y="910"/>
                  </a:lnTo>
                  <a:lnTo>
                    <a:pt x="1298" y="908"/>
                  </a:lnTo>
                  <a:lnTo>
                    <a:pt x="1298" y="908"/>
                  </a:lnTo>
                  <a:lnTo>
                    <a:pt x="1298" y="906"/>
                  </a:lnTo>
                  <a:lnTo>
                    <a:pt x="1298" y="906"/>
                  </a:lnTo>
                  <a:lnTo>
                    <a:pt x="1298" y="904"/>
                  </a:lnTo>
                  <a:lnTo>
                    <a:pt x="1298" y="902"/>
                  </a:lnTo>
                  <a:lnTo>
                    <a:pt x="1298" y="902"/>
                  </a:lnTo>
                  <a:lnTo>
                    <a:pt x="1296" y="902"/>
                  </a:lnTo>
                  <a:lnTo>
                    <a:pt x="1294" y="900"/>
                  </a:lnTo>
                  <a:lnTo>
                    <a:pt x="1294" y="900"/>
                  </a:lnTo>
                  <a:lnTo>
                    <a:pt x="1294" y="898"/>
                  </a:lnTo>
                  <a:lnTo>
                    <a:pt x="1292" y="898"/>
                  </a:lnTo>
                  <a:lnTo>
                    <a:pt x="1292" y="898"/>
                  </a:lnTo>
                  <a:lnTo>
                    <a:pt x="1290" y="898"/>
                  </a:lnTo>
                  <a:lnTo>
                    <a:pt x="1288" y="898"/>
                  </a:lnTo>
                  <a:lnTo>
                    <a:pt x="1288" y="898"/>
                  </a:lnTo>
                  <a:lnTo>
                    <a:pt x="1288" y="896"/>
                  </a:lnTo>
                  <a:lnTo>
                    <a:pt x="1286" y="892"/>
                  </a:lnTo>
                  <a:lnTo>
                    <a:pt x="1286" y="888"/>
                  </a:lnTo>
                  <a:lnTo>
                    <a:pt x="1284" y="886"/>
                  </a:lnTo>
                  <a:lnTo>
                    <a:pt x="1284" y="886"/>
                  </a:lnTo>
                  <a:lnTo>
                    <a:pt x="1284" y="884"/>
                  </a:lnTo>
                  <a:lnTo>
                    <a:pt x="1282" y="882"/>
                  </a:lnTo>
                  <a:lnTo>
                    <a:pt x="1282" y="882"/>
                  </a:lnTo>
                  <a:lnTo>
                    <a:pt x="1282" y="882"/>
                  </a:lnTo>
                  <a:lnTo>
                    <a:pt x="1280" y="880"/>
                  </a:lnTo>
                  <a:lnTo>
                    <a:pt x="1280" y="880"/>
                  </a:lnTo>
                  <a:lnTo>
                    <a:pt x="1280" y="880"/>
                  </a:lnTo>
                  <a:lnTo>
                    <a:pt x="1276" y="878"/>
                  </a:lnTo>
                  <a:lnTo>
                    <a:pt x="1276" y="878"/>
                  </a:lnTo>
                  <a:lnTo>
                    <a:pt x="1274" y="878"/>
                  </a:lnTo>
                  <a:lnTo>
                    <a:pt x="1270" y="878"/>
                  </a:lnTo>
                  <a:lnTo>
                    <a:pt x="1266" y="880"/>
                  </a:lnTo>
                  <a:lnTo>
                    <a:pt x="1262" y="880"/>
                  </a:lnTo>
                  <a:lnTo>
                    <a:pt x="1260" y="880"/>
                  </a:lnTo>
                  <a:lnTo>
                    <a:pt x="1260" y="880"/>
                  </a:lnTo>
                  <a:lnTo>
                    <a:pt x="1258" y="876"/>
                  </a:lnTo>
                  <a:lnTo>
                    <a:pt x="1258" y="876"/>
                  </a:lnTo>
                  <a:lnTo>
                    <a:pt x="1258" y="876"/>
                  </a:lnTo>
                  <a:lnTo>
                    <a:pt x="1258" y="874"/>
                  </a:lnTo>
                  <a:lnTo>
                    <a:pt x="1258" y="874"/>
                  </a:lnTo>
                  <a:lnTo>
                    <a:pt x="1258" y="874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6" y="872"/>
                  </a:lnTo>
                  <a:lnTo>
                    <a:pt x="1252" y="870"/>
                  </a:lnTo>
                  <a:lnTo>
                    <a:pt x="1250" y="870"/>
                  </a:lnTo>
                  <a:lnTo>
                    <a:pt x="1250" y="868"/>
                  </a:lnTo>
                  <a:lnTo>
                    <a:pt x="1250" y="868"/>
                  </a:lnTo>
                  <a:lnTo>
                    <a:pt x="1248" y="866"/>
                  </a:lnTo>
                  <a:lnTo>
                    <a:pt x="1248" y="866"/>
                  </a:lnTo>
                  <a:lnTo>
                    <a:pt x="1248" y="866"/>
                  </a:lnTo>
                  <a:lnTo>
                    <a:pt x="1248" y="864"/>
                  </a:lnTo>
                  <a:lnTo>
                    <a:pt x="1248" y="864"/>
                  </a:lnTo>
                  <a:lnTo>
                    <a:pt x="1248" y="864"/>
                  </a:lnTo>
                  <a:lnTo>
                    <a:pt x="1246" y="864"/>
                  </a:lnTo>
                  <a:lnTo>
                    <a:pt x="1246" y="864"/>
                  </a:lnTo>
                  <a:lnTo>
                    <a:pt x="1250" y="862"/>
                  </a:lnTo>
                  <a:lnTo>
                    <a:pt x="1252" y="862"/>
                  </a:lnTo>
                  <a:lnTo>
                    <a:pt x="1254" y="862"/>
                  </a:lnTo>
                  <a:lnTo>
                    <a:pt x="1254" y="862"/>
                  </a:lnTo>
                  <a:lnTo>
                    <a:pt x="1254" y="862"/>
                  </a:lnTo>
                  <a:lnTo>
                    <a:pt x="1256" y="860"/>
                  </a:lnTo>
                  <a:lnTo>
                    <a:pt x="1258" y="858"/>
                  </a:lnTo>
                  <a:lnTo>
                    <a:pt x="1258" y="854"/>
                  </a:lnTo>
                  <a:lnTo>
                    <a:pt x="1260" y="850"/>
                  </a:lnTo>
                  <a:lnTo>
                    <a:pt x="1260" y="844"/>
                  </a:lnTo>
                  <a:lnTo>
                    <a:pt x="1260" y="842"/>
                  </a:lnTo>
                  <a:lnTo>
                    <a:pt x="1262" y="840"/>
                  </a:lnTo>
                  <a:lnTo>
                    <a:pt x="1262" y="840"/>
                  </a:lnTo>
                  <a:lnTo>
                    <a:pt x="1262" y="838"/>
                  </a:lnTo>
                  <a:lnTo>
                    <a:pt x="1262" y="834"/>
                  </a:lnTo>
                  <a:lnTo>
                    <a:pt x="1260" y="832"/>
                  </a:lnTo>
                  <a:lnTo>
                    <a:pt x="1260" y="828"/>
                  </a:lnTo>
                  <a:lnTo>
                    <a:pt x="1260" y="826"/>
                  </a:lnTo>
                  <a:lnTo>
                    <a:pt x="1260" y="824"/>
                  </a:lnTo>
                  <a:lnTo>
                    <a:pt x="1260" y="824"/>
                  </a:lnTo>
                  <a:lnTo>
                    <a:pt x="1258" y="824"/>
                  </a:lnTo>
                  <a:lnTo>
                    <a:pt x="1258" y="824"/>
                  </a:lnTo>
                  <a:lnTo>
                    <a:pt x="1258" y="824"/>
                  </a:lnTo>
                  <a:lnTo>
                    <a:pt x="1258" y="822"/>
                  </a:lnTo>
                  <a:lnTo>
                    <a:pt x="1256" y="822"/>
                  </a:lnTo>
                  <a:lnTo>
                    <a:pt x="1256" y="822"/>
                  </a:lnTo>
                  <a:lnTo>
                    <a:pt x="1256" y="822"/>
                  </a:lnTo>
                  <a:lnTo>
                    <a:pt x="1254" y="820"/>
                  </a:lnTo>
                  <a:lnTo>
                    <a:pt x="1254" y="820"/>
                  </a:lnTo>
                  <a:lnTo>
                    <a:pt x="1254" y="818"/>
                  </a:lnTo>
                  <a:lnTo>
                    <a:pt x="1254" y="820"/>
                  </a:lnTo>
                  <a:lnTo>
                    <a:pt x="1252" y="818"/>
                  </a:lnTo>
                  <a:lnTo>
                    <a:pt x="1252" y="816"/>
                  </a:lnTo>
                  <a:lnTo>
                    <a:pt x="1250" y="816"/>
                  </a:lnTo>
                  <a:lnTo>
                    <a:pt x="1250" y="814"/>
                  </a:lnTo>
                  <a:lnTo>
                    <a:pt x="1250" y="812"/>
                  </a:lnTo>
                  <a:lnTo>
                    <a:pt x="1250" y="812"/>
                  </a:lnTo>
                  <a:lnTo>
                    <a:pt x="1250" y="812"/>
                  </a:lnTo>
                  <a:lnTo>
                    <a:pt x="1250" y="810"/>
                  </a:lnTo>
                  <a:lnTo>
                    <a:pt x="1252" y="806"/>
                  </a:lnTo>
                  <a:lnTo>
                    <a:pt x="1252" y="802"/>
                  </a:lnTo>
                  <a:lnTo>
                    <a:pt x="1252" y="798"/>
                  </a:lnTo>
                  <a:lnTo>
                    <a:pt x="1252" y="798"/>
                  </a:lnTo>
                  <a:lnTo>
                    <a:pt x="1252" y="796"/>
                  </a:lnTo>
                  <a:lnTo>
                    <a:pt x="1252" y="794"/>
                  </a:lnTo>
                  <a:lnTo>
                    <a:pt x="1252" y="794"/>
                  </a:lnTo>
                  <a:lnTo>
                    <a:pt x="1252" y="792"/>
                  </a:lnTo>
                  <a:lnTo>
                    <a:pt x="1250" y="790"/>
                  </a:lnTo>
                  <a:lnTo>
                    <a:pt x="1250" y="790"/>
                  </a:lnTo>
                  <a:lnTo>
                    <a:pt x="1250" y="790"/>
                  </a:lnTo>
                  <a:lnTo>
                    <a:pt x="1248" y="788"/>
                  </a:lnTo>
                  <a:lnTo>
                    <a:pt x="1248" y="788"/>
                  </a:lnTo>
                  <a:lnTo>
                    <a:pt x="1248" y="788"/>
                  </a:lnTo>
                  <a:lnTo>
                    <a:pt x="1244" y="788"/>
                  </a:lnTo>
                  <a:lnTo>
                    <a:pt x="1244" y="788"/>
                  </a:lnTo>
                  <a:lnTo>
                    <a:pt x="1244" y="788"/>
                  </a:lnTo>
                  <a:lnTo>
                    <a:pt x="1242" y="786"/>
                  </a:lnTo>
                  <a:lnTo>
                    <a:pt x="1236" y="786"/>
                  </a:lnTo>
                  <a:lnTo>
                    <a:pt x="1234" y="786"/>
                  </a:lnTo>
                  <a:lnTo>
                    <a:pt x="1234" y="786"/>
                  </a:lnTo>
                  <a:lnTo>
                    <a:pt x="1232" y="786"/>
                  </a:lnTo>
                  <a:lnTo>
                    <a:pt x="1232" y="786"/>
                  </a:lnTo>
                  <a:lnTo>
                    <a:pt x="1232" y="784"/>
                  </a:lnTo>
                  <a:lnTo>
                    <a:pt x="1230" y="782"/>
                  </a:lnTo>
                  <a:lnTo>
                    <a:pt x="1228" y="780"/>
                  </a:lnTo>
                  <a:lnTo>
                    <a:pt x="1228" y="780"/>
                  </a:lnTo>
                  <a:lnTo>
                    <a:pt x="1228" y="778"/>
                  </a:lnTo>
                  <a:lnTo>
                    <a:pt x="1228" y="778"/>
                  </a:lnTo>
                  <a:lnTo>
                    <a:pt x="1228" y="778"/>
                  </a:lnTo>
                  <a:lnTo>
                    <a:pt x="1226" y="776"/>
                  </a:lnTo>
                  <a:lnTo>
                    <a:pt x="1224" y="776"/>
                  </a:lnTo>
                  <a:lnTo>
                    <a:pt x="1224" y="776"/>
                  </a:lnTo>
                  <a:lnTo>
                    <a:pt x="1224" y="776"/>
                  </a:lnTo>
                  <a:lnTo>
                    <a:pt x="1220" y="776"/>
                  </a:lnTo>
                  <a:lnTo>
                    <a:pt x="1220" y="776"/>
                  </a:lnTo>
                  <a:lnTo>
                    <a:pt x="1220" y="776"/>
                  </a:lnTo>
                  <a:lnTo>
                    <a:pt x="1216" y="778"/>
                  </a:lnTo>
                  <a:lnTo>
                    <a:pt x="1216" y="778"/>
                  </a:lnTo>
                  <a:lnTo>
                    <a:pt x="1216" y="778"/>
                  </a:lnTo>
                  <a:lnTo>
                    <a:pt x="1212" y="780"/>
                  </a:lnTo>
                  <a:lnTo>
                    <a:pt x="1208" y="784"/>
                  </a:lnTo>
                  <a:lnTo>
                    <a:pt x="1204" y="788"/>
                  </a:lnTo>
                  <a:lnTo>
                    <a:pt x="1198" y="790"/>
                  </a:lnTo>
                  <a:lnTo>
                    <a:pt x="1194" y="794"/>
                  </a:lnTo>
                  <a:lnTo>
                    <a:pt x="1190" y="796"/>
                  </a:lnTo>
                  <a:lnTo>
                    <a:pt x="1188" y="798"/>
                  </a:lnTo>
                  <a:lnTo>
                    <a:pt x="1186" y="798"/>
                  </a:lnTo>
                  <a:lnTo>
                    <a:pt x="1184" y="798"/>
                  </a:lnTo>
                  <a:lnTo>
                    <a:pt x="1182" y="798"/>
                  </a:lnTo>
                  <a:lnTo>
                    <a:pt x="1180" y="798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6"/>
                  </a:lnTo>
                  <a:lnTo>
                    <a:pt x="1180" y="794"/>
                  </a:lnTo>
                  <a:lnTo>
                    <a:pt x="1182" y="790"/>
                  </a:lnTo>
                  <a:lnTo>
                    <a:pt x="1186" y="788"/>
                  </a:lnTo>
                  <a:lnTo>
                    <a:pt x="1188" y="784"/>
                  </a:lnTo>
                  <a:lnTo>
                    <a:pt x="1192" y="782"/>
                  </a:lnTo>
                  <a:lnTo>
                    <a:pt x="1196" y="778"/>
                  </a:lnTo>
                  <a:lnTo>
                    <a:pt x="1200" y="776"/>
                  </a:lnTo>
                  <a:lnTo>
                    <a:pt x="1202" y="774"/>
                  </a:lnTo>
                  <a:lnTo>
                    <a:pt x="1204" y="772"/>
                  </a:lnTo>
                  <a:lnTo>
                    <a:pt x="1208" y="772"/>
                  </a:lnTo>
                  <a:lnTo>
                    <a:pt x="1214" y="772"/>
                  </a:lnTo>
                  <a:lnTo>
                    <a:pt x="1216" y="772"/>
                  </a:lnTo>
                  <a:lnTo>
                    <a:pt x="1220" y="772"/>
                  </a:lnTo>
                  <a:lnTo>
                    <a:pt x="1220" y="772"/>
                  </a:lnTo>
                  <a:lnTo>
                    <a:pt x="1220" y="772"/>
                  </a:lnTo>
                  <a:lnTo>
                    <a:pt x="1222" y="772"/>
                  </a:lnTo>
                  <a:lnTo>
                    <a:pt x="1222" y="772"/>
                  </a:lnTo>
                  <a:lnTo>
                    <a:pt x="1224" y="770"/>
                  </a:lnTo>
                  <a:lnTo>
                    <a:pt x="1224" y="770"/>
                  </a:lnTo>
                  <a:lnTo>
                    <a:pt x="1224" y="770"/>
                  </a:lnTo>
                  <a:lnTo>
                    <a:pt x="1224" y="766"/>
                  </a:lnTo>
                  <a:lnTo>
                    <a:pt x="1224" y="766"/>
                  </a:lnTo>
                  <a:lnTo>
                    <a:pt x="1224" y="766"/>
                  </a:lnTo>
                  <a:lnTo>
                    <a:pt x="1224" y="764"/>
                  </a:lnTo>
                  <a:lnTo>
                    <a:pt x="1222" y="764"/>
                  </a:lnTo>
                  <a:lnTo>
                    <a:pt x="1222" y="764"/>
                  </a:lnTo>
                  <a:lnTo>
                    <a:pt x="1222" y="764"/>
                  </a:lnTo>
                  <a:lnTo>
                    <a:pt x="1220" y="762"/>
                  </a:lnTo>
                  <a:lnTo>
                    <a:pt x="1216" y="760"/>
                  </a:lnTo>
                  <a:lnTo>
                    <a:pt x="1214" y="758"/>
                  </a:lnTo>
                  <a:lnTo>
                    <a:pt x="1206" y="756"/>
                  </a:lnTo>
                  <a:lnTo>
                    <a:pt x="1202" y="754"/>
                  </a:lnTo>
                  <a:lnTo>
                    <a:pt x="1198" y="754"/>
                  </a:lnTo>
                  <a:lnTo>
                    <a:pt x="1196" y="754"/>
                  </a:lnTo>
                  <a:lnTo>
                    <a:pt x="1192" y="752"/>
                  </a:lnTo>
                  <a:lnTo>
                    <a:pt x="1188" y="752"/>
                  </a:lnTo>
                  <a:lnTo>
                    <a:pt x="1184" y="752"/>
                  </a:lnTo>
                  <a:lnTo>
                    <a:pt x="1184" y="752"/>
                  </a:lnTo>
                  <a:lnTo>
                    <a:pt x="1182" y="752"/>
                  </a:lnTo>
                  <a:lnTo>
                    <a:pt x="1182" y="752"/>
                  </a:lnTo>
                  <a:lnTo>
                    <a:pt x="1182" y="750"/>
                  </a:lnTo>
                  <a:lnTo>
                    <a:pt x="1182" y="748"/>
                  </a:lnTo>
                  <a:lnTo>
                    <a:pt x="1184" y="746"/>
                  </a:lnTo>
                  <a:lnTo>
                    <a:pt x="1184" y="744"/>
                  </a:lnTo>
                  <a:lnTo>
                    <a:pt x="1184" y="742"/>
                  </a:lnTo>
                  <a:lnTo>
                    <a:pt x="1184" y="742"/>
                  </a:lnTo>
                  <a:lnTo>
                    <a:pt x="1184" y="742"/>
                  </a:lnTo>
                  <a:lnTo>
                    <a:pt x="1184" y="740"/>
                  </a:lnTo>
                  <a:lnTo>
                    <a:pt x="1184" y="740"/>
                  </a:lnTo>
                  <a:lnTo>
                    <a:pt x="1184" y="740"/>
                  </a:lnTo>
                  <a:lnTo>
                    <a:pt x="1182" y="738"/>
                  </a:lnTo>
                  <a:lnTo>
                    <a:pt x="1182" y="738"/>
                  </a:lnTo>
                  <a:lnTo>
                    <a:pt x="1182" y="736"/>
                  </a:lnTo>
                  <a:lnTo>
                    <a:pt x="1180" y="736"/>
                  </a:lnTo>
                  <a:lnTo>
                    <a:pt x="1180" y="736"/>
                  </a:lnTo>
                  <a:lnTo>
                    <a:pt x="1180" y="734"/>
                  </a:lnTo>
                  <a:lnTo>
                    <a:pt x="1178" y="734"/>
                  </a:lnTo>
                  <a:lnTo>
                    <a:pt x="1178" y="734"/>
                  </a:lnTo>
                  <a:lnTo>
                    <a:pt x="1178" y="734"/>
                  </a:lnTo>
                  <a:lnTo>
                    <a:pt x="1174" y="732"/>
                  </a:lnTo>
                  <a:lnTo>
                    <a:pt x="1172" y="732"/>
                  </a:lnTo>
                  <a:lnTo>
                    <a:pt x="1170" y="730"/>
                  </a:lnTo>
                  <a:lnTo>
                    <a:pt x="1168" y="730"/>
                  </a:lnTo>
                  <a:lnTo>
                    <a:pt x="1168" y="728"/>
                  </a:lnTo>
                  <a:lnTo>
                    <a:pt x="1166" y="726"/>
                  </a:lnTo>
                  <a:lnTo>
                    <a:pt x="1164" y="722"/>
                  </a:lnTo>
                  <a:lnTo>
                    <a:pt x="1160" y="718"/>
                  </a:lnTo>
                  <a:lnTo>
                    <a:pt x="1158" y="714"/>
                  </a:lnTo>
                  <a:lnTo>
                    <a:pt x="1156" y="710"/>
                  </a:lnTo>
                  <a:lnTo>
                    <a:pt x="1154" y="706"/>
                  </a:lnTo>
                  <a:lnTo>
                    <a:pt x="1154" y="704"/>
                  </a:lnTo>
                  <a:lnTo>
                    <a:pt x="1154" y="704"/>
                  </a:lnTo>
                  <a:lnTo>
                    <a:pt x="1156" y="704"/>
                  </a:lnTo>
                  <a:lnTo>
                    <a:pt x="1158" y="706"/>
                  </a:lnTo>
                  <a:lnTo>
                    <a:pt x="1158" y="706"/>
                  </a:lnTo>
                  <a:lnTo>
                    <a:pt x="1158" y="706"/>
                  </a:lnTo>
                  <a:lnTo>
                    <a:pt x="1160" y="706"/>
                  </a:lnTo>
                  <a:lnTo>
                    <a:pt x="1160" y="706"/>
                  </a:lnTo>
                  <a:lnTo>
                    <a:pt x="1162" y="706"/>
                  </a:lnTo>
                  <a:lnTo>
                    <a:pt x="1162" y="704"/>
                  </a:lnTo>
                  <a:lnTo>
                    <a:pt x="1162" y="702"/>
                  </a:lnTo>
                  <a:lnTo>
                    <a:pt x="1162" y="702"/>
                  </a:lnTo>
                  <a:lnTo>
                    <a:pt x="1162" y="700"/>
                  </a:lnTo>
                  <a:lnTo>
                    <a:pt x="1162" y="698"/>
                  </a:lnTo>
                  <a:lnTo>
                    <a:pt x="1160" y="696"/>
                  </a:lnTo>
                  <a:lnTo>
                    <a:pt x="1158" y="692"/>
                  </a:lnTo>
                  <a:lnTo>
                    <a:pt x="1156" y="690"/>
                  </a:lnTo>
                  <a:lnTo>
                    <a:pt x="1150" y="682"/>
                  </a:lnTo>
                  <a:lnTo>
                    <a:pt x="1148" y="678"/>
                  </a:lnTo>
                  <a:lnTo>
                    <a:pt x="1146" y="676"/>
                  </a:lnTo>
                  <a:lnTo>
                    <a:pt x="1142" y="670"/>
                  </a:lnTo>
                  <a:lnTo>
                    <a:pt x="1138" y="666"/>
                  </a:lnTo>
                  <a:lnTo>
                    <a:pt x="1136" y="666"/>
                  </a:lnTo>
                  <a:lnTo>
                    <a:pt x="1136" y="664"/>
                  </a:lnTo>
                  <a:lnTo>
                    <a:pt x="1136" y="664"/>
                  </a:lnTo>
                  <a:lnTo>
                    <a:pt x="1136" y="662"/>
                  </a:lnTo>
                  <a:lnTo>
                    <a:pt x="1136" y="662"/>
                  </a:lnTo>
                  <a:lnTo>
                    <a:pt x="1136" y="662"/>
                  </a:lnTo>
                  <a:lnTo>
                    <a:pt x="1138" y="662"/>
                  </a:lnTo>
                  <a:lnTo>
                    <a:pt x="1140" y="660"/>
                  </a:lnTo>
                  <a:lnTo>
                    <a:pt x="1140" y="660"/>
                  </a:lnTo>
                  <a:lnTo>
                    <a:pt x="1140" y="660"/>
                  </a:lnTo>
                  <a:lnTo>
                    <a:pt x="1142" y="660"/>
                  </a:lnTo>
                  <a:lnTo>
                    <a:pt x="1142" y="660"/>
                  </a:lnTo>
                  <a:lnTo>
                    <a:pt x="1142" y="658"/>
                  </a:lnTo>
                  <a:lnTo>
                    <a:pt x="1144" y="658"/>
                  </a:lnTo>
                  <a:lnTo>
                    <a:pt x="1144" y="658"/>
                  </a:lnTo>
                  <a:lnTo>
                    <a:pt x="1144" y="656"/>
                  </a:lnTo>
                  <a:lnTo>
                    <a:pt x="1144" y="654"/>
                  </a:lnTo>
                  <a:lnTo>
                    <a:pt x="1144" y="654"/>
                  </a:lnTo>
                  <a:lnTo>
                    <a:pt x="1144" y="654"/>
                  </a:lnTo>
                  <a:lnTo>
                    <a:pt x="1144" y="652"/>
                  </a:lnTo>
                  <a:lnTo>
                    <a:pt x="1142" y="648"/>
                  </a:lnTo>
                  <a:lnTo>
                    <a:pt x="1140" y="644"/>
                  </a:lnTo>
                  <a:lnTo>
                    <a:pt x="1138" y="642"/>
                  </a:lnTo>
                  <a:lnTo>
                    <a:pt x="1136" y="638"/>
                  </a:lnTo>
                  <a:lnTo>
                    <a:pt x="1134" y="634"/>
                  </a:lnTo>
                  <a:lnTo>
                    <a:pt x="1132" y="632"/>
                  </a:lnTo>
                  <a:lnTo>
                    <a:pt x="1130" y="630"/>
                  </a:lnTo>
                  <a:lnTo>
                    <a:pt x="1128" y="628"/>
                  </a:lnTo>
                  <a:lnTo>
                    <a:pt x="1128" y="628"/>
                  </a:lnTo>
                  <a:lnTo>
                    <a:pt x="1128" y="628"/>
                  </a:lnTo>
                  <a:lnTo>
                    <a:pt x="1126" y="628"/>
                  </a:lnTo>
                  <a:lnTo>
                    <a:pt x="1126" y="628"/>
                  </a:lnTo>
                  <a:lnTo>
                    <a:pt x="1126" y="626"/>
                  </a:lnTo>
                  <a:lnTo>
                    <a:pt x="1122" y="626"/>
                  </a:lnTo>
                  <a:lnTo>
                    <a:pt x="1122" y="626"/>
                  </a:lnTo>
                  <a:lnTo>
                    <a:pt x="1122" y="626"/>
                  </a:lnTo>
                  <a:lnTo>
                    <a:pt x="1118" y="626"/>
                  </a:lnTo>
                  <a:lnTo>
                    <a:pt x="1118" y="626"/>
                  </a:lnTo>
                  <a:lnTo>
                    <a:pt x="1118" y="626"/>
                  </a:lnTo>
                  <a:lnTo>
                    <a:pt x="1116" y="628"/>
                  </a:lnTo>
                  <a:lnTo>
                    <a:pt x="1116" y="628"/>
                  </a:lnTo>
                  <a:lnTo>
                    <a:pt x="1114" y="630"/>
                  </a:lnTo>
                  <a:lnTo>
                    <a:pt x="1114" y="632"/>
                  </a:lnTo>
                  <a:lnTo>
                    <a:pt x="1114" y="632"/>
                  </a:lnTo>
                  <a:lnTo>
                    <a:pt x="1114" y="632"/>
                  </a:lnTo>
                  <a:lnTo>
                    <a:pt x="1114" y="634"/>
                  </a:lnTo>
                  <a:lnTo>
                    <a:pt x="1114" y="638"/>
                  </a:lnTo>
                  <a:lnTo>
                    <a:pt x="1114" y="640"/>
                  </a:lnTo>
                  <a:lnTo>
                    <a:pt x="1114" y="644"/>
                  </a:lnTo>
                  <a:lnTo>
                    <a:pt x="1114" y="646"/>
                  </a:lnTo>
                  <a:lnTo>
                    <a:pt x="1114" y="648"/>
                  </a:lnTo>
                  <a:lnTo>
                    <a:pt x="1114" y="648"/>
                  </a:lnTo>
                  <a:lnTo>
                    <a:pt x="1112" y="650"/>
                  </a:lnTo>
                  <a:lnTo>
                    <a:pt x="1112" y="650"/>
                  </a:lnTo>
                  <a:lnTo>
                    <a:pt x="1108" y="652"/>
                  </a:lnTo>
                  <a:lnTo>
                    <a:pt x="1106" y="652"/>
                  </a:lnTo>
                  <a:lnTo>
                    <a:pt x="1106" y="652"/>
                  </a:lnTo>
                  <a:lnTo>
                    <a:pt x="1104" y="652"/>
                  </a:lnTo>
                  <a:lnTo>
                    <a:pt x="1104" y="652"/>
                  </a:lnTo>
                  <a:lnTo>
                    <a:pt x="1104" y="652"/>
                  </a:lnTo>
                  <a:lnTo>
                    <a:pt x="1102" y="654"/>
                  </a:lnTo>
                  <a:lnTo>
                    <a:pt x="1102" y="654"/>
                  </a:lnTo>
                  <a:lnTo>
                    <a:pt x="1102" y="654"/>
                  </a:lnTo>
                  <a:lnTo>
                    <a:pt x="1102" y="656"/>
                  </a:lnTo>
                  <a:lnTo>
                    <a:pt x="1100" y="656"/>
                  </a:lnTo>
                  <a:lnTo>
                    <a:pt x="1100" y="656"/>
                  </a:lnTo>
                  <a:lnTo>
                    <a:pt x="1100" y="658"/>
                  </a:lnTo>
                  <a:lnTo>
                    <a:pt x="1100" y="658"/>
                  </a:lnTo>
                  <a:lnTo>
                    <a:pt x="1100" y="658"/>
                  </a:lnTo>
                  <a:lnTo>
                    <a:pt x="1098" y="656"/>
                  </a:lnTo>
                  <a:lnTo>
                    <a:pt x="1098" y="656"/>
                  </a:lnTo>
                  <a:lnTo>
                    <a:pt x="1098" y="656"/>
                  </a:lnTo>
                  <a:lnTo>
                    <a:pt x="1096" y="656"/>
                  </a:lnTo>
                  <a:lnTo>
                    <a:pt x="1096" y="656"/>
                  </a:lnTo>
                  <a:lnTo>
                    <a:pt x="1096" y="658"/>
                  </a:lnTo>
                  <a:lnTo>
                    <a:pt x="1094" y="658"/>
                  </a:lnTo>
                  <a:lnTo>
                    <a:pt x="1094" y="658"/>
                  </a:lnTo>
                  <a:lnTo>
                    <a:pt x="1094" y="658"/>
                  </a:lnTo>
                  <a:lnTo>
                    <a:pt x="1090" y="660"/>
                  </a:lnTo>
                  <a:lnTo>
                    <a:pt x="1086" y="664"/>
                  </a:lnTo>
                  <a:lnTo>
                    <a:pt x="1084" y="666"/>
                  </a:lnTo>
                  <a:lnTo>
                    <a:pt x="1082" y="668"/>
                  </a:lnTo>
                  <a:lnTo>
                    <a:pt x="1082" y="668"/>
                  </a:lnTo>
                  <a:lnTo>
                    <a:pt x="1082" y="668"/>
                  </a:lnTo>
                  <a:lnTo>
                    <a:pt x="1080" y="668"/>
                  </a:lnTo>
                  <a:lnTo>
                    <a:pt x="1078" y="672"/>
                  </a:lnTo>
                  <a:lnTo>
                    <a:pt x="1078" y="672"/>
                  </a:lnTo>
                  <a:lnTo>
                    <a:pt x="1078" y="674"/>
                  </a:lnTo>
                  <a:lnTo>
                    <a:pt x="1076" y="674"/>
                  </a:lnTo>
                  <a:lnTo>
                    <a:pt x="1074" y="674"/>
                  </a:lnTo>
                  <a:lnTo>
                    <a:pt x="1072" y="676"/>
                  </a:lnTo>
                  <a:lnTo>
                    <a:pt x="1068" y="676"/>
                  </a:lnTo>
                  <a:lnTo>
                    <a:pt x="1064" y="678"/>
                  </a:lnTo>
                  <a:lnTo>
                    <a:pt x="1060" y="678"/>
                  </a:lnTo>
                  <a:lnTo>
                    <a:pt x="1060" y="678"/>
                  </a:lnTo>
                  <a:lnTo>
                    <a:pt x="1060" y="678"/>
                  </a:lnTo>
                  <a:lnTo>
                    <a:pt x="1062" y="676"/>
                  </a:lnTo>
                  <a:lnTo>
                    <a:pt x="1062" y="676"/>
                  </a:lnTo>
                  <a:lnTo>
                    <a:pt x="1062" y="676"/>
                  </a:lnTo>
                  <a:lnTo>
                    <a:pt x="1062" y="674"/>
                  </a:lnTo>
                  <a:lnTo>
                    <a:pt x="1064" y="670"/>
                  </a:lnTo>
                  <a:lnTo>
                    <a:pt x="1064" y="668"/>
                  </a:lnTo>
                  <a:lnTo>
                    <a:pt x="1064" y="664"/>
                  </a:lnTo>
                  <a:lnTo>
                    <a:pt x="1064" y="660"/>
                  </a:lnTo>
                  <a:lnTo>
                    <a:pt x="1064" y="658"/>
                  </a:lnTo>
                  <a:lnTo>
                    <a:pt x="1064" y="654"/>
                  </a:lnTo>
                  <a:lnTo>
                    <a:pt x="1064" y="654"/>
                  </a:lnTo>
                  <a:lnTo>
                    <a:pt x="1064" y="654"/>
                  </a:lnTo>
                  <a:lnTo>
                    <a:pt x="1064" y="652"/>
                  </a:lnTo>
                  <a:lnTo>
                    <a:pt x="1064" y="652"/>
                  </a:lnTo>
                  <a:lnTo>
                    <a:pt x="1062" y="652"/>
                  </a:lnTo>
                  <a:lnTo>
                    <a:pt x="1062" y="650"/>
                  </a:lnTo>
                  <a:lnTo>
                    <a:pt x="1062" y="650"/>
                  </a:lnTo>
                  <a:lnTo>
                    <a:pt x="1060" y="650"/>
                  </a:lnTo>
                  <a:lnTo>
                    <a:pt x="1058" y="650"/>
                  </a:lnTo>
                  <a:lnTo>
                    <a:pt x="1058" y="650"/>
                  </a:lnTo>
                  <a:lnTo>
                    <a:pt x="1058" y="650"/>
                  </a:lnTo>
                  <a:lnTo>
                    <a:pt x="1056" y="652"/>
                  </a:lnTo>
                  <a:lnTo>
                    <a:pt x="1056" y="652"/>
                  </a:lnTo>
                  <a:lnTo>
                    <a:pt x="1056" y="652"/>
                  </a:lnTo>
                  <a:lnTo>
                    <a:pt x="1054" y="652"/>
                  </a:lnTo>
                  <a:lnTo>
                    <a:pt x="1052" y="656"/>
                  </a:lnTo>
                  <a:lnTo>
                    <a:pt x="1050" y="656"/>
                  </a:lnTo>
                  <a:lnTo>
                    <a:pt x="1050" y="656"/>
                  </a:lnTo>
                  <a:lnTo>
                    <a:pt x="1048" y="656"/>
                  </a:lnTo>
                  <a:lnTo>
                    <a:pt x="1046" y="658"/>
                  </a:lnTo>
                  <a:lnTo>
                    <a:pt x="1044" y="658"/>
                  </a:lnTo>
                  <a:lnTo>
                    <a:pt x="1042" y="658"/>
                  </a:lnTo>
                  <a:lnTo>
                    <a:pt x="1042" y="658"/>
                  </a:lnTo>
                  <a:lnTo>
                    <a:pt x="1042" y="656"/>
                  </a:lnTo>
                  <a:lnTo>
                    <a:pt x="1042" y="654"/>
                  </a:lnTo>
                  <a:lnTo>
                    <a:pt x="1044" y="652"/>
                  </a:lnTo>
                  <a:lnTo>
                    <a:pt x="1046" y="648"/>
                  </a:lnTo>
                  <a:lnTo>
                    <a:pt x="1050" y="642"/>
                  </a:lnTo>
                  <a:lnTo>
                    <a:pt x="1050" y="638"/>
                  </a:lnTo>
                  <a:lnTo>
                    <a:pt x="1052" y="636"/>
                  </a:lnTo>
                  <a:lnTo>
                    <a:pt x="1054" y="630"/>
                  </a:lnTo>
                  <a:lnTo>
                    <a:pt x="1054" y="624"/>
                  </a:lnTo>
                  <a:lnTo>
                    <a:pt x="1054" y="624"/>
                  </a:lnTo>
                  <a:lnTo>
                    <a:pt x="1054" y="624"/>
                  </a:lnTo>
                  <a:lnTo>
                    <a:pt x="1054" y="620"/>
                  </a:lnTo>
                  <a:lnTo>
                    <a:pt x="1054" y="620"/>
                  </a:lnTo>
                  <a:lnTo>
                    <a:pt x="1054" y="620"/>
                  </a:lnTo>
                  <a:lnTo>
                    <a:pt x="1052" y="618"/>
                  </a:lnTo>
                  <a:lnTo>
                    <a:pt x="1052" y="618"/>
                  </a:lnTo>
                  <a:lnTo>
                    <a:pt x="1052" y="618"/>
                  </a:lnTo>
                  <a:lnTo>
                    <a:pt x="1052" y="616"/>
                  </a:lnTo>
                  <a:lnTo>
                    <a:pt x="1052" y="616"/>
                  </a:lnTo>
                  <a:lnTo>
                    <a:pt x="1050" y="614"/>
                  </a:lnTo>
                  <a:lnTo>
                    <a:pt x="1050" y="614"/>
                  </a:lnTo>
                  <a:lnTo>
                    <a:pt x="1050" y="614"/>
                  </a:lnTo>
                  <a:lnTo>
                    <a:pt x="1048" y="612"/>
                  </a:lnTo>
                  <a:lnTo>
                    <a:pt x="1046" y="612"/>
                  </a:lnTo>
                  <a:lnTo>
                    <a:pt x="1046" y="612"/>
                  </a:lnTo>
                  <a:lnTo>
                    <a:pt x="1046" y="612"/>
                  </a:lnTo>
                  <a:lnTo>
                    <a:pt x="1042" y="612"/>
                  </a:lnTo>
                  <a:lnTo>
                    <a:pt x="1040" y="612"/>
                  </a:lnTo>
                  <a:lnTo>
                    <a:pt x="1040" y="610"/>
                  </a:lnTo>
                  <a:lnTo>
                    <a:pt x="1044" y="610"/>
                  </a:lnTo>
                  <a:lnTo>
                    <a:pt x="1046" y="608"/>
                  </a:lnTo>
                  <a:lnTo>
                    <a:pt x="1046" y="608"/>
                  </a:lnTo>
                  <a:lnTo>
                    <a:pt x="1046" y="608"/>
                  </a:lnTo>
                  <a:lnTo>
                    <a:pt x="1048" y="608"/>
                  </a:lnTo>
                  <a:lnTo>
                    <a:pt x="1048" y="608"/>
                  </a:lnTo>
                  <a:lnTo>
                    <a:pt x="1048" y="606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52" y="600"/>
                  </a:lnTo>
                  <a:lnTo>
                    <a:pt x="1052" y="600"/>
                  </a:lnTo>
                  <a:lnTo>
                    <a:pt x="1052" y="600"/>
                  </a:lnTo>
                  <a:lnTo>
                    <a:pt x="1052" y="596"/>
                  </a:lnTo>
                  <a:lnTo>
                    <a:pt x="1052" y="596"/>
                  </a:lnTo>
                  <a:lnTo>
                    <a:pt x="1050" y="596"/>
                  </a:lnTo>
                  <a:lnTo>
                    <a:pt x="1050" y="594"/>
                  </a:lnTo>
                  <a:lnTo>
                    <a:pt x="1050" y="594"/>
                  </a:lnTo>
                  <a:lnTo>
                    <a:pt x="1048" y="592"/>
                  </a:lnTo>
                  <a:lnTo>
                    <a:pt x="1048" y="592"/>
                  </a:lnTo>
                  <a:lnTo>
                    <a:pt x="1046" y="592"/>
                  </a:lnTo>
                  <a:lnTo>
                    <a:pt x="1042" y="592"/>
                  </a:lnTo>
                  <a:lnTo>
                    <a:pt x="1036" y="590"/>
                  </a:lnTo>
                  <a:lnTo>
                    <a:pt x="1032" y="590"/>
                  </a:lnTo>
                  <a:lnTo>
                    <a:pt x="1030" y="590"/>
                  </a:lnTo>
                  <a:lnTo>
                    <a:pt x="1026" y="588"/>
                  </a:lnTo>
                  <a:lnTo>
                    <a:pt x="1022" y="588"/>
                  </a:lnTo>
                  <a:lnTo>
                    <a:pt x="1020" y="586"/>
                  </a:lnTo>
                  <a:lnTo>
                    <a:pt x="1018" y="584"/>
                  </a:lnTo>
                  <a:lnTo>
                    <a:pt x="1016" y="582"/>
                  </a:lnTo>
                  <a:lnTo>
                    <a:pt x="1014" y="580"/>
                  </a:lnTo>
                  <a:lnTo>
                    <a:pt x="1012" y="576"/>
                  </a:lnTo>
                  <a:lnTo>
                    <a:pt x="1008" y="572"/>
                  </a:lnTo>
                  <a:lnTo>
                    <a:pt x="1006" y="568"/>
                  </a:lnTo>
                  <a:lnTo>
                    <a:pt x="1004" y="564"/>
                  </a:lnTo>
                  <a:lnTo>
                    <a:pt x="1002" y="562"/>
                  </a:lnTo>
                  <a:lnTo>
                    <a:pt x="1000" y="558"/>
                  </a:lnTo>
                  <a:lnTo>
                    <a:pt x="998" y="556"/>
                  </a:lnTo>
                  <a:lnTo>
                    <a:pt x="996" y="554"/>
                  </a:lnTo>
                  <a:lnTo>
                    <a:pt x="994" y="552"/>
                  </a:lnTo>
                  <a:lnTo>
                    <a:pt x="994" y="552"/>
                  </a:lnTo>
                  <a:lnTo>
                    <a:pt x="994" y="552"/>
                  </a:lnTo>
                  <a:lnTo>
                    <a:pt x="990" y="550"/>
                  </a:lnTo>
                  <a:lnTo>
                    <a:pt x="990" y="550"/>
                  </a:lnTo>
                  <a:lnTo>
                    <a:pt x="990" y="550"/>
                  </a:lnTo>
                  <a:lnTo>
                    <a:pt x="988" y="550"/>
                  </a:lnTo>
                  <a:lnTo>
                    <a:pt x="988" y="550"/>
                  </a:lnTo>
                  <a:lnTo>
                    <a:pt x="988" y="550"/>
                  </a:lnTo>
                  <a:lnTo>
                    <a:pt x="986" y="550"/>
                  </a:lnTo>
                  <a:lnTo>
                    <a:pt x="986" y="550"/>
                  </a:lnTo>
                  <a:lnTo>
                    <a:pt x="986" y="550"/>
                  </a:lnTo>
                  <a:lnTo>
                    <a:pt x="984" y="550"/>
                  </a:lnTo>
                  <a:lnTo>
                    <a:pt x="984" y="550"/>
                  </a:lnTo>
                  <a:lnTo>
                    <a:pt x="984" y="550"/>
                  </a:lnTo>
                  <a:lnTo>
                    <a:pt x="980" y="550"/>
                  </a:lnTo>
                  <a:lnTo>
                    <a:pt x="978" y="552"/>
                  </a:lnTo>
                  <a:lnTo>
                    <a:pt x="976" y="552"/>
                  </a:lnTo>
                  <a:lnTo>
                    <a:pt x="974" y="552"/>
                  </a:lnTo>
                  <a:lnTo>
                    <a:pt x="972" y="552"/>
                  </a:lnTo>
                  <a:lnTo>
                    <a:pt x="966" y="552"/>
                  </a:lnTo>
                  <a:lnTo>
                    <a:pt x="962" y="552"/>
                  </a:lnTo>
                  <a:lnTo>
                    <a:pt x="958" y="552"/>
                  </a:lnTo>
                  <a:lnTo>
                    <a:pt x="956" y="552"/>
                  </a:lnTo>
                  <a:lnTo>
                    <a:pt x="952" y="550"/>
                  </a:lnTo>
                  <a:lnTo>
                    <a:pt x="950" y="548"/>
                  </a:lnTo>
                  <a:lnTo>
                    <a:pt x="946" y="546"/>
                  </a:lnTo>
                  <a:lnTo>
                    <a:pt x="944" y="546"/>
                  </a:lnTo>
                  <a:lnTo>
                    <a:pt x="940" y="544"/>
                  </a:lnTo>
                  <a:lnTo>
                    <a:pt x="940" y="544"/>
                  </a:lnTo>
                  <a:lnTo>
                    <a:pt x="940" y="544"/>
                  </a:lnTo>
                  <a:lnTo>
                    <a:pt x="938" y="544"/>
                  </a:lnTo>
                  <a:lnTo>
                    <a:pt x="938" y="544"/>
                  </a:lnTo>
                  <a:lnTo>
                    <a:pt x="936" y="544"/>
                  </a:lnTo>
                  <a:lnTo>
                    <a:pt x="934" y="544"/>
                  </a:lnTo>
                  <a:lnTo>
                    <a:pt x="934" y="544"/>
                  </a:lnTo>
                  <a:lnTo>
                    <a:pt x="932" y="544"/>
                  </a:lnTo>
                  <a:lnTo>
                    <a:pt x="930" y="546"/>
                  </a:lnTo>
                  <a:lnTo>
                    <a:pt x="930" y="546"/>
                  </a:lnTo>
                  <a:lnTo>
                    <a:pt x="930" y="546"/>
                  </a:lnTo>
                  <a:lnTo>
                    <a:pt x="928" y="550"/>
                  </a:lnTo>
                  <a:lnTo>
                    <a:pt x="928" y="552"/>
                  </a:lnTo>
                  <a:lnTo>
                    <a:pt x="926" y="556"/>
                  </a:lnTo>
                  <a:lnTo>
                    <a:pt x="924" y="564"/>
                  </a:lnTo>
                  <a:lnTo>
                    <a:pt x="924" y="568"/>
                  </a:lnTo>
                  <a:lnTo>
                    <a:pt x="922" y="572"/>
                  </a:lnTo>
                  <a:lnTo>
                    <a:pt x="924" y="576"/>
                  </a:lnTo>
                  <a:lnTo>
                    <a:pt x="924" y="576"/>
                  </a:lnTo>
                  <a:lnTo>
                    <a:pt x="924" y="576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4" y="578"/>
                  </a:lnTo>
                  <a:lnTo>
                    <a:pt x="926" y="584"/>
                  </a:lnTo>
                  <a:lnTo>
                    <a:pt x="928" y="590"/>
                  </a:lnTo>
                  <a:lnTo>
                    <a:pt x="930" y="592"/>
                  </a:lnTo>
                  <a:lnTo>
                    <a:pt x="930" y="594"/>
                  </a:lnTo>
                  <a:lnTo>
                    <a:pt x="932" y="600"/>
                  </a:lnTo>
                  <a:lnTo>
                    <a:pt x="934" y="606"/>
                  </a:lnTo>
                  <a:lnTo>
                    <a:pt x="934" y="612"/>
                  </a:lnTo>
                  <a:lnTo>
                    <a:pt x="934" y="618"/>
                  </a:lnTo>
                  <a:lnTo>
                    <a:pt x="934" y="624"/>
                  </a:lnTo>
                  <a:lnTo>
                    <a:pt x="932" y="630"/>
                  </a:lnTo>
                  <a:lnTo>
                    <a:pt x="930" y="636"/>
                  </a:lnTo>
                  <a:lnTo>
                    <a:pt x="928" y="642"/>
                  </a:lnTo>
                  <a:lnTo>
                    <a:pt x="928" y="644"/>
                  </a:lnTo>
                  <a:lnTo>
                    <a:pt x="926" y="646"/>
                  </a:lnTo>
                  <a:lnTo>
                    <a:pt x="924" y="650"/>
                  </a:lnTo>
                  <a:lnTo>
                    <a:pt x="922" y="652"/>
                  </a:lnTo>
                  <a:lnTo>
                    <a:pt x="922" y="652"/>
                  </a:lnTo>
                  <a:lnTo>
                    <a:pt x="922" y="654"/>
                  </a:lnTo>
                  <a:lnTo>
                    <a:pt x="922" y="656"/>
                  </a:lnTo>
                  <a:lnTo>
                    <a:pt x="922" y="656"/>
                  </a:lnTo>
                  <a:lnTo>
                    <a:pt x="920" y="656"/>
                  </a:lnTo>
                  <a:lnTo>
                    <a:pt x="920" y="660"/>
                  </a:lnTo>
                  <a:lnTo>
                    <a:pt x="920" y="660"/>
                  </a:lnTo>
                  <a:lnTo>
                    <a:pt x="922" y="660"/>
                  </a:lnTo>
                  <a:lnTo>
                    <a:pt x="922" y="664"/>
                  </a:lnTo>
                  <a:lnTo>
                    <a:pt x="922" y="664"/>
                  </a:lnTo>
                  <a:lnTo>
                    <a:pt x="922" y="664"/>
                  </a:lnTo>
                  <a:lnTo>
                    <a:pt x="924" y="666"/>
                  </a:lnTo>
                  <a:lnTo>
                    <a:pt x="924" y="666"/>
                  </a:lnTo>
                  <a:lnTo>
                    <a:pt x="924" y="666"/>
                  </a:lnTo>
                  <a:lnTo>
                    <a:pt x="924" y="668"/>
                  </a:lnTo>
                  <a:lnTo>
                    <a:pt x="924" y="668"/>
                  </a:lnTo>
                  <a:lnTo>
                    <a:pt x="926" y="668"/>
                  </a:lnTo>
                  <a:lnTo>
                    <a:pt x="928" y="670"/>
                  </a:lnTo>
                  <a:lnTo>
                    <a:pt x="934" y="674"/>
                  </a:lnTo>
                  <a:lnTo>
                    <a:pt x="938" y="676"/>
                  </a:lnTo>
                  <a:lnTo>
                    <a:pt x="944" y="680"/>
                  </a:lnTo>
                  <a:lnTo>
                    <a:pt x="948" y="682"/>
                  </a:lnTo>
                  <a:lnTo>
                    <a:pt x="950" y="686"/>
                  </a:lnTo>
                  <a:lnTo>
                    <a:pt x="950" y="688"/>
                  </a:lnTo>
                  <a:lnTo>
                    <a:pt x="952" y="690"/>
                  </a:lnTo>
                  <a:lnTo>
                    <a:pt x="952" y="692"/>
                  </a:lnTo>
                  <a:lnTo>
                    <a:pt x="952" y="694"/>
                  </a:lnTo>
                  <a:lnTo>
                    <a:pt x="952" y="702"/>
                  </a:lnTo>
                  <a:lnTo>
                    <a:pt x="952" y="708"/>
                  </a:lnTo>
                  <a:lnTo>
                    <a:pt x="950" y="716"/>
                  </a:lnTo>
                  <a:lnTo>
                    <a:pt x="948" y="724"/>
                  </a:lnTo>
                  <a:lnTo>
                    <a:pt x="946" y="730"/>
                  </a:lnTo>
                  <a:lnTo>
                    <a:pt x="944" y="736"/>
                  </a:lnTo>
                  <a:lnTo>
                    <a:pt x="944" y="738"/>
                  </a:lnTo>
                  <a:lnTo>
                    <a:pt x="942" y="740"/>
                  </a:lnTo>
                  <a:lnTo>
                    <a:pt x="942" y="744"/>
                  </a:lnTo>
                  <a:lnTo>
                    <a:pt x="940" y="746"/>
                  </a:lnTo>
                  <a:lnTo>
                    <a:pt x="936" y="748"/>
                  </a:lnTo>
                  <a:lnTo>
                    <a:pt x="934" y="748"/>
                  </a:lnTo>
                  <a:lnTo>
                    <a:pt x="932" y="750"/>
                  </a:lnTo>
                  <a:lnTo>
                    <a:pt x="930" y="750"/>
                  </a:lnTo>
                  <a:lnTo>
                    <a:pt x="926" y="750"/>
                  </a:lnTo>
                  <a:lnTo>
                    <a:pt x="924" y="750"/>
                  </a:lnTo>
                  <a:lnTo>
                    <a:pt x="922" y="752"/>
                  </a:lnTo>
                  <a:lnTo>
                    <a:pt x="920" y="750"/>
                  </a:lnTo>
                  <a:lnTo>
                    <a:pt x="920" y="750"/>
                  </a:lnTo>
                  <a:lnTo>
                    <a:pt x="916" y="750"/>
                  </a:lnTo>
                  <a:lnTo>
                    <a:pt x="914" y="750"/>
                  </a:lnTo>
                  <a:lnTo>
                    <a:pt x="914" y="750"/>
                  </a:lnTo>
                  <a:lnTo>
                    <a:pt x="914" y="750"/>
                  </a:lnTo>
                  <a:lnTo>
                    <a:pt x="912" y="750"/>
                  </a:lnTo>
                  <a:lnTo>
                    <a:pt x="912" y="750"/>
                  </a:lnTo>
                  <a:lnTo>
                    <a:pt x="912" y="750"/>
                  </a:lnTo>
                  <a:lnTo>
                    <a:pt x="910" y="750"/>
                  </a:lnTo>
                  <a:lnTo>
                    <a:pt x="910" y="750"/>
                  </a:lnTo>
                  <a:lnTo>
                    <a:pt x="908" y="752"/>
                  </a:lnTo>
                  <a:lnTo>
                    <a:pt x="908" y="752"/>
                  </a:lnTo>
                  <a:lnTo>
                    <a:pt x="908" y="752"/>
                  </a:lnTo>
                  <a:lnTo>
                    <a:pt x="908" y="754"/>
                  </a:lnTo>
                  <a:lnTo>
                    <a:pt x="906" y="756"/>
                  </a:lnTo>
                  <a:lnTo>
                    <a:pt x="906" y="756"/>
                  </a:lnTo>
                  <a:lnTo>
                    <a:pt x="906" y="756"/>
                  </a:lnTo>
                  <a:lnTo>
                    <a:pt x="906" y="758"/>
                  </a:lnTo>
                  <a:lnTo>
                    <a:pt x="906" y="762"/>
                  </a:lnTo>
                  <a:lnTo>
                    <a:pt x="908" y="766"/>
                  </a:lnTo>
                  <a:lnTo>
                    <a:pt x="908" y="774"/>
                  </a:lnTo>
                  <a:lnTo>
                    <a:pt x="910" y="778"/>
                  </a:lnTo>
                  <a:lnTo>
                    <a:pt x="910" y="782"/>
                  </a:lnTo>
                  <a:lnTo>
                    <a:pt x="912" y="786"/>
                  </a:lnTo>
                  <a:lnTo>
                    <a:pt x="912" y="790"/>
                  </a:lnTo>
                  <a:lnTo>
                    <a:pt x="916" y="798"/>
                  </a:lnTo>
                  <a:lnTo>
                    <a:pt x="918" y="806"/>
                  </a:lnTo>
                  <a:lnTo>
                    <a:pt x="920" y="810"/>
                  </a:lnTo>
                  <a:lnTo>
                    <a:pt x="920" y="812"/>
                  </a:lnTo>
                  <a:lnTo>
                    <a:pt x="920" y="816"/>
                  </a:lnTo>
                  <a:lnTo>
                    <a:pt x="920" y="818"/>
                  </a:lnTo>
                  <a:lnTo>
                    <a:pt x="920" y="824"/>
                  </a:lnTo>
                  <a:lnTo>
                    <a:pt x="918" y="828"/>
                  </a:lnTo>
                  <a:lnTo>
                    <a:pt x="916" y="832"/>
                  </a:lnTo>
                  <a:lnTo>
                    <a:pt x="914" y="836"/>
                  </a:lnTo>
                  <a:lnTo>
                    <a:pt x="914" y="840"/>
                  </a:lnTo>
                  <a:lnTo>
                    <a:pt x="912" y="842"/>
                  </a:lnTo>
                  <a:lnTo>
                    <a:pt x="912" y="844"/>
                  </a:lnTo>
                  <a:lnTo>
                    <a:pt x="912" y="844"/>
                  </a:lnTo>
                  <a:lnTo>
                    <a:pt x="910" y="844"/>
                  </a:lnTo>
                  <a:lnTo>
                    <a:pt x="908" y="846"/>
                  </a:lnTo>
                  <a:lnTo>
                    <a:pt x="904" y="846"/>
                  </a:lnTo>
                  <a:lnTo>
                    <a:pt x="900" y="846"/>
                  </a:lnTo>
                  <a:lnTo>
                    <a:pt x="900" y="844"/>
                  </a:lnTo>
                  <a:lnTo>
                    <a:pt x="898" y="844"/>
                  </a:lnTo>
                  <a:lnTo>
                    <a:pt x="894" y="842"/>
                  </a:lnTo>
                  <a:lnTo>
                    <a:pt x="892" y="838"/>
                  </a:lnTo>
                  <a:lnTo>
                    <a:pt x="888" y="834"/>
                  </a:lnTo>
                  <a:lnTo>
                    <a:pt x="886" y="830"/>
                  </a:lnTo>
                  <a:lnTo>
                    <a:pt x="884" y="828"/>
                  </a:lnTo>
                  <a:lnTo>
                    <a:pt x="880" y="826"/>
                  </a:lnTo>
                  <a:lnTo>
                    <a:pt x="876" y="820"/>
                  </a:lnTo>
                  <a:lnTo>
                    <a:pt x="874" y="818"/>
                  </a:lnTo>
                  <a:lnTo>
                    <a:pt x="872" y="816"/>
                  </a:lnTo>
                  <a:lnTo>
                    <a:pt x="870" y="812"/>
                  </a:lnTo>
                  <a:lnTo>
                    <a:pt x="870" y="810"/>
                  </a:lnTo>
                  <a:lnTo>
                    <a:pt x="868" y="804"/>
                  </a:lnTo>
                  <a:lnTo>
                    <a:pt x="868" y="798"/>
                  </a:lnTo>
                  <a:lnTo>
                    <a:pt x="868" y="792"/>
                  </a:lnTo>
                  <a:lnTo>
                    <a:pt x="866" y="786"/>
                  </a:lnTo>
                  <a:lnTo>
                    <a:pt x="866" y="778"/>
                  </a:lnTo>
                  <a:lnTo>
                    <a:pt x="866" y="772"/>
                  </a:lnTo>
                  <a:lnTo>
                    <a:pt x="866" y="766"/>
                  </a:lnTo>
                  <a:lnTo>
                    <a:pt x="866" y="762"/>
                  </a:lnTo>
                  <a:lnTo>
                    <a:pt x="864" y="758"/>
                  </a:lnTo>
                  <a:lnTo>
                    <a:pt x="864" y="756"/>
                  </a:lnTo>
                  <a:lnTo>
                    <a:pt x="864" y="754"/>
                  </a:lnTo>
                  <a:lnTo>
                    <a:pt x="864" y="752"/>
                  </a:lnTo>
                  <a:lnTo>
                    <a:pt x="864" y="752"/>
                  </a:lnTo>
                  <a:lnTo>
                    <a:pt x="864" y="752"/>
                  </a:lnTo>
                  <a:lnTo>
                    <a:pt x="864" y="750"/>
                  </a:lnTo>
                  <a:lnTo>
                    <a:pt x="864" y="750"/>
                  </a:lnTo>
                  <a:lnTo>
                    <a:pt x="864" y="750"/>
                  </a:lnTo>
                  <a:lnTo>
                    <a:pt x="862" y="748"/>
                  </a:lnTo>
                  <a:lnTo>
                    <a:pt x="862" y="748"/>
                  </a:lnTo>
                  <a:lnTo>
                    <a:pt x="862" y="748"/>
                  </a:lnTo>
                  <a:lnTo>
                    <a:pt x="860" y="746"/>
                  </a:lnTo>
                  <a:lnTo>
                    <a:pt x="858" y="746"/>
                  </a:lnTo>
                  <a:lnTo>
                    <a:pt x="858" y="746"/>
                  </a:lnTo>
                  <a:lnTo>
                    <a:pt x="858" y="744"/>
                  </a:lnTo>
                  <a:lnTo>
                    <a:pt x="854" y="744"/>
                  </a:lnTo>
                  <a:lnTo>
                    <a:pt x="854" y="744"/>
                  </a:lnTo>
                  <a:lnTo>
                    <a:pt x="854" y="744"/>
                  </a:lnTo>
                  <a:lnTo>
                    <a:pt x="848" y="742"/>
                  </a:lnTo>
                  <a:lnTo>
                    <a:pt x="844" y="742"/>
                  </a:lnTo>
                  <a:lnTo>
                    <a:pt x="838" y="742"/>
                  </a:lnTo>
                  <a:lnTo>
                    <a:pt x="832" y="740"/>
                  </a:lnTo>
                  <a:lnTo>
                    <a:pt x="824" y="740"/>
                  </a:lnTo>
                  <a:lnTo>
                    <a:pt x="820" y="738"/>
                  </a:lnTo>
                  <a:lnTo>
                    <a:pt x="814" y="738"/>
                  </a:lnTo>
                  <a:lnTo>
                    <a:pt x="810" y="734"/>
                  </a:lnTo>
                  <a:lnTo>
                    <a:pt x="804" y="730"/>
                  </a:lnTo>
                  <a:lnTo>
                    <a:pt x="798" y="726"/>
                  </a:lnTo>
                  <a:lnTo>
                    <a:pt x="794" y="722"/>
                  </a:lnTo>
                  <a:lnTo>
                    <a:pt x="788" y="718"/>
                  </a:lnTo>
                  <a:lnTo>
                    <a:pt x="784" y="714"/>
                  </a:lnTo>
                  <a:lnTo>
                    <a:pt x="780" y="710"/>
                  </a:lnTo>
                  <a:lnTo>
                    <a:pt x="776" y="708"/>
                  </a:lnTo>
                  <a:lnTo>
                    <a:pt x="772" y="706"/>
                  </a:lnTo>
                  <a:lnTo>
                    <a:pt x="768" y="704"/>
                  </a:lnTo>
                  <a:lnTo>
                    <a:pt x="764" y="704"/>
                  </a:lnTo>
                  <a:lnTo>
                    <a:pt x="762" y="702"/>
                  </a:lnTo>
                  <a:lnTo>
                    <a:pt x="756" y="702"/>
                  </a:lnTo>
                  <a:lnTo>
                    <a:pt x="754" y="702"/>
                  </a:lnTo>
                  <a:lnTo>
                    <a:pt x="752" y="700"/>
                  </a:lnTo>
                  <a:lnTo>
                    <a:pt x="750" y="700"/>
                  </a:lnTo>
                  <a:lnTo>
                    <a:pt x="748" y="698"/>
                  </a:lnTo>
                  <a:lnTo>
                    <a:pt x="746" y="696"/>
                  </a:lnTo>
                  <a:lnTo>
                    <a:pt x="744" y="694"/>
                  </a:lnTo>
                  <a:lnTo>
                    <a:pt x="744" y="694"/>
                  </a:lnTo>
                  <a:lnTo>
                    <a:pt x="744" y="694"/>
                  </a:lnTo>
                  <a:lnTo>
                    <a:pt x="742" y="694"/>
                  </a:lnTo>
                  <a:lnTo>
                    <a:pt x="742" y="694"/>
                  </a:lnTo>
                  <a:lnTo>
                    <a:pt x="742" y="692"/>
                  </a:lnTo>
                  <a:lnTo>
                    <a:pt x="740" y="692"/>
                  </a:lnTo>
                  <a:lnTo>
                    <a:pt x="740" y="692"/>
                  </a:lnTo>
                  <a:lnTo>
                    <a:pt x="738" y="692"/>
                  </a:lnTo>
                  <a:lnTo>
                    <a:pt x="736" y="692"/>
                  </a:lnTo>
                  <a:lnTo>
                    <a:pt x="736" y="692"/>
                  </a:lnTo>
                  <a:lnTo>
                    <a:pt x="736" y="692"/>
                  </a:lnTo>
                  <a:lnTo>
                    <a:pt x="734" y="694"/>
                  </a:lnTo>
                  <a:lnTo>
                    <a:pt x="734" y="694"/>
                  </a:lnTo>
                  <a:lnTo>
                    <a:pt x="734" y="694"/>
                  </a:lnTo>
                  <a:lnTo>
                    <a:pt x="732" y="694"/>
                  </a:lnTo>
                  <a:lnTo>
                    <a:pt x="730" y="696"/>
                  </a:lnTo>
                  <a:lnTo>
                    <a:pt x="726" y="698"/>
                  </a:lnTo>
                  <a:lnTo>
                    <a:pt x="726" y="698"/>
                  </a:lnTo>
                  <a:lnTo>
                    <a:pt x="724" y="698"/>
                  </a:lnTo>
                  <a:lnTo>
                    <a:pt x="724" y="698"/>
                  </a:lnTo>
                  <a:lnTo>
                    <a:pt x="724" y="698"/>
                  </a:lnTo>
                  <a:lnTo>
                    <a:pt x="722" y="696"/>
                  </a:lnTo>
                  <a:lnTo>
                    <a:pt x="722" y="692"/>
                  </a:lnTo>
                  <a:lnTo>
                    <a:pt x="720" y="690"/>
                  </a:lnTo>
                  <a:lnTo>
                    <a:pt x="718" y="682"/>
                  </a:lnTo>
                  <a:lnTo>
                    <a:pt x="716" y="680"/>
                  </a:lnTo>
                  <a:lnTo>
                    <a:pt x="714" y="676"/>
                  </a:lnTo>
                  <a:lnTo>
                    <a:pt x="714" y="674"/>
                  </a:lnTo>
                  <a:lnTo>
                    <a:pt x="714" y="670"/>
                  </a:lnTo>
                  <a:lnTo>
                    <a:pt x="712" y="664"/>
                  </a:lnTo>
                  <a:lnTo>
                    <a:pt x="712" y="660"/>
                  </a:lnTo>
                  <a:lnTo>
                    <a:pt x="710" y="658"/>
                  </a:lnTo>
                  <a:lnTo>
                    <a:pt x="710" y="658"/>
                  </a:lnTo>
                  <a:lnTo>
                    <a:pt x="710" y="658"/>
                  </a:lnTo>
                  <a:lnTo>
                    <a:pt x="710" y="654"/>
                  </a:lnTo>
                  <a:lnTo>
                    <a:pt x="710" y="654"/>
                  </a:lnTo>
                  <a:lnTo>
                    <a:pt x="710" y="654"/>
                  </a:lnTo>
                  <a:lnTo>
                    <a:pt x="708" y="652"/>
                  </a:lnTo>
                  <a:lnTo>
                    <a:pt x="708" y="652"/>
                  </a:lnTo>
                  <a:lnTo>
                    <a:pt x="706" y="652"/>
                  </a:lnTo>
                  <a:lnTo>
                    <a:pt x="704" y="650"/>
                  </a:lnTo>
                  <a:lnTo>
                    <a:pt x="704" y="650"/>
                  </a:lnTo>
                  <a:lnTo>
                    <a:pt x="704" y="650"/>
                  </a:lnTo>
                  <a:lnTo>
                    <a:pt x="700" y="650"/>
                  </a:lnTo>
                  <a:lnTo>
                    <a:pt x="700" y="650"/>
                  </a:lnTo>
                  <a:lnTo>
                    <a:pt x="700" y="650"/>
                  </a:lnTo>
                  <a:lnTo>
                    <a:pt x="698" y="650"/>
                  </a:lnTo>
                  <a:lnTo>
                    <a:pt x="694" y="652"/>
                  </a:lnTo>
                  <a:lnTo>
                    <a:pt x="692" y="652"/>
                  </a:lnTo>
                  <a:lnTo>
                    <a:pt x="690" y="652"/>
                  </a:lnTo>
                  <a:lnTo>
                    <a:pt x="688" y="650"/>
                  </a:lnTo>
                  <a:lnTo>
                    <a:pt x="688" y="650"/>
                  </a:lnTo>
                  <a:lnTo>
                    <a:pt x="688" y="650"/>
                  </a:lnTo>
                  <a:lnTo>
                    <a:pt x="686" y="646"/>
                  </a:lnTo>
                  <a:lnTo>
                    <a:pt x="686" y="642"/>
                  </a:lnTo>
                  <a:lnTo>
                    <a:pt x="686" y="638"/>
                  </a:lnTo>
                  <a:lnTo>
                    <a:pt x="686" y="632"/>
                  </a:lnTo>
                  <a:lnTo>
                    <a:pt x="686" y="626"/>
                  </a:lnTo>
                  <a:lnTo>
                    <a:pt x="686" y="620"/>
                  </a:lnTo>
                  <a:lnTo>
                    <a:pt x="686" y="614"/>
                  </a:lnTo>
                  <a:lnTo>
                    <a:pt x="688" y="608"/>
                  </a:lnTo>
                  <a:lnTo>
                    <a:pt x="688" y="602"/>
                  </a:lnTo>
                  <a:lnTo>
                    <a:pt x="690" y="596"/>
                  </a:lnTo>
                  <a:lnTo>
                    <a:pt x="694" y="590"/>
                  </a:lnTo>
                  <a:lnTo>
                    <a:pt x="696" y="584"/>
                  </a:lnTo>
                  <a:lnTo>
                    <a:pt x="702" y="572"/>
                  </a:lnTo>
                  <a:lnTo>
                    <a:pt x="704" y="566"/>
                  </a:lnTo>
                  <a:lnTo>
                    <a:pt x="708" y="562"/>
                  </a:lnTo>
                  <a:lnTo>
                    <a:pt x="710" y="558"/>
                  </a:lnTo>
                  <a:lnTo>
                    <a:pt x="714" y="554"/>
                  </a:lnTo>
                  <a:lnTo>
                    <a:pt x="722" y="546"/>
                  </a:lnTo>
                  <a:lnTo>
                    <a:pt x="728" y="538"/>
                  </a:lnTo>
                  <a:lnTo>
                    <a:pt x="732" y="536"/>
                  </a:lnTo>
                  <a:lnTo>
                    <a:pt x="734" y="534"/>
                  </a:lnTo>
                  <a:lnTo>
                    <a:pt x="738" y="532"/>
                  </a:lnTo>
                  <a:lnTo>
                    <a:pt x="740" y="530"/>
                  </a:lnTo>
                  <a:lnTo>
                    <a:pt x="742" y="530"/>
                  </a:lnTo>
                  <a:lnTo>
                    <a:pt x="744" y="530"/>
                  </a:lnTo>
                  <a:lnTo>
                    <a:pt x="744" y="528"/>
                  </a:lnTo>
                  <a:lnTo>
                    <a:pt x="746" y="528"/>
                  </a:lnTo>
                  <a:lnTo>
                    <a:pt x="746" y="528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48" y="526"/>
                  </a:lnTo>
                  <a:lnTo>
                    <a:pt x="750" y="524"/>
                  </a:lnTo>
                  <a:lnTo>
                    <a:pt x="750" y="524"/>
                  </a:lnTo>
                  <a:lnTo>
                    <a:pt x="750" y="522"/>
                  </a:lnTo>
                  <a:lnTo>
                    <a:pt x="750" y="520"/>
                  </a:lnTo>
                  <a:lnTo>
                    <a:pt x="750" y="520"/>
                  </a:lnTo>
                  <a:lnTo>
                    <a:pt x="750" y="518"/>
                  </a:lnTo>
                  <a:lnTo>
                    <a:pt x="750" y="516"/>
                  </a:lnTo>
                  <a:lnTo>
                    <a:pt x="750" y="514"/>
                  </a:lnTo>
                  <a:lnTo>
                    <a:pt x="750" y="514"/>
                  </a:lnTo>
                  <a:lnTo>
                    <a:pt x="748" y="514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2"/>
                  </a:lnTo>
                  <a:lnTo>
                    <a:pt x="748" y="510"/>
                  </a:lnTo>
                  <a:lnTo>
                    <a:pt x="748" y="510"/>
                  </a:lnTo>
                  <a:lnTo>
                    <a:pt x="748" y="510"/>
                  </a:lnTo>
                  <a:lnTo>
                    <a:pt x="750" y="510"/>
                  </a:lnTo>
                  <a:lnTo>
                    <a:pt x="750" y="508"/>
                  </a:lnTo>
                  <a:lnTo>
                    <a:pt x="750" y="508"/>
                  </a:lnTo>
                  <a:lnTo>
                    <a:pt x="752" y="506"/>
                  </a:lnTo>
                  <a:lnTo>
                    <a:pt x="752" y="504"/>
                  </a:lnTo>
                  <a:lnTo>
                    <a:pt x="754" y="500"/>
                  </a:lnTo>
                  <a:lnTo>
                    <a:pt x="754" y="496"/>
                  </a:lnTo>
                  <a:lnTo>
                    <a:pt x="756" y="494"/>
                  </a:lnTo>
                  <a:lnTo>
                    <a:pt x="756" y="492"/>
                  </a:lnTo>
                  <a:lnTo>
                    <a:pt x="756" y="492"/>
                  </a:lnTo>
                  <a:lnTo>
                    <a:pt x="758" y="492"/>
                  </a:lnTo>
                  <a:lnTo>
                    <a:pt x="760" y="494"/>
                  </a:lnTo>
                  <a:lnTo>
                    <a:pt x="760" y="496"/>
                  </a:lnTo>
                  <a:lnTo>
                    <a:pt x="760" y="496"/>
                  </a:lnTo>
                  <a:lnTo>
                    <a:pt x="762" y="496"/>
                  </a:lnTo>
                  <a:lnTo>
                    <a:pt x="764" y="496"/>
                  </a:lnTo>
                  <a:lnTo>
                    <a:pt x="764" y="496"/>
                  </a:lnTo>
                  <a:lnTo>
                    <a:pt x="764" y="496"/>
                  </a:lnTo>
                  <a:lnTo>
                    <a:pt x="766" y="496"/>
                  </a:lnTo>
                  <a:lnTo>
                    <a:pt x="766" y="496"/>
                  </a:lnTo>
                  <a:lnTo>
                    <a:pt x="768" y="496"/>
                  </a:lnTo>
                  <a:lnTo>
                    <a:pt x="768" y="496"/>
                  </a:lnTo>
                  <a:lnTo>
                    <a:pt x="768" y="496"/>
                  </a:lnTo>
                  <a:lnTo>
                    <a:pt x="770" y="496"/>
                  </a:lnTo>
                  <a:lnTo>
                    <a:pt x="770" y="496"/>
                  </a:lnTo>
                  <a:lnTo>
                    <a:pt x="774" y="492"/>
                  </a:lnTo>
                  <a:lnTo>
                    <a:pt x="778" y="490"/>
                  </a:lnTo>
                  <a:lnTo>
                    <a:pt x="782" y="484"/>
                  </a:lnTo>
                  <a:lnTo>
                    <a:pt x="786" y="480"/>
                  </a:lnTo>
                  <a:lnTo>
                    <a:pt x="790" y="476"/>
                  </a:lnTo>
                  <a:lnTo>
                    <a:pt x="794" y="470"/>
                  </a:lnTo>
                  <a:lnTo>
                    <a:pt x="794" y="468"/>
                  </a:lnTo>
                  <a:lnTo>
                    <a:pt x="796" y="466"/>
                  </a:lnTo>
                  <a:lnTo>
                    <a:pt x="796" y="466"/>
                  </a:lnTo>
                  <a:lnTo>
                    <a:pt x="796" y="466"/>
                  </a:lnTo>
                  <a:lnTo>
                    <a:pt x="796" y="464"/>
                  </a:lnTo>
                  <a:lnTo>
                    <a:pt x="796" y="464"/>
                  </a:lnTo>
                  <a:lnTo>
                    <a:pt x="796" y="464"/>
                  </a:lnTo>
                  <a:lnTo>
                    <a:pt x="798" y="462"/>
                  </a:lnTo>
                  <a:lnTo>
                    <a:pt x="798" y="462"/>
                  </a:lnTo>
                  <a:lnTo>
                    <a:pt x="798" y="460"/>
                  </a:lnTo>
                  <a:lnTo>
                    <a:pt x="796" y="460"/>
                  </a:lnTo>
                  <a:lnTo>
                    <a:pt x="796" y="460"/>
                  </a:lnTo>
                  <a:lnTo>
                    <a:pt x="796" y="458"/>
                  </a:lnTo>
                  <a:lnTo>
                    <a:pt x="796" y="458"/>
                  </a:lnTo>
                  <a:lnTo>
                    <a:pt x="796" y="458"/>
                  </a:lnTo>
                  <a:lnTo>
                    <a:pt x="796" y="456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2" y="454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4" y="454"/>
                  </a:lnTo>
                  <a:lnTo>
                    <a:pt x="796" y="452"/>
                  </a:lnTo>
                  <a:lnTo>
                    <a:pt x="796" y="452"/>
                  </a:lnTo>
                  <a:lnTo>
                    <a:pt x="796" y="450"/>
                  </a:lnTo>
                  <a:lnTo>
                    <a:pt x="798" y="448"/>
                  </a:lnTo>
                  <a:lnTo>
                    <a:pt x="798" y="446"/>
                  </a:lnTo>
                  <a:lnTo>
                    <a:pt x="800" y="442"/>
                  </a:lnTo>
                  <a:lnTo>
                    <a:pt x="802" y="440"/>
                  </a:lnTo>
                  <a:lnTo>
                    <a:pt x="802" y="442"/>
                  </a:lnTo>
                  <a:lnTo>
                    <a:pt x="802" y="442"/>
                  </a:lnTo>
                  <a:lnTo>
                    <a:pt x="802" y="444"/>
                  </a:lnTo>
                  <a:lnTo>
                    <a:pt x="802" y="444"/>
                  </a:lnTo>
                  <a:lnTo>
                    <a:pt x="802" y="446"/>
                  </a:lnTo>
                  <a:lnTo>
                    <a:pt x="802" y="452"/>
                  </a:lnTo>
                  <a:lnTo>
                    <a:pt x="804" y="460"/>
                  </a:lnTo>
                  <a:lnTo>
                    <a:pt x="804" y="468"/>
                  </a:lnTo>
                  <a:lnTo>
                    <a:pt x="804" y="474"/>
                  </a:lnTo>
                  <a:lnTo>
                    <a:pt x="804" y="482"/>
                  </a:lnTo>
                  <a:lnTo>
                    <a:pt x="804" y="484"/>
                  </a:lnTo>
                  <a:lnTo>
                    <a:pt x="802" y="488"/>
                  </a:lnTo>
                  <a:lnTo>
                    <a:pt x="800" y="490"/>
                  </a:lnTo>
                  <a:lnTo>
                    <a:pt x="798" y="494"/>
                  </a:lnTo>
                  <a:lnTo>
                    <a:pt x="796" y="496"/>
                  </a:lnTo>
                  <a:lnTo>
                    <a:pt x="794" y="498"/>
                  </a:lnTo>
                  <a:lnTo>
                    <a:pt x="794" y="498"/>
                  </a:lnTo>
                  <a:lnTo>
                    <a:pt x="794" y="498"/>
                  </a:lnTo>
                  <a:lnTo>
                    <a:pt x="792" y="502"/>
                  </a:lnTo>
                  <a:lnTo>
                    <a:pt x="792" y="502"/>
                  </a:lnTo>
                  <a:lnTo>
                    <a:pt x="790" y="504"/>
                  </a:lnTo>
                  <a:lnTo>
                    <a:pt x="790" y="506"/>
                  </a:lnTo>
                  <a:lnTo>
                    <a:pt x="790" y="506"/>
                  </a:lnTo>
                  <a:lnTo>
                    <a:pt x="790" y="506"/>
                  </a:lnTo>
                  <a:lnTo>
                    <a:pt x="788" y="508"/>
                  </a:lnTo>
                  <a:lnTo>
                    <a:pt x="788" y="508"/>
                  </a:lnTo>
                  <a:lnTo>
                    <a:pt x="790" y="510"/>
                  </a:lnTo>
                  <a:lnTo>
                    <a:pt x="790" y="510"/>
                  </a:lnTo>
                  <a:lnTo>
                    <a:pt x="790" y="510"/>
                  </a:lnTo>
                  <a:lnTo>
                    <a:pt x="790" y="512"/>
                  </a:lnTo>
                  <a:lnTo>
                    <a:pt x="792" y="512"/>
                  </a:lnTo>
                  <a:lnTo>
                    <a:pt x="792" y="512"/>
                  </a:lnTo>
                  <a:lnTo>
                    <a:pt x="792" y="512"/>
                  </a:lnTo>
                  <a:lnTo>
                    <a:pt x="794" y="514"/>
                  </a:lnTo>
                  <a:lnTo>
                    <a:pt x="794" y="514"/>
                  </a:lnTo>
                  <a:lnTo>
                    <a:pt x="796" y="514"/>
                  </a:lnTo>
                  <a:lnTo>
                    <a:pt x="800" y="514"/>
                  </a:lnTo>
                  <a:lnTo>
                    <a:pt x="802" y="512"/>
                  </a:lnTo>
                  <a:lnTo>
                    <a:pt x="806" y="512"/>
                  </a:lnTo>
                  <a:lnTo>
                    <a:pt x="808" y="512"/>
                  </a:lnTo>
                  <a:lnTo>
                    <a:pt x="810" y="512"/>
                  </a:lnTo>
                  <a:lnTo>
                    <a:pt x="810" y="512"/>
                  </a:lnTo>
                  <a:lnTo>
                    <a:pt x="812" y="512"/>
                  </a:lnTo>
                  <a:lnTo>
                    <a:pt x="812" y="514"/>
                  </a:lnTo>
                  <a:lnTo>
                    <a:pt x="812" y="516"/>
                  </a:lnTo>
                  <a:lnTo>
                    <a:pt x="814" y="518"/>
                  </a:lnTo>
                  <a:lnTo>
                    <a:pt x="814" y="520"/>
                  </a:lnTo>
                  <a:lnTo>
                    <a:pt x="814" y="524"/>
                  </a:lnTo>
                  <a:lnTo>
                    <a:pt x="814" y="524"/>
                  </a:lnTo>
                  <a:lnTo>
                    <a:pt x="816" y="526"/>
                  </a:lnTo>
                  <a:lnTo>
                    <a:pt x="818" y="526"/>
                  </a:lnTo>
                  <a:lnTo>
                    <a:pt x="820" y="526"/>
                  </a:lnTo>
                  <a:lnTo>
                    <a:pt x="824" y="526"/>
                  </a:lnTo>
                  <a:lnTo>
                    <a:pt x="828" y="524"/>
                  </a:lnTo>
                  <a:lnTo>
                    <a:pt x="834" y="522"/>
                  </a:lnTo>
                  <a:lnTo>
                    <a:pt x="836" y="522"/>
                  </a:lnTo>
                  <a:lnTo>
                    <a:pt x="840" y="520"/>
                  </a:lnTo>
                  <a:lnTo>
                    <a:pt x="840" y="520"/>
                  </a:lnTo>
                  <a:lnTo>
                    <a:pt x="840" y="520"/>
                  </a:lnTo>
                  <a:lnTo>
                    <a:pt x="844" y="514"/>
                  </a:lnTo>
                  <a:lnTo>
                    <a:pt x="850" y="506"/>
                  </a:lnTo>
                  <a:lnTo>
                    <a:pt x="850" y="506"/>
                  </a:lnTo>
                  <a:lnTo>
                    <a:pt x="850" y="504"/>
                  </a:lnTo>
                  <a:lnTo>
                    <a:pt x="850" y="502"/>
                  </a:lnTo>
                  <a:lnTo>
                    <a:pt x="850" y="500"/>
                  </a:lnTo>
                  <a:lnTo>
                    <a:pt x="850" y="500"/>
                  </a:lnTo>
                  <a:lnTo>
                    <a:pt x="850" y="500"/>
                  </a:lnTo>
                  <a:lnTo>
                    <a:pt x="852" y="502"/>
                  </a:lnTo>
                  <a:lnTo>
                    <a:pt x="854" y="504"/>
                  </a:lnTo>
                  <a:lnTo>
                    <a:pt x="856" y="504"/>
                  </a:lnTo>
                  <a:lnTo>
                    <a:pt x="860" y="508"/>
                  </a:lnTo>
                  <a:lnTo>
                    <a:pt x="862" y="510"/>
                  </a:lnTo>
                  <a:lnTo>
                    <a:pt x="866" y="512"/>
                  </a:lnTo>
                  <a:lnTo>
                    <a:pt x="868" y="514"/>
                  </a:lnTo>
                  <a:lnTo>
                    <a:pt x="868" y="514"/>
                  </a:lnTo>
                  <a:lnTo>
                    <a:pt x="870" y="514"/>
                  </a:lnTo>
                  <a:lnTo>
                    <a:pt x="872" y="514"/>
                  </a:lnTo>
                  <a:lnTo>
                    <a:pt x="872" y="514"/>
                  </a:lnTo>
                  <a:lnTo>
                    <a:pt x="874" y="514"/>
                  </a:lnTo>
                  <a:lnTo>
                    <a:pt x="878" y="514"/>
                  </a:lnTo>
                  <a:lnTo>
                    <a:pt x="882" y="514"/>
                  </a:lnTo>
                  <a:lnTo>
                    <a:pt x="886" y="514"/>
                  </a:lnTo>
                  <a:lnTo>
                    <a:pt x="886" y="514"/>
                  </a:lnTo>
                  <a:lnTo>
                    <a:pt x="886" y="514"/>
                  </a:lnTo>
                  <a:lnTo>
                    <a:pt x="890" y="514"/>
                  </a:lnTo>
                  <a:lnTo>
                    <a:pt x="890" y="514"/>
                  </a:lnTo>
                  <a:lnTo>
                    <a:pt x="890" y="514"/>
                  </a:lnTo>
                  <a:lnTo>
                    <a:pt x="892" y="512"/>
                  </a:lnTo>
                  <a:lnTo>
                    <a:pt x="892" y="512"/>
                  </a:lnTo>
                  <a:lnTo>
                    <a:pt x="894" y="512"/>
                  </a:lnTo>
                  <a:lnTo>
                    <a:pt x="894" y="510"/>
                  </a:lnTo>
                  <a:lnTo>
                    <a:pt x="894" y="510"/>
                  </a:lnTo>
                  <a:lnTo>
                    <a:pt x="896" y="510"/>
                  </a:lnTo>
                  <a:lnTo>
                    <a:pt x="896" y="508"/>
                  </a:lnTo>
                  <a:lnTo>
                    <a:pt x="896" y="508"/>
                  </a:lnTo>
                  <a:lnTo>
                    <a:pt x="896" y="506"/>
                  </a:lnTo>
                  <a:lnTo>
                    <a:pt x="894" y="506"/>
                  </a:lnTo>
                  <a:lnTo>
                    <a:pt x="894" y="506"/>
                  </a:lnTo>
                  <a:lnTo>
                    <a:pt x="894" y="504"/>
                  </a:lnTo>
                  <a:lnTo>
                    <a:pt x="894" y="504"/>
                  </a:lnTo>
                  <a:lnTo>
                    <a:pt x="894" y="504"/>
                  </a:lnTo>
                  <a:lnTo>
                    <a:pt x="892" y="502"/>
                  </a:lnTo>
                  <a:lnTo>
                    <a:pt x="892" y="502"/>
                  </a:lnTo>
                  <a:lnTo>
                    <a:pt x="890" y="500"/>
                  </a:lnTo>
                  <a:lnTo>
                    <a:pt x="886" y="498"/>
                  </a:lnTo>
                  <a:lnTo>
                    <a:pt x="882" y="494"/>
                  </a:lnTo>
                  <a:lnTo>
                    <a:pt x="878" y="492"/>
                  </a:lnTo>
                  <a:lnTo>
                    <a:pt x="876" y="490"/>
                  </a:lnTo>
                  <a:lnTo>
                    <a:pt x="874" y="490"/>
                  </a:lnTo>
                  <a:lnTo>
                    <a:pt x="872" y="490"/>
                  </a:lnTo>
                  <a:lnTo>
                    <a:pt x="872" y="488"/>
                  </a:lnTo>
                  <a:lnTo>
                    <a:pt x="870" y="486"/>
                  </a:lnTo>
                  <a:lnTo>
                    <a:pt x="870" y="486"/>
                  </a:lnTo>
                  <a:lnTo>
                    <a:pt x="870" y="484"/>
                  </a:lnTo>
                  <a:lnTo>
                    <a:pt x="870" y="482"/>
                  </a:lnTo>
                  <a:lnTo>
                    <a:pt x="868" y="478"/>
                  </a:lnTo>
                  <a:lnTo>
                    <a:pt x="868" y="476"/>
                  </a:lnTo>
                  <a:lnTo>
                    <a:pt x="868" y="472"/>
                  </a:lnTo>
                  <a:lnTo>
                    <a:pt x="868" y="472"/>
                  </a:lnTo>
                  <a:lnTo>
                    <a:pt x="866" y="472"/>
                  </a:lnTo>
                  <a:lnTo>
                    <a:pt x="864" y="470"/>
                  </a:lnTo>
                  <a:lnTo>
                    <a:pt x="864" y="470"/>
                  </a:lnTo>
                  <a:lnTo>
                    <a:pt x="864" y="470"/>
                  </a:lnTo>
                  <a:lnTo>
                    <a:pt x="862" y="468"/>
                  </a:lnTo>
                  <a:lnTo>
                    <a:pt x="860" y="468"/>
                  </a:lnTo>
                  <a:lnTo>
                    <a:pt x="858" y="466"/>
                  </a:lnTo>
                  <a:lnTo>
                    <a:pt x="856" y="464"/>
                  </a:lnTo>
                  <a:lnTo>
                    <a:pt x="854" y="460"/>
                  </a:lnTo>
                  <a:lnTo>
                    <a:pt x="852" y="456"/>
                  </a:lnTo>
                  <a:lnTo>
                    <a:pt x="852" y="456"/>
                  </a:lnTo>
                  <a:lnTo>
                    <a:pt x="852" y="456"/>
                  </a:lnTo>
                  <a:lnTo>
                    <a:pt x="848" y="454"/>
                  </a:lnTo>
                  <a:lnTo>
                    <a:pt x="848" y="454"/>
                  </a:lnTo>
                  <a:lnTo>
                    <a:pt x="848" y="454"/>
                  </a:lnTo>
                  <a:lnTo>
                    <a:pt x="844" y="450"/>
                  </a:lnTo>
                  <a:lnTo>
                    <a:pt x="840" y="448"/>
                  </a:lnTo>
                  <a:lnTo>
                    <a:pt x="840" y="448"/>
                  </a:lnTo>
                  <a:lnTo>
                    <a:pt x="840" y="448"/>
                  </a:lnTo>
                  <a:lnTo>
                    <a:pt x="842" y="448"/>
                  </a:lnTo>
                  <a:lnTo>
                    <a:pt x="844" y="446"/>
                  </a:lnTo>
                  <a:lnTo>
                    <a:pt x="844" y="446"/>
                  </a:lnTo>
                  <a:lnTo>
                    <a:pt x="846" y="446"/>
                  </a:lnTo>
                  <a:lnTo>
                    <a:pt x="848" y="446"/>
                  </a:lnTo>
                  <a:lnTo>
                    <a:pt x="848" y="446"/>
                  </a:lnTo>
                  <a:lnTo>
                    <a:pt x="848" y="444"/>
                  </a:lnTo>
                  <a:lnTo>
                    <a:pt x="850" y="442"/>
                  </a:lnTo>
                  <a:lnTo>
                    <a:pt x="850" y="442"/>
                  </a:lnTo>
                  <a:lnTo>
                    <a:pt x="850" y="442"/>
                  </a:lnTo>
                  <a:lnTo>
                    <a:pt x="852" y="440"/>
                  </a:lnTo>
                  <a:lnTo>
                    <a:pt x="852" y="440"/>
                  </a:lnTo>
                  <a:lnTo>
                    <a:pt x="852" y="438"/>
                  </a:lnTo>
                  <a:lnTo>
                    <a:pt x="854" y="430"/>
                  </a:lnTo>
                  <a:lnTo>
                    <a:pt x="854" y="422"/>
                  </a:lnTo>
                  <a:lnTo>
                    <a:pt x="854" y="414"/>
                  </a:lnTo>
                  <a:lnTo>
                    <a:pt x="854" y="414"/>
                  </a:lnTo>
                  <a:lnTo>
                    <a:pt x="854" y="414"/>
                  </a:lnTo>
                  <a:lnTo>
                    <a:pt x="852" y="410"/>
                  </a:lnTo>
                  <a:lnTo>
                    <a:pt x="852" y="410"/>
                  </a:lnTo>
                  <a:lnTo>
                    <a:pt x="852" y="410"/>
                  </a:lnTo>
                  <a:lnTo>
                    <a:pt x="854" y="408"/>
                  </a:lnTo>
                  <a:lnTo>
                    <a:pt x="854" y="408"/>
                  </a:lnTo>
                  <a:lnTo>
                    <a:pt x="856" y="408"/>
                  </a:lnTo>
                  <a:lnTo>
                    <a:pt x="858" y="406"/>
                  </a:lnTo>
                  <a:lnTo>
                    <a:pt x="862" y="404"/>
                  </a:lnTo>
                  <a:lnTo>
                    <a:pt x="866" y="400"/>
                  </a:lnTo>
                  <a:lnTo>
                    <a:pt x="870" y="396"/>
                  </a:lnTo>
                  <a:lnTo>
                    <a:pt x="874" y="392"/>
                  </a:lnTo>
                  <a:lnTo>
                    <a:pt x="878" y="388"/>
                  </a:lnTo>
                  <a:lnTo>
                    <a:pt x="882" y="384"/>
                  </a:lnTo>
                  <a:lnTo>
                    <a:pt x="882" y="384"/>
                  </a:lnTo>
                  <a:lnTo>
                    <a:pt x="882" y="384"/>
                  </a:lnTo>
                  <a:lnTo>
                    <a:pt x="882" y="382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80"/>
                  </a:lnTo>
                  <a:lnTo>
                    <a:pt x="884" y="378"/>
                  </a:lnTo>
                  <a:lnTo>
                    <a:pt x="884" y="378"/>
                  </a:lnTo>
                  <a:lnTo>
                    <a:pt x="884" y="378"/>
                  </a:lnTo>
                  <a:lnTo>
                    <a:pt x="884" y="376"/>
                  </a:lnTo>
                  <a:lnTo>
                    <a:pt x="882" y="374"/>
                  </a:lnTo>
                  <a:lnTo>
                    <a:pt x="882" y="374"/>
                  </a:lnTo>
                  <a:lnTo>
                    <a:pt x="882" y="372"/>
                  </a:lnTo>
                  <a:lnTo>
                    <a:pt x="880" y="370"/>
                  </a:lnTo>
                  <a:lnTo>
                    <a:pt x="878" y="366"/>
                  </a:lnTo>
                  <a:lnTo>
                    <a:pt x="874" y="364"/>
                  </a:lnTo>
                  <a:lnTo>
                    <a:pt x="872" y="360"/>
                  </a:lnTo>
                  <a:lnTo>
                    <a:pt x="872" y="358"/>
                  </a:lnTo>
                  <a:lnTo>
                    <a:pt x="872" y="356"/>
                  </a:lnTo>
                  <a:lnTo>
                    <a:pt x="872" y="354"/>
                  </a:lnTo>
                  <a:lnTo>
                    <a:pt x="872" y="350"/>
                  </a:lnTo>
                  <a:lnTo>
                    <a:pt x="874" y="348"/>
                  </a:lnTo>
                  <a:lnTo>
                    <a:pt x="876" y="344"/>
                  </a:lnTo>
                  <a:lnTo>
                    <a:pt x="878" y="338"/>
                  </a:lnTo>
                  <a:lnTo>
                    <a:pt x="880" y="334"/>
                  </a:lnTo>
                  <a:lnTo>
                    <a:pt x="880" y="332"/>
                  </a:lnTo>
                  <a:lnTo>
                    <a:pt x="880" y="328"/>
                  </a:lnTo>
                  <a:lnTo>
                    <a:pt x="880" y="324"/>
                  </a:lnTo>
                  <a:lnTo>
                    <a:pt x="880" y="316"/>
                  </a:lnTo>
                  <a:lnTo>
                    <a:pt x="880" y="310"/>
                  </a:lnTo>
                  <a:lnTo>
                    <a:pt x="880" y="306"/>
                  </a:lnTo>
                  <a:lnTo>
                    <a:pt x="878" y="302"/>
                  </a:lnTo>
                  <a:lnTo>
                    <a:pt x="876" y="298"/>
                  </a:lnTo>
                  <a:lnTo>
                    <a:pt x="876" y="298"/>
                  </a:lnTo>
                  <a:lnTo>
                    <a:pt x="876" y="298"/>
                  </a:lnTo>
                  <a:lnTo>
                    <a:pt x="872" y="294"/>
                  </a:lnTo>
                  <a:lnTo>
                    <a:pt x="872" y="294"/>
                  </a:lnTo>
                  <a:lnTo>
                    <a:pt x="872" y="294"/>
                  </a:lnTo>
                  <a:lnTo>
                    <a:pt x="870" y="292"/>
                  </a:lnTo>
                  <a:lnTo>
                    <a:pt x="868" y="290"/>
                  </a:lnTo>
                  <a:lnTo>
                    <a:pt x="864" y="288"/>
                  </a:lnTo>
                  <a:lnTo>
                    <a:pt x="862" y="286"/>
                  </a:lnTo>
                  <a:lnTo>
                    <a:pt x="858" y="284"/>
                  </a:lnTo>
                  <a:lnTo>
                    <a:pt x="854" y="282"/>
                  </a:lnTo>
                  <a:lnTo>
                    <a:pt x="848" y="280"/>
                  </a:lnTo>
                  <a:lnTo>
                    <a:pt x="842" y="278"/>
                  </a:lnTo>
                  <a:lnTo>
                    <a:pt x="848" y="278"/>
                  </a:lnTo>
                  <a:lnTo>
                    <a:pt x="856" y="278"/>
                  </a:lnTo>
                  <a:lnTo>
                    <a:pt x="856" y="278"/>
                  </a:lnTo>
                  <a:lnTo>
                    <a:pt x="860" y="276"/>
                  </a:lnTo>
                  <a:lnTo>
                    <a:pt x="860" y="276"/>
                  </a:lnTo>
                  <a:lnTo>
                    <a:pt x="858" y="272"/>
                  </a:lnTo>
                  <a:lnTo>
                    <a:pt x="854" y="270"/>
                  </a:lnTo>
                  <a:lnTo>
                    <a:pt x="852" y="270"/>
                  </a:lnTo>
                  <a:lnTo>
                    <a:pt x="852" y="268"/>
                  </a:lnTo>
                  <a:lnTo>
                    <a:pt x="850" y="266"/>
                  </a:lnTo>
                  <a:lnTo>
                    <a:pt x="850" y="266"/>
                  </a:lnTo>
                  <a:lnTo>
                    <a:pt x="852" y="266"/>
                  </a:lnTo>
                  <a:lnTo>
                    <a:pt x="852" y="264"/>
                  </a:lnTo>
                  <a:lnTo>
                    <a:pt x="854" y="264"/>
                  </a:lnTo>
                  <a:lnTo>
                    <a:pt x="858" y="264"/>
                  </a:lnTo>
                  <a:lnTo>
                    <a:pt x="864" y="266"/>
                  </a:lnTo>
                  <a:lnTo>
                    <a:pt x="874" y="268"/>
                  </a:lnTo>
                  <a:lnTo>
                    <a:pt x="876" y="268"/>
                  </a:lnTo>
                  <a:lnTo>
                    <a:pt x="876" y="268"/>
                  </a:lnTo>
                  <a:lnTo>
                    <a:pt x="876" y="268"/>
                  </a:lnTo>
                  <a:lnTo>
                    <a:pt x="880" y="270"/>
                  </a:lnTo>
                  <a:lnTo>
                    <a:pt x="880" y="270"/>
                  </a:lnTo>
                  <a:lnTo>
                    <a:pt x="880" y="270"/>
                  </a:lnTo>
                  <a:lnTo>
                    <a:pt x="884" y="270"/>
                  </a:lnTo>
                  <a:lnTo>
                    <a:pt x="886" y="270"/>
                  </a:lnTo>
                  <a:lnTo>
                    <a:pt x="894" y="270"/>
                  </a:lnTo>
                  <a:lnTo>
                    <a:pt x="896" y="270"/>
                  </a:lnTo>
                  <a:lnTo>
                    <a:pt x="898" y="270"/>
                  </a:lnTo>
                  <a:lnTo>
                    <a:pt x="898" y="270"/>
                  </a:lnTo>
                  <a:lnTo>
                    <a:pt x="900" y="274"/>
                  </a:lnTo>
                  <a:lnTo>
                    <a:pt x="902" y="278"/>
                  </a:lnTo>
                  <a:lnTo>
                    <a:pt x="902" y="278"/>
                  </a:lnTo>
                  <a:lnTo>
                    <a:pt x="902" y="280"/>
                  </a:lnTo>
                  <a:lnTo>
                    <a:pt x="902" y="282"/>
                  </a:lnTo>
                  <a:lnTo>
                    <a:pt x="902" y="282"/>
                  </a:lnTo>
                  <a:lnTo>
                    <a:pt x="904" y="282"/>
                  </a:lnTo>
                  <a:lnTo>
                    <a:pt x="906" y="284"/>
                  </a:lnTo>
                  <a:lnTo>
                    <a:pt x="906" y="284"/>
                  </a:lnTo>
                  <a:lnTo>
                    <a:pt x="906" y="284"/>
                  </a:lnTo>
                  <a:lnTo>
                    <a:pt x="908" y="286"/>
                  </a:lnTo>
                  <a:lnTo>
                    <a:pt x="908" y="286"/>
                  </a:lnTo>
                  <a:lnTo>
                    <a:pt x="908" y="286"/>
                  </a:lnTo>
                  <a:lnTo>
                    <a:pt x="912" y="286"/>
                  </a:lnTo>
                  <a:lnTo>
                    <a:pt x="912" y="286"/>
                  </a:lnTo>
                  <a:lnTo>
                    <a:pt x="914" y="286"/>
                  </a:lnTo>
                  <a:lnTo>
                    <a:pt x="914" y="286"/>
                  </a:lnTo>
                  <a:lnTo>
                    <a:pt x="916" y="286"/>
                  </a:lnTo>
                  <a:lnTo>
                    <a:pt x="918" y="286"/>
                  </a:lnTo>
                  <a:lnTo>
                    <a:pt x="918" y="286"/>
                  </a:lnTo>
                  <a:lnTo>
                    <a:pt x="920" y="286"/>
                  </a:lnTo>
                  <a:lnTo>
                    <a:pt x="922" y="284"/>
                  </a:lnTo>
                  <a:lnTo>
                    <a:pt x="922" y="284"/>
                  </a:lnTo>
                  <a:lnTo>
                    <a:pt x="922" y="284"/>
                  </a:lnTo>
                  <a:lnTo>
                    <a:pt x="922" y="282"/>
                  </a:lnTo>
                  <a:lnTo>
                    <a:pt x="922" y="282"/>
                  </a:lnTo>
                  <a:lnTo>
                    <a:pt x="924" y="282"/>
                  </a:lnTo>
                  <a:lnTo>
                    <a:pt x="924" y="280"/>
                  </a:lnTo>
                  <a:lnTo>
                    <a:pt x="924" y="280"/>
                  </a:lnTo>
                  <a:lnTo>
                    <a:pt x="924" y="278"/>
                  </a:lnTo>
                  <a:lnTo>
                    <a:pt x="924" y="278"/>
                  </a:lnTo>
                  <a:lnTo>
                    <a:pt x="924" y="278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22" y="276"/>
                  </a:lnTo>
                  <a:lnTo>
                    <a:pt x="922" y="274"/>
                  </a:lnTo>
                  <a:lnTo>
                    <a:pt x="920" y="274"/>
                  </a:lnTo>
                  <a:lnTo>
                    <a:pt x="920" y="274"/>
                  </a:lnTo>
                  <a:lnTo>
                    <a:pt x="918" y="272"/>
                  </a:lnTo>
                  <a:lnTo>
                    <a:pt x="916" y="272"/>
                  </a:lnTo>
                  <a:lnTo>
                    <a:pt x="912" y="270"/>
                  </a:lnTo>
                  <a:lnTo>
                    <a:pt x="908" y="270"/>
                  </a:lnTo>
                  <a:lnTo>
                    <a:pt x="908" y="270"/>
                  </a:lnTo>
                  <a:lnTo>
                    <a:pt x="906" y="266"/>
                  </a:lnTo>
                  <a:lnTo>
                    <a:pt x="906" y="262"/>
                  </a:lnTo>
                  <a:lnTo>
                    <a:pt x="906" y="258"/>
                  </a:lnTo>
                  <a:lnTo>
                    <a:pt x="906" y="256"/>
                  </a:lnTo>
                  <a:lnTo>
                    <a:pt x="906" y="254"/>
                  </a:lnTo>
                  <a:lnTo>
                    <a:pt x="908" y="252"/>
                  </a:lnTo>
                  <a:lnTo>
                    <a:pt x="910" y="250"/>
                  </a:lnTo>
                  <a:lnTo>
                    <a:pt x="912" y="250"/>
                  </a:lnTo>
                  <a:lnTo>
                    <a:pt x="914" y="250"/>
                  </a:lnTo>
                  <a:lnTo>
                    <a:pt x="916" y="252"/>
                  </a:lnTo>
                  <a:lnTo>
                    <a:pt x="916" y="252"/>
                  </a:lnTo>
                  <a:lnTo>
                    <a:pt x="918" y="254"/>
                  </a:lnTo>
                  <a:lnTo>
                    <a:pt x="918" y="256"/>
                  </a:lnTo>
                  <a:lnTo>
                    <a:pt x="920" y="260"/>
                  </a:lnTo>
                  <a:lnTo>
                    <a:pt x="922" y="262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8" y="268"/>
                  </a:lnTo>
                  <a:lnTo>
                    <a:pt x="930" y="272"/>
                  </a:lnTo>
                  <a:lnTo>
                    <a:pt x="932" y="274"/>
                  </a:lnTo>
                  <a:lnTo>
                    <a:pt x="934" y="276"/>
                  </a:lnTo>
                  <a:lnTo>
                    <a:pt x="934" y="276"/>
                  </a:lnTo>
                  <a:lnTo>
                    <a:pt x="934" y="276"/>
                  </a:lnTo>
                  <a:lnTo>
                    <a:pt x="936" y="278"/>
                  </a:lnTo>
                  <a:lnTo>
                    <a:pt x="936" y="278"/>
                  </a:lnTo>
                  <a:lnTo>
                    <a:pt x="936" y="278"/>
                  </a:lnTo>
                  <a:lnTo>
                    <a:pt x="938" y="278"/>
                  </a:lnTo>
                  <a:lnTo>
                    <a:pt x="938" y="278"/>
                  </a:lnTo>
                  <a:lnTo>
                    <a:pt x="938" y="278"/>
                  </a:lnTo>
                  <a:lnTo>
                    <a:pt x="942" y="278"/>
                  </a:lnTo>
                  <a:lnTo>
                    <a:pt x="944" y="278"/>
                  </a:lnTo>
                  <a:lnTo>
                    <a:pt x="946" y="278"/>
                  </a:lnTo>
                  <a:lnTo>
                    <a:pt x="948" y="278"/>
                  </a:lnTo>
                  <a:lnTo>
                    <a:pt x="948" y="278"/>
                  </a:lnTo>
                  <a:lnTo>
                    <a:pt x="950" y="286"/>
                  </a:lnTo>
                  <a:lnTo>
                    <a:pt x="954" y="296"/>
                  </a:lnTo>
                  <a:lnTo>
                    <a:pt x="956" y="302"/>
                  </a:lnTo>
                  <a:lnTo>
                    <a:pt x="958" y="306"/>
                  </a:lnTo>
                  <a:lnTo>
                    <a:pt x="960" y="312"/>
                  </a:lnTo>
                  <a:lnTo>
                    <a:pt x="964" y="316"/>
                  </a:lnTo>
                  <a:lnTo>
                    <a:pt x="964" y="318"/>
                  </a:lnTo>
                  <a:lnTo>
                    <a:pt x="964" y="318"/>
                  </a:lnTo>
                  <a:lnTo>
                    <a:pt x="964" y="318"/>
                  </a:lnTo>
                  <a:lnTo>
                    <a:pt x="966" y="320"/>
                  </a:lnTo>
                  <a:lnTo>
                    <a:pt x="966" y="320"/>
                  </a:lnTo>
                  <a:lnTo>
                    <a:pt x="966" y="320"/>
                  </a:lnTo>
                  <a:lnTo>
                    <a:pt x="966" y="322"/>
                  </a:lnTo>
                  <a:lnTo>
                    <a:pt x="966" y="322"/>
                  </a:lnTo>
                  <a:lnTo>
                    <a:pt x="966" y="322"/>
                  </a:lnTo>
                  <a:lnTo>
                    <a:pt x="968" y="324"/>
                  </a:lnTo>
                  <a:lnTo>
                    <a:pt x="968" y="324"/>
                  </a:lnTo>
                  <a:lnTo>
                    <a:pt x="968" y="324"/>
                  </a:lnTo>
                  <a:lnTo>
                    <a:pt x="972" y="324"/>
                  </a:lnTo>
                  <a:lnTo>
                    <a:pt x="972" y="324"/>
                  </a:lnTo>
                  <a:lnTo>
                    <a:pt x="972" y="324"/>
                  </a:lnTo>
                  <a:lnTo>
                    <a:pt x="974" y="326"/>
                  </a:lnTo>
                  <a:lnTo>
                    <a:pt x="978" y="326"/>
                  </a:lnTo>
                  <a:lnTo>
                    <a:pt x="980" y="326"/>
                  </a:lnTo>
                  <a:lnTo>
                    <a:pt x="982" y="326"/>
                  </a:lnTo>
                  <a:lnTo>
                    <a:pt x="986" y="328"/>
                  </a:lnTo>
                  <a:lnTo>
                    <a:pt x="988" y="328"/>
                  </a:lnTo>
                  <a:lnTo>
                    <a:pt x="990" y="328"/>
                  </a:lnTo>
                  <a:lnTo>
                    <a:pt x="990" y="328"/>
                  </a:lnTo>
                  <a:lnTo>
                    <a:pt x="992" y="332"/>
                  </a:lnTo>
                  <a:lnTo>
                    <a:pt x="994" y="338"/>
                  </a:lnTo>
                  <a:lnTo>
                    <a:pt x="996" y="344"/>
                  </a:lnTo>
                  <a:lnTo>
                    <a:pt x="998" y="348"/>
                  </a:lnTo>
                  <a:lnTo>
                    <a:pt x="1000" y="352"/>
                  </a:lnTo>
                  <a:lnTo>
                    <a:pt x="1000" y="352"/>
                  </a:lnTo>
                  <a:lnTo>
                    <a:pt x="1000" y="352"/>
                  </a:lnTo>
                  <a:lnTo>
                    <a:pt x="1000" y="354"/>
                  </a:lnTo>
                  <a:lnTo>
                    <a:pt x="1000" y="354"/>
                  </a:lnTo>
                  <a:lnTo>
                    <a:pt x="1000" y="354"/>
                  </a:lnTo>
                  <a:lnTo>
                    <a:pt x="1002" y="356"/>
                  </a:lnTo>
                  <a:lnTo>
                    <a:pt x="1004" y="358"/>
                  </a:lnTo>
                  <a:lnTo>
                    <a:pt x="1006" y="360"/>
                  </a:lnTo>
                  <a:lnTo>
                    <a:pt x="1008" y="362"/>
                  </a:lnTo>
                  <a:lnTo>
                    <a:pt x="1010" y="362"/>
                  </a:lnTo>
                  <a:lnTo>
                    <a:pt x="1010" y="364"/>
                  </a:lnTo>
                  <a:lnTo>
                    <a:pt x="1010" y="374"/>
                  </a:lnTo>
                  <a:lnTo>
                    <a:pt x="1010" y="380"/>
                  </a:lnTo>
                  <a:lnTo>
                    <a:pt x="1008" y="384"/>
                  </a:lnTo>
                  <a:lnTo>
                    <a:pt x="1006" y="388"/>
                  </a:lnTo>
                  <a:lnTo>
                    <a:pt x="1004" y="392"/>
                  </a:lnTo>
                  <a:lnTo>
                    <a:pt x="1002" y="396"/>
                  </a:lnTo>
                  <a:lnTo>
                    <a:pt x="998" y="400"/>
                  </a:lnTo>
                  <a:lnTo>
                    <a:pt x="998" y="400"/>
                  </a:lnTo>
                  <a:lnTo>
                    <a:pt x="998" y="400"/>
                  </a:lnTo>
                  <a:lnTo>
                    <a:pt x="996" y="402"/>
                  </a:lnTo>
                  <a:lnTo>
                    <a:pt x="994" y="404"/>
                  </a:lnTo>
                  <a:lnTo>
                    <a:pt x="992" y="406"/>
                  </a:lnTo>
                  <a:lnTo>
                    <a:pt x="992" y="406"/>
                  </a:lnTo>
                  <a:lnTo>
                    <a:pt x="992" y="408"/>
                  </a:lnTo>
                  <a:lnTo>
                    <a:pt x="990" y="408"/>
                  </a:lnTo>
                  <a:lnTo>
                    <a:pt x="990" y="410"/>
                  </a:lnTo>
                  <a:lnTo>
                    <a:pt x="988" y="412"/>
                  </a:lnTo>
                  <a:lnTo>
                    <a:pt x="988" y="414"/>
                  </a:lnTo>
                  <a:lnTo>
                    <a:pt x="988" y="414"/>
                  </a:lnTo>
                  <a:lnTo>
                    <a:pt x="986" y="414"/>
                  </a:lnTo>
                  <a:lnTo>
                    <a:pt x="986" y="418"/>
                  </a:lnTo>
                  <a:lnTo>
                    <a:pt x="986" y="420"/>
                  </a:lnTo>
                  <a:lnTo>
                    <a:pt x="986" y="422"/>
                  </a:lnTo>
                  <a:lnTo>
                    <a:pt x="984" y="424"/>
                  </a:lnTo>
                  <a:lnTo>
                    <a:pt x="984" y="426"/>
                  </a:lnTo>
                  <a:lnTo>
                    <a:pt x="984" y="428"/>
                  </a:lnTo>
                  <a:lnTo>
                    <a:pt x="984" y="428"/>
                  </a:lnTo>
                  <a:lnTo>
                    <a:pt x="984" y="428"/>
                  </a:lnTo>
                  <a:lnTo>
                    <a:pt x="984" y="430"/>
                  </a:lnTo>
                  <a:lnTo>
                    <a:pt x="984" y="430"/>
                  </a:lnTo>
                  <a:lnTo>
                    <a:pt x="984" y="432"/>
                  </a:lnTo>
                  <a:lnTo>
                    <a:pt x="984" y="436"/>
                  </a:lnTo>
                  <a:lnTo>
                    <a:pt x="984" y="436"/>
                  </a:lnTo>
                  <a:lnTo>
                    <a:pt x="984" y="438"/>
                  </a:lnTo>
                  <a:lnTo>
                    <a:pt x="984" y="442"/>
                  </a:lnTo>
                  <a:lnTo>
                    <a:pt x="984" y="444"/>
                  </a:lnTo>
                  <a:lnTo>
                    <a:pt x="984" y="446"/>
                  </a:lnTo>
                  <a:lnTo>
                    <a:pt x="984" y="448"/>
                  </a:lnTo>
                  <a:lnTo>
                    <a:pt x="984" y="450"/>
                  </a:lnTo>
                  <a:lnTo>
                    <a:pt x="984" y="450"/>
                  </a:lnTo>
                  <a:lnTo>
                    <a:pt x="984" y="450"/>
                  </a:lnTo>
                  <a:lnTo>
                    <a:pt x="982" y="450"/>
                  </a:lnTo>
                  <a:lnTo>
                    <a:pt x="980" y="452"/>
                  </a:lnTo>
                  <a:lnTo>
                    <a:pt x="978" y="452"/>
                  </a:lnTo>
                  <a:lnTo>
                    <a:pt x="974" y="452"/>
                  </a:lnTo>
                  <a:lnTo>
                    <a:pt x="972" y="454"/>
                  </a:lnTo>
                  <a:lnTo>
                    <a:pt x="964" y="452"/>
                  </a:lnTo>
                  <a:lnTo>
                    <a:pt x="956" y="452"/>
                  </a:lnTo>
                  <a:lnTo>
                    <a:pt x="954" y="452"/>
                  </a:lnTo>
                  <a:lnTo>
                    <a:pt x="950" y="452"/>
                  </a:lnTo>
                  <a:lnTo>
                    <a:pt x="946" y="450"/>
                  </a:lnTo>
                  <a:lnTo>
                    <a:pt x="944" y="448"/>
                  </a:lnTo>
                  <a:lnTo>
                    <a:pt x="944" y="448"/>
                  </a:lnTo>
                  <a:lnTo>
                    <a:pt x="940" y="448"/>
                  </a:lnTo>
                  <a:lnTo>
                    <a:pt x="938" y="450"/>
                  </a:lnTo>
                  <a:lnTo>
                    <a:pt x="934" y="452"/>
                  </a:lnTo>
                  <a:lnTo>
                    <a:pt x="932" y="454"/>
                  </a:lnTo>
                  <a:lnTo>
                    <a:pt x="928" y="454"/>
                  </a:lnTo>
                  <a:lnTo>
                    <a:pt x="926" y="456"/>
                  </a:lnTo>
                  <a:lnTo>
                    <a:pt x="924" y="456"/>
                  </a:lnTo>
                  <a:lnTo>
                    <a:pt x="920" y="456"/>
                  </a:lnTo>
                  <a:lnTo>
                    <a:pt x="920" y="456"/>
                  </a:lnTo>
                  <a:lnTo>
                    <a:pt x="920" y="456"/>
                  </a:lnTo>
                  <a:lnTo>
                    <a:pt x="918" y="458"/>
                  </a:lnTo>
                  <a:lnTo>
                    <a:pt x="918" y="458"/>
                  </a:lnTo>
                  <a:lnTo>
                    <a:pt x="918" y="458"/>
                  </a:lnTo>
                  <a:lnTo>
                    <a:pt x="918" y="460"/>
                  </a:lnTo>
                  <a:lnTo>
                    <a:pt x="918" y="460"/>
                  </a:lnTo>
                  <a:lnTo>
                    <a:pt x="916" y="460"/>
                  </a:lnTo>
                  <a:lnTo>
                    <a:pt x="916" y="462"/>
                  </a:lnTo>
                  <a:lnTo>
                    <a:pt x="916" y="462"/>
                  </a:lnTo>
                  <a:lnTo>
                    <a:pt x="916" y="462"/>
                  </a:lnTo>
                  <a:lnTo>
                    <a:pt x="916" y="464"/>
                  </a:lnTo>
                  <a:lnTo>
                    <a:pt x="916" y="464"/>
                  </a:lnTo>
                  <a:lnTo>
                    <a:pt x="916" y="464"/>
                  </a:lnTo>
                  <a:lnTo>
                    <a:pt x="916" y="468"/>
                  </a:lnTo>
                  <a:lnTo>
                    <a:pt x="916" y="470"/>
                  </a:lnTo>
                  <a:lnTo>
                    <a:pt x="916" y="470"/>
                  </a:lnTo>
                  <a:lnTo>
                    <a:pt x="916" y="472"/>
                  </a:lnTo>
                  <a:lnTo>
                    <a:pt x="916" y="472"/>
                  </a:lnTo>
                  <a:lnTo>
                    <a:pt x="916" y="472"/>
                  </a:lnTo>
                  <a:lnTo>
                    <a:pt x="918" y="474"/>
                  </a:lnTo>
                  <a:lnTo>
                    <a:pt x="918" y="474"/>
                  </a:lnTo>
                  <a:lnTo>
                    <a:pt x="918" y="476"/>
                  </a:lnTo>
                  <a:lnTo>
                    <a:pt x="918" y="476"/>
                  </a:lnTo>
                  <a:lnTo>
                    <a:pt x="918" y="476"/>
                  </a:lnTo>
                  <a:lnTo>
                    <a:pt x="920" y="476"/>
                  </a:lnTo>
                  <a:lnTo>
                    <a:pt x="922" y="476"/>
                  </a:lnTo>
                  <a:lnTo>
                    <a:pt x="924" y="476"/>
                  </a:lnTo>
                  <a:lnTo>
                    <a:pt x="926" y="476"/>
                  </a:lnTo>
                  <a:lnTo>
                    <a:pt x="928" y="476"/>
                  </a:lnTo>
                  <a:lnTo>
                    <a:pt x="928" y="478"/>
                  </a:lnTo>
                  <a:lnTo>
                    <a:pt x="928" y="480"/>
                  </a:lnTo>
                  <a:lnTo>
                    <a:pt x="928" y="480"/>
                  </a:lnTo>
                  <a:lnTo>
                    <a:pt x="928" y="482"/>
                  </a:lnTo>
                  <a:lnTo>
                    <a:pt x="930" y="482"/>
                  </a:lnTo>
                  <a:lnTo>
                    <a:pt x="930" y="482"/>
                  </a:lnTo>
                  <a:lnTo>
                    <a:pt x="930" y="484"/>
                  </a:lnTo>
                  <a:lnTo>
                    <a:pt x="932" y="484"/>
                  </a:lnTo>
                  <a:lnTo>
                    <a:pt x="932" y="484"/>
                  </a:lnTo>
                  <a:lnTo>
                    <a:pt x="932" y="486"/>
                  </a:lnTo>
                  <a:lnTo>
                    <a:pt x="934" y="486"/>
                  </a:lnTo>
                  <a:lnTo>
                    <a:pt x="934" y="486"/>
                  </a:lnTo>
                  <a:lnTo>
                    <a:pt x="934" y="486"/>
                  </a:lnTo>
                  <a:lnTo>
                    <a:pt x="936" y="486"/>
                  </a:lnTo>
                  <a:lnTo>
                    <a:pt x="938" y="488"/>
                  </a:lnTo>
                  <a:lnTo>
                    <a:pt x="942" y="488"/>
                  </a:lnTo>
                  <a:lnTo>
                    <a:pt x="942" y="488"/>
                  </a:lnTo>
                  <a:lnTo>
                    <a:pt x="944" y="488"/>
                  </a:lnTo>
                  <a:lnTo>
                    <a:pt x="948" y="488"/>
                  </a:lnTo>
                  <a:lnTo>
                    <a:pt x="952" y="488"/>
                  </a:lnTo>
                  <a:lnTo>
                    <a:pt x="956" y="486"/>
                  </a:lnTo>
                  <a:lnTo>
                    <a:pt x="956" y="486"/>
                  </a:lnTo>
                  <a:lnTo>
                    <a:pt x="956" y="486"/>
                  </a:lnTo>
                  <a:lnTo>
                    <a:pt x="960" y="486"/>
                  </a:lnTo>
                  <a:lnTo>
                    <a:pt x="964" y="484"/>
                  </a:lnTo>
                  <a:lnTo>
                    <a:pt x="964" y="484"/>
                  </a:lnTo>
                  <a:lnTo>
                    <a:pt x="964" y="484"/>
                  </a:lnTo>
                  <a:lnTo>
                    <a:pt x="966" y="484"/>
                  </a:lnTo>
                  <a:lnTo>
                    <a:pt x="966" y="484"/>
                  </a:lnTo>
                  <a:lnTo>
                    <a:pt x="966" y="482"/>
                  </a:lnTo>
                  <a:lnTo>
                    <a:pt x="966" y="482"/>
                  </a:lnTo>
                  <a:lnTo>
                    <a:pt x="966" y="482"/>
                  </a:lnTo>
                  <a:lnTo>
                    <a:pt x="968" y="480"/>
                  </a:lnTo>
                  <a:lnTo>
                    <a:pt x="968" y="480"/>
                  </a:lnTo>
                  <a:lnTo>
                    <a:pt x="968" y="478"/>
                  </a:lnTo>
                  <a:lnTo>
                    <a:pt x="968" y="478"/>
                  </a:lnTo>
                  <a:lnTo>
                    <a:pt x="970" y="476"/>
                  </a:lnTo>
                  <a:lnTo>
                    <a:pt x="972" y="476"/>
                  </a:lnTo>
                  <a:lnTo>
                    <a:pt x="972" y="476"/>
                  </a:lnTo>
                  <a:lnTo>
                    <a:pt x="976" y="476"/>
                  </a:lnTo>
                  <a:lnTo>
                    <a:pt x="980" y="476"/>
                  </a:lnTo>
                  <a:lnTo>
                    <a:pt x="982" y="476"/>
                  </a:lnTo>
                  <a:lnTo>
                    <a:pt x="986" y="476"/>
                  </a:lnTo>
                  <a:lnTo>
                    <a:pt x="988" y="476"/>
                  </a:lnTo>
                  <a:lnTo>
                    <a:pt x="990" y="478"/>
                  </a:lnTo>
                  <a:lnTo>
                    <a:pt x="992" y="480"/>
                  </a:lnTo>
                  <a:lnTo>
                    <a:pt x="992" y="482"/>
                  </a:lnTo>
                  <a:lnTo>
                    <a:pt x="994" y="484"/>
                  </a:lnTo>
                  <a:lnTo>
                    <a:pt x="994" y="488"/>
                  </a:lnTo>
                  <a:lnTo>
                    <a:pt x="994" y="488"/>
                  </a:lnTo>
                  <a:lnTo>
                    <a:pt x="994" y="488"/>
                  </a:lnTo>
                  <a:lnTo>
                    <a:pt x="996" y="490"/>
                  </a:lnTo>
                  <a:lnTo>
                    <a:pt x="996" y="490"/>
                  </a:lnTo>
                  <a:lnTo>
                    <a:pt x="996" y="490"/>
                  </a:lnTo>
                  <a:lnTo>
                    <a:pt x="996" y="492"/>
                  </a:lnTo>
                  <a:lnTo>
                    <a:pt x="996" y="492"/>
                  </a:lnTo>
                  <a:lnTo>
                    <a:pt x="998" y="494"/>
                  </a:lnTo>
                  <a:lnTo>
                    <a:pt x="1002" y="496"/>
                  </a:lnTo>
                  <a:lnTo>
                    <a:pt x="1004" y="498"/>
                  </a:lnTo>
                  <a:lnTo>
                    <a:pt x="1006" y="500"/>
                  </a:lnTo>
                  <a:lnTo>
                    <a:pt x="1008" y="502"/>
                  </a:lnTo>
                  <a:lnTo>
                    <a:pt x="1010" y="506"/>
                  </a:lnTo>
                  <a:lnTo>
                    <a:pt x="1012" y="508"/>
                  </a:lnTo>
                  <a:lnTo>
                    <a:pt x="1014" y="510"/>
                  </a:lnTo>
                  <a:lnTo>
                    <a:pt x="1018" y="516"/>
                  </a:lnTo>
                  <a:lnTo>
                    <a:pt x="1024" y="518"/>
                  </a:lnTo>
                  <a:lnTo>
                    <a:pt x="1024" y="520"/>
                  </a:lnTo>
                  <a:lnTo>
                    <a:pt x="1024" y="522"/>
                  </a:lnTo>
                  <a:lnTo>
                    <a:pt x="1024" y="522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4"/>
                  </a:lnTo>
                  <a:lnTo>
                    <a:pt x="1024" y="526"/>
                  </a:lnTo>
                  <a:lnTo>
                    <a:pt x="1024" y="528"/>
                  </a:lnTo>
                  <a:lnTo>
                    <a:pt x="1024" y="528"/>
                  </a:lnTo>
                  <a:lnTo>
                    <a:pt x="1026" y="528"/>
                  </a:lnTo>
                  <a:lnTo>
                    <a:pt x="1028" y="528"/>
                  </a:lnTo>
                  <a:lnTo>
                    <a:pt x="1028" y="528"/>
                  </a:lnTo>
                  <a:lnTo>
                    <a:pt x="1028" y="530"/>
                  </a:lnTo>
                  <a:lnTo>
                    <a:pt x="1028" y="530"/>
                  </a:lnTo>
                  <a:lnTo>
                    <a:pt x="1030" y="530"/>
                  </a:lnTo>
                  <a:lnTo>
                    <a:pt x="1034" y="532"/>
                  </a:lnTo>
                  <a:lnTo>
                    <a:pt x="1038" y="534"/>
                  </a:lnTo>
                  <a:lnTo>
                    <a:pt x="1044" y="534"/>
                  </a:lnTo>
                  <a:lnTo>
                    <a:pt x="1046" y="536"/>
                  </a:lnTo>
                  <a:lnTo>
                    <a:pt x="1050" y="540"/>
                  </a:lnTo>
                  <a:lnTo>
                    <a:pt x="1050" y="540"/>
                  </a:lnTo>
                  <a:lnTo>
                    <a:pt x="1050" y="540"/>
                  </a:lnTo>
                  <a:lnTo>
                    <a:pt x="1052" y="542"/>
                  </a:lnTo>
                  <a:lnTo>
                    <a:pt x="1052" y="542"/>
                  </a:lnTo>
                  <a:lnTo>
                    <a:pt x="1052" y="542"/>
                  </a:lnTo>
                  <a:lnTo>
                    <a:pt x="1056" y="544"/>
                  </a:lnTo>
                  <a:lnTo>
                    <a:pt x="1056" y="544"/>
                  </a:lnTo>
                  <a:lnTo>
                    <a:pt x="1056" y="544"/>
                  </a:lnTo>
                  <a:lnTo>
                    <a:pt x="1058" y="544"/>
                  </a:lnTo>
                  <a:lnTo>
                    <a:pt x="1058" y="544"/>
                  </a:lnTo>
                  <a:lnTo>
                    <a:pt x="1060" y="546"/>
                  </a:lnTo>
                  <a:lnTo>
                    <a:pt x="1060" y="548"/>
                  </a:lnTo>
                  <a:lnTo>
                    <a:pt x="1062" y="548"/>
                  </a:lnTo>
                  <a:lnTo>
                    <a:pt x="1062" y="548"/>
                  </a:lnTo>
                  <a:lnTo>
                    <a:pt x="1062" y="550"/>
                  </a:lnTo>
                  <a:lnTo>
                    <a:pt x="1064" y="550"/>
                  </a:lnTo>
                  <a:lnTo>
                    <a:pt x="1064" y="550"/>
                  </a:lnTo>
                  <a:lnTo>
                    <a:pt x="1064" y="550"/>
                  </a:lnTo>
                  <a:lnTo>
                    <a:pt x="1066" y="552"/>
                  </a:lnTo>
                  <a:lnTo>
                    <a:pt x="1066" y="552"/>
                  </a:lnTo>
                  <a:lnTo>
                    <a:pt x="1066" y="552"/>
                  </a:lnTo>
                  <a:lnTo>
                    <a:pt x="1068" y="552"/>
                  </a:lnTo>
                  <a:lnTo>
                    <a:pt x="1070" y="552"/>
                  </a:lnTo>
                  <a:lnTo>
                    <a:pt x="1072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4" y="554"/>
                  </a:lnTo>
                  <a:lnTo>
                    <a:pt x="1076" y="554"/>
                  </a:lnTo>
                  <a:lnTo>
                    <a:pt x="1076" y="554"/>
                  </a:lnTo>
                  <a:lnTo>
                    <a:pt x="1076" y="554"/>
                  </a:lnTo>
                  <a:lnTo>
                    <a:pt x="1078" y="556"/>
                  </a:lnTo>
                  <a:lnTo>
                    <a:pt x="1082" y="556"/>
                  </a:lnTo>
                  <a:lnTo>
                    <a:pt x="1086" y="556"/>
                  </a:lnTo>
                  <a:lnTo>
                    <a:pt x="1088" y="556"/>
                  </a:lnTo>
                  <a:lnTo>
                    <a:pt x="1090" y="558"/>
                  </a:lnTo>
                  <a:lnTo>
                    <a:pt x="1092" y="558"/>
                  </a:lnTo>
                  <a:lnTo>
                    <a:pt x="1094" y="558"/>
                  </a:lnTo>
                  <a:lnTo>
                    <a:pt x="1094" y="558"/>
                  </a:lnTo>
                  <a:lnTo>
                    <a:pt x="1094" y="558"/>
                  </a:lnTo>
                  <a:lnTo>
                    <a:pt x="1096" y="558"/>
                  </a:lnTo>
                  <a:lnTo>
                    <a:pt x="1096" y="558"/>
                  </a:lnTo>
                  <a:lnTo>
                    <a:pt x="1096" y="558"/>
                  </a:lnTo>
                  <a:lnTo>
                    <a:pt x="1098" y="556"/>
                  </a:lnTo>
                  <a:lnTo>
                    <a:pt x="1098" y="556"/>
                  </a:lnTo>
                  <a:lnTo>
                    <a:pt x="1098" y="554"/>
                  </a:lnTo>
                  <a:lnTo>
                    <a:pt x="1098" y="554"/>
                  </a:lnTo>
                  <a:lnTo>
                    <a:pt x="1098" y="554"/>
                  </a:lnTo>
                  <a:lnTo>
                    <a:pt x="1098" y="552"/>
                  </a:lnTo>
                  <a:lnTo>
                    <a:pt x="1096" y="550"/>
                  </a:lnTo>
                  <a:lnTo>
                    <a:pt x="1094" y="550"/>
                  </a:lnTo>
                  <a:lnTo>
                    <a:pt x="1092" y="548"/>
                  </a:lnTo>
                  <a:lnTo>
                    <a:pt x="1088" y="544"/>
                  </a:lnTo>
                  <a:lnTo>
                    <a:pt x="1084" y="540"/>
                  </a:lnTo>
                  <a:lnTo>
                    <a:pt x="1080" y="536"/>
                  </a:lnTo>
                  <a:lnTo>
                    <a:pt x="1076" y="534"/>
                  </a:lnTo>
                  <a:lnTo>
                    <a:pt x="1074" y="532"/>
                  </a:lnTo>
                  <a:lnTo>
                    <a:pt x="1074" y="530"/>
                  </a:lnTo>
                  <a:lnTo>
                    <a:pt x="1072" y="528"/>
                  </a:lnTo>
                  <a:lnTo>
                    <a:pt x="1072" y="526"/>
                  </a:lnTo>
                  <a:lnTo>
                    <a:pt x="1070" y="524"/>
                  </a:lnTo>
                  <a:lnTo>
                    <a:pt x="1070" y="524"/>
                  </a:lnTo>
                  <a:lnTo>
                    <a:pt x="1070" y="524"/>
                  </a:lnTo>
                  <a:lnTo>
                    <a:pt x="1068" y="522"/>
                  </a:lnTo>
                  <a:lnTo>
                    <a:pt x="1066" y="522"/>
                  </a:lnTo>
                  <a:lnTo>
                    <a:pt x="1066" y="518"/>
                  </a:lnTo>
                  <a:lnTo>
                    <a:pt x="1064" y="516"/>
                  </a:lnTo>
                  <a:lnTo>
                    <a:pt x="1062" y="514"/>
                  </a:lnTo>
                  <a:lnTo>
                    <a:pt x="1062" y="512"/>
                  </a:lnTo>
                  <a:lnTo>
                    <a:pt x="1062" y="512"/>
                  </a:lnTo>
                  <a:lnTo>
                    <a:pt x="1062" y="512"/>
                  </a:lnTo>
                  <a:lnTo>
                    <a:pt x="1064" y="512"/>
                  </a:lnTo>
                  <a:lnTo>
                    <a:pt x="1068" y="512"/>
                  </a:lnTo>
                  <a:lnTo>
                    <a:pt x="1074" y="514"/>
                  </a:lnTo>
                  <a:lnTo>
                    <a:pt x="1080" y="514"/>
                  </a:lnTo>
                  <a:lnTo>
                    <a:pt x="1080" y="516"/>
                  </a:lnTo>
                  <a:lnTo>
                    <a:pt x="1082" y="518"/>
                  </a:lnTo>
                  <a:lnTo>
                    <a:pt x="1086" y="522"/>
                  </a:lnTo>
                  <a:lnTo>
                    <a:pt x="1088" y="524"/>
                  </a:lnTo>
                  <a:lnTo>
                    <a:pt x="1090" y="526"/>
                  </a:lnTo>
                  <a:lnTo>
                    <a:pt x="1090" y="526"/>
                  </a:lnTo>
                  <a:lnTo>
                    <a:pt x="1092" y="528"/>
                  </a:lnTo>
                  <a:lnTo>
                    <a:pt x="1092" y="528"/>
                  </a:lnTo>
                  <a:lnTo>
                    <a:pt x="1092" y="528"/>
                  </a:lnTo>
                  <a:lnTo>
                    <a:pt x="1094" y="530"/>
                  </a:lnTo>
                  <a:lnTo>
                    <a:pt x="1094" y="530"/>
                  </a:lnTo>
                  <a:lnTo>
                    <a:pt x="1096" y="530"/>
                  </a:lnTo>
                  <a:lnTo>
                    <a:pt x="1098" y="532"/>
                  </a:lnTo>
                  <a:lnTo>
                    <a:pt x="1098" y="532"/>
                  </a:lnTo>
                  <a:lnTo>
                    <a:pt x="1098" y="532"/>
                  </a:lnTo>
                  <a:lnTo>
                    <a:pt x="1100" y="532"/>
                  </a:lnTo>
                  <a:lnTo>
                    <a:pt x="1100" y="532"/>
                  </a:lnTo>
                  <a:lnTo>
                    <a:pt x="1102" y="532"/>
                  </a:lnTo>
                  <a:lnTo>
                    <a:pt x="1104" y="532"/>
                  </a:lnTo>
                  <a:lnTo>
                    <a:pt x="1104" y="532"/>
                  </a:lnTo>
                  <a:lnTo>
                    <a:pt x="1104" y="532"/>
                  </a:lnTo>
                  <a:lnTo>
                    <a:pt x="1106" y="530"/>
                  </a:lnTo>
                  <a:lnTo>
                    <a:pt x="1106" y="530"/>
                  </a:lnTo>
                  <a:lnTo>
                    <a:pt x="1106" y="530"/>
                  </a:lnTo>
                  <a:lnTo>
                    <a:pt x="1108" y="528"/>
                  </a:lnTo>
                  <a:lnTo>
                    <a:pt x="1108" y="528"/>
                  </a:lnTo>
                  <a:lnTo>
                    <a:pt x="1108" y="528"/>
                  </a:lnTo>
                  <a:lnTo>
                    <a:pt x="1110" y="524"/>
                  </a:lnTo>
                  <a:lnTo>
                    <a:pt x="1110" y="524"/>
                  </a:lnTo>
                  <a:lnTo>
                    <a:pt x="1110" y="524"/>
                  </a:lnTo>
                  <a:lnTo>
                    <a:pt x="1112" y="520"/>
                  </a:lnTo>
                  <a:lnTo>
                    <a:pt x="1112" y="518"/>
                  </a:lnTo>
                  <a:lnTo>
                    <a:pt x="1114" y="514"/>
                  </a:lnTo>
                  <a:lnTo>
                    <a:pt x="1114" y="512"/>
                  </a:lnTo>
                  <a:lnTo>
                    <a:pt x="1116" y="508"/>
                  </a:lnTo>
                  <a:lnTo>
                    <a:pt x="1116" y="508"/>
                  </a:lnTo>
                  <a:lnTo>
                    <a:pt x="1116" y="506"/>
                  </a:lnTo>
                  <a:lnTo>
                    <a:pt x="1114" y="504"/>
                  </a:lnTo>
                  <a:lnTo>
                    <a:pt x="1114" y="504"/>
                  </a:lnTo>
                  <a:lnTo>
                    <a:pt x="1114" y="502"/>
                  </a:lnTo>
                  <a:lnTo>
                    <a:pt x="1114" y="500"/>
                  </a:lnTo>
                  <a:lnTo>
                    <a:pt x="1114" y="500"/>
                  </a:lnTo>
                  <a:lnTo>
                    <a:pt x="1114" y="498"/>
                  </a:lnTo>
                  <a:lnTo>
                    <a:pt x="1112" y="496"/>
                  </a:lnTo>
                  <a:lnTo>
                    <a:pt x="1110" y="494"/>
                  </a:lnTo>
                  <a:lnTo>
                    <a:pt x="1108" y="490"/>
                  </a:lnTo>
                  <a:lnTo>
                    <a:pt x="1104" y="486"/>
                  </a:lnTo>
                  <a:lnTo>
                    <a:pt x="1102" y="486"/>
                  </a:lnTo>
                  <a:lnTo>
                    <a:pt x="1100" y="484"/>
                  </a:lnTo>
                  <a:lnTo>
                    <a:pt x="1098" y="484"/>
                  </a:lnTo>
                  <a:lnTo>
                    <a:pt x="1096" y="476"/>
                  </a:lnTo>
                  <a:lnTo>
                    <a:pt x="1094" y="472"/>
                  </a:lnTo>
                  <a:lnTo>
                    <a:pt x="1090" y="470"/>
                  </a:lnTo>
                  <a:lnTo>
                    <a:pt x="1090" y="464"/>
                  </a:lnTo>
                  <a:lnTo>
                    <a:pt x="1090" y="460"/>
                  </a:lnTo>
                  <a:lnTo>
                    <a:pt x="1088" y="458"/>
                  </a:lnTo>
                  <a:lnTo>
                    <a:pt x="1088" y="458"/>
                  </a:lnTo>
                  <a:lnTo>
                    <a:pt x="1088" y="456"/>
                  </a:lnTo>
                  <a:lnTo>
                    <a:pt x="1086" y="454"/>
                  </a:lnTo>
                  <a:lnTo>
                    <a:pt x="1086" y="454"/>
                  </a:lnTo>
                  <a:lnTo>
                    <a:pt x="1086" y="454"/>
                  </a:lnTo>
                  <a:lnTo>
                    <a:pt x="1084" y="452"/>
                  </a:lnTo>
                  <a:lnTo>
                    <a:pt x="1084" y="452"/>
                  </a:lnTo>
                  <a:lnTo>
                    <a:pt x="1084" y="452"/>
                  </a:lnTo>
                  <a:lnTo>
                    <a:pt x="1082" y="450"/>
                  </a:lnTo>
                  <a:lnTo>
                    <a:pt x="1078" y="448"/>
                  </a:lnTo>
                  <a:lnTo>
                    <a:pt x="1076" y="446"/>
                  </a:lnTo>
                  <a:lnTo>
                    <a:pt x="1074" y="442"/>
                  </a:lnTo>
                  <a:lnTo>
                    <a:pt x="1072" y="440"/>
                  </a:lnTo>
                  <a:lnTo>
                    <a:pt x="1070" y="438"/>
                  </a:lnTo>
                  <a:lnTo>
                    <a:pt x="1070" y="434"/>
                  </a:lnTo>
                  <a:lnTo>
                    <a:pt x="1070" y="432"/>
                  </a:lnTo>
                  <a:lnTo>
                    <a:pt x="1070" y="428"/>
                  </a:lnTo>
                  <a:lnTo>
                    <a:pt x="1072" y="428"/>
                  </a:lnTo>
                  <a:lnTo>
                    <a:pt x="1072" y="426"/>
                  </a:lnTo>
                  <a:lnTo>
                    <a:pt x="1072" y="426"/>
                  </a:lnTo>
                  <a:lnTo>
                    <a:pt x="1074" y="424"/>
                  </a:lnTo>
                  <a:lnTo>
                    <a:pt x="1074" y="422"/>
                  </a:lnTo>
                  <a:lnTo>
                    <a:pt x="1074" y="418"/>
                  </a:lnTo>
                  <a:lnTo>
                    <a:pt x="1074" y="414"/>
                  </a:lnTo>
                  <a:lnTo>
                    <a:pt x="1076" y="412"/>
                  </a:lnTo>
                  <a:lnTo>
                    <a:pt x="1076" y="412"/>
                  </a:lnTo>
                  <a:lnTo>
                    <a:pt x="1076" y="410"/>
                  </a:lnTo>
                  <a:lnTo>
                    <a:pt x="1078" y="410"/>
                  </a:lnTo>
                  <a:lnTo>
                    <a:pt x="1082" y="412"/>
                  </a:lnTo>
                  <a:lnTo>
                    <a:pt x="1084" y="412"/>
                  </a:lnTo>
                  <a:lnTo>
                    <a:pt x="1086" y="412"/>
                  </a:lnTo>
                  <a:lnTo>
                    <a:pt x="1088" y="414"/>
                  </a:lnTo>
                  <a:lnTo>
                    <a:pt x="1090" y="416"/>
                  </a:lnTo>
                  <a:lnTo>
                    <a:pt x="1094" y="418"/>
                  </a:lnTo>
                  <a:lnTo>
                    <a:pt x="1096" y="420"/>
                  </a:lnTo>
                  <a:lnTo>
                    <a:pt x="1098" y="422"/>
                  </a:lnTo>
                  <a:lnTo>
                    <a:pt x="1100" y="422"/>
                  </a:lnTo>
                  <a:lnTo>
                    <a:pt x="1104" y="424"/>
                  </a:lnTo>
                  <a:lnTo>
                    <a:pt x="1106" y="426"/>
                  </a:lnTo>
                  <a:lnTo>
                    <a:pt x="1106" y="428"/>
                  </a:lnTo>
                  <a:lnTo>
                    <a:pt x="1108" y="432"/>
                  </a:lnTo>
                  <a:lnTo>
                    <a:pt x="1108" y="432"/>
                  </a:lnTo>
                  <a:lnTo>
                    <a:pt x="1110" y="432"/>
                  </a:lnTo>
                  <a:lnTo>
                    <a:pt x="1112" y="436"/>
                  </a:lnTo>
                  <a:lnTo>
                    <a:pt x="1112" y="436"/>
                  </a:lnTo>
                  <a:lnTo>
                    <a:pt x="1112" y="436"/>
                  </a:lnTo>
                  <a:lnTo>
                    <a:pt x="1114" y="438"/>
                  </a:lnTo>
                  <a:lnTo>
                    <a:pt x="1118" y="440"/>
                  </a:lnTo>
                  <a:lnTo>
                    <a:pt x="1122" y="442"/>
                  </a:lnTo>
                  <a:lnTo>
                    <a:pt x="1124" y="444"/>
                  </a:lnTo>
                  <a:lnTo>
                    <a:pt x="1126" y="446"/>
                  </a:lnTo>
                  <a:lnTo>
                    <a:pt x="1128" y="448"/>
                  </a:lnTo>
                  <a:lnTo>
                    <a:pt x="1128" y="452"/>
                  </a:lnTo>
                  <a:lnTo>
                    <a:pt x="1128" y="452"/>
                  </a:lnTo>
                  <a:lnTo>
                    <a:pt x="1132" y="452"/>
                  </a:lnTo>
                  <a:lnTo>
                    <a:pt x="1132" y="452"/>
                  </a:lnTo>
                  <a:lnTo>
                    <a:pt x="1134" y="452"/>
                  </a:lnTo>
                  <a:lnTo>
                    <a:pt x="1136" y="448"/>
                  </a:lnTo>
                  <a:lnTo>
                    <a:pt x="1138" y="444"/>
                  </a:lnTo>
                  <a:lnTo>
                    <a:pt x="1142" y="438"/>
                  </a:lnTo>
                  <a:lnTo>
                    <a:pt x="1142" y="438"/>
                  </a:lnTo>
                  <a:lnTo>
                    <a:pt x="1144" y="436"/>
                  </a:lnTo>
                  <a:lnTo>
                    <a:pt x="1144" y="430"/>
                  </a:lnTo>
                  <a:lnTo>
                    <a:pt x="1144" y="422"/>
                  </a:lnTo>
                  <a:lnTo>
                    <a:pt x="1142" y="414"/>
                  </a:lnTo>
                  <a:lnTo>
                    <a:pt x="1142" y="408"/>
                  </a:lnTo>
                  <a:lnTo>
                    <a:pt x="1142" y="408"/>
                  </a:lnTo>
                  <a:lnTo>
                    <a:pt x="1142" y="406"/>
                  </a:lnTo>
                  <a:lnTo>
                    <a:pt x="1140" y="400"/>
                  </a:lnTo>
                  <a:lnTo>
                    <a:pt x="1140" y="400"/>
                  </a:lnTo>
                  <a:lnTo>
                    <a:pt x="1138" y="400"/>
                  </a:lnTo>
                  <a:lnTo>
                    <a:pt x="1138" y="396"/>
                  </a:lnTo>
                  <a:lnTo>
                    <a:pt x="1136" y="394"/>
                  </a:lnTo>
                  <a:lnTo>
                    <a:pt x="1136" y="394"/>
                  </a:lnTo>
                  <a:lnTo>
                    <a:pt x="1134" y="394"/>
                  </a:lnTo>
                  <a:lnTo>
                    <a:pt x="1132" y="392"/>
                  </a:lnTo>
                  <a:lnTo>
                    <a:pt x="1132" y="392"/>
                  </a:lnTo>
                  <a:lnTo>
                    <a:pt x="1132" y="390"/>
                  </a:lnTo>
                  <a:lnTo>
                    <a:pt x="1130" y="388"/>
                  </a:lnTo>
                  <a:lnTo>
                    <a:pt x="1130" y="388"/>
                  </a:lnTo>
                  <a:lnTo>
                    <a:pt x="1128" y="388"/>
                  </a:lnTo>
                  <a:lnTo>
                    <a:pt x="1126" y="388"/>
                  </a:lnTo>
                  <a:lnTo>
                    <a:pt x="1126" y="388"/>
                  </a:lnTo>
                  <a:lnTo>
                    <a:pt x="1126" y="388"/>
                  </a:lnTo>
                  <a:lnTo>
                    <a:pt x="1122" y="386"/>
                  </a:lnTo>
                  <a:lnTo>
                    <a:pt x="1122" y="386"/>
                  </a:lnTo>
                  <a:lnTo>
                    <a:pt x="1120" y="382"/>
                  </a:lnTo>
                  <a:lnTo>
                    <a:pt x="1118" y="380"/>
                  </a:lnTo>
                  <a:lnTo>
                    <a:pt x="1118" y="378"/>
                  </a:lnTo>
                  <a:lnTo>
                    <a:pt x="1118" y="378"/>
                  </a:lnTo>
                  <a:lnTo>
                    <a:pt x="1118" y="378"/>
                  </a:lnTo>
                  <a:lnTo>
                    <a:pt x="1116" y="378"/>
                  </a:lnTo>
                  <a:lnTo>
                    <a:pt x="1116" y="376"/>
                  </a:lnTo>
                  <a:lnTo>
                    <a:pt x="1114" y="376"/>
                  </a:lnTo>
                  <a:lnTo>
                    <a:pt x="1110" y="374"/>
                  </a:lnTo>
                  <a:lnTo>
                    <a:pt x="1108" y="374"/>
                  </a:lnTo>
                  <a:lnTo>
                    <a:pt x="1108" y="374"/>
                  </a:lnTo>
                  <a:lnTo>
                    <a:pt x="1106" y="372"/>
                  </a:lnTo>
                  <a:lnTo>
                    <a:pt x="1100" y="364"/>
                  </a:lnTo>
                  <a:lnTo>
                    <a:pt x="1094" y="356"/>
                  </a:lnTo>
                  <a:lnTo>
                    <a:pt x="1086" y="348"/>
                  </a:lnTo>
                  <a:lnTo>
                    <a:pt x="1082" y="344"/>
                  </a:lnTo>
                  <a:lnTo>
                    <a:pt x="1078" y="340"/>
                  </a:lnTo>
                  <a:lnTo>
                    <a:pt x="1072" y="336"/>
                  </a:lnTo>
                  <a:lnTo>
                    <a:pt x="1068" y="334"/>
                  </a:lnTo>
                  <a:lnTo>
                    <a:pt x="1062" y="328"/>
                  </a:lnTo>
                  <a:lnTo>
                    <a:pt x="1058" y="326"/>
                  </a:lnTo>
                  <a:lnTo>
                    <a:pt x="1054" y="322"/>
                  </a:lnTo>
                  <a:lnTo>
                    <a:pt x="1052" y="318"/>
                  </a:lnTo>
                  <a:lnTo>
                    <a:pt x="1050" y="316"/>
                  </a:lnTo>
                  <a:lnTo>
                    <a:pt x="1050" y="314"/>
                  </a:lnTo>
                  <a:lnTo>
                    <a:pt x="1050" y="314"/>
                  </a:lnTo>
                  <a:lnTo>
                    <a:pt x="1050" y="314"/>
                  </a:lnTo>
                  <a:lnTo>
                    <a:pt x="1050" y="312"/>
                  </a:lnTo>
                  <a:lnTo>
                    <a:pt x="1050" y="312"/>
                  </a:lnTo>
                  <a:lnTo>
                    <a:pt x="1050" y="312"/>
                  </a:lnTo>
                  <a:lnTo>
                    <a:pt x="1050" y="310"/>
                  </a:lnTo>
                  <a:lnTo>
                    <a:pt x="1050" y="310"/>
                  </a:lnTo>
                  <a:lnTo>
                    <a:pt x="1050" y="308"/>
                  </a:lnTo>
                  <a:lnTo>
                    <a:pt x="1050" y="306"/>
                  </a:lnTo>
                  <a:lnTo>
                    <a:pt x="1050" y="306"/>
                  </a:lnTo>
                  <a:lnTo>
                    <a:pt x="1050" y="306"/>
                  </a:lnTo>
                  <a:lnTo>
                    <a:pt x="1048" y="304"/>
                  </a:lnTo>
                  <a:lnTo>
                    <a:pt x="1048" y="304"/>
                  </a:lnTo>
                  <a:lnTo>
                    <a:pt x="1048" y="304"/>
                  </a:lnTo>
                  <a:lnTo>
                    <a:pt x="1048" y="302"/>
                  </a:lnTo>
                  <a:lnTo>
                    <a:pt x="1048" y="302"/>
                  </a:lnTo>
                  <a:lnTo>
                    <a:pt x="1046" y="302"/>
                  </a:lnTo>
                  <a:lnTo>
                    <a:pt x="1044" y="300"/>
                  </a:lnTo>
                  <a:lnTo>
                    <a:pt x="1044" y="300"/>
                  </a:lnTo>
                  <a:lnTo>
                    <a:pt x="1044" y="300"/>
                  </a:lnTo>
                  <a:lnTo>
                    <a:pt x="1042" y="300"/>
                  </a:lnTo>
                  <a:lnTo>
                    <a:pt x="1040" y="298"/>
                  </a:lnTo>
                  <a:lnTo>
                    <a:pt x="1040" y="294"/>
                  </a:lnTo>
                  <a:lnTo>
                    <a:pt x="1038" y="292"/>
                  </a:lnTo>
                  <a:lnTo>
                    <a:pt x="1038" y="288"/>
                  </a:lnTo>
                  <a:lnTo>
                    <a:pt x="1038" y="286"/>
                  </a:lnTo>
                  <a:lnTo>
                    <a:pt x="1040" y="284"/>
                  </a:lnTo>
                  <a:lnTo>
                    <a:pt x="1040" y="280"/>
                  </a:lnTo>
                  <a:lnTo>
                    <a:pt x="1042" y="278"/>
                  </a:lnTo>
                  <a:lnTo>
                    <a:pt x="1046" y="272"/>
                  </a:lnTo>
                  <a:lnTo>
                    <a:pt x="1050" y="268"/>
                  </a:lnTo>
                  <a:lnTo>
                    <a:pt x="1054" y="262"/>
                  </a:lnTo>
                  <a:lnTo>
                    <a:pt x="1058" y="256"/>
                  </a:lnTo>
                  <a:lnTo>
                    <a:pt x="1058" y="256"/>
                  </a:lnTo>
                  <a:lnTo>
                    <a:pt x="1058" y="252"/>
                  </a:lnTo>
                  <a:lnTo>
                    <a:pt x="1056" y="250"/>
                  </a:lnTo>
                  <a:lnTo>
                    <a:pt x="1056" y="250"/>
                  </a:lnTo>
                  <a:lnTo>
                    <a:pt x="1054" y="250"/>
                  </a:lnTo>
                  <a:lnTo>
                    <a:pt x="1052" y="248"/>
                  </a:lnTo>
                  <a:lnTo>
                    <a:pt x="1052" y="248"/>
                  </a:lnTo>
                  <a:lnTo>
                    <a:pt x="1052" y="248"/>
                  </a:lnTo>
                  <a:lnTo>
                    <a:pt x="1050" y="246"/>
                  </a:lnTo>
                  <a:lnTo>
                    <a:pt x="1050" y="246"/>
                  </a:lnTo>
                  <a:lnTo>
                    <a:pt x="1048" y="246"/>
                  </a:lnTo>
                  <a:lnTo>
                    <a:pt x="1046" y="246"/>
                  </a:lnTo>
                  <a:lnTo>
                    <a:pt x="1046" y="246"/>
                  </a:lnTo>
                  <a:lnTo>
                    <a:pt x="1046" y="246"/>
                  </a:lnTo>
                  <a:lnTo>
                    <a:pt x="1044" y="248"/>
                  </a:lnTo>
                  <a:lnTo>
                    <a:pt x="1040" y="248"/>
                  </a:lnTo>
                  <a:lnTo>
                    <a:pt x="1034" y="250"/>
                  </a:lnTo>
                  <a:lnTo>
                    <a:pt x="1034" y="250"/>
                  </a:lnTo>
                  <a:lnTo>
                    <a:pt x="1034" y="250"/>
                  </a:lnTo>
                  <a:lnTo>
                    <a:pt x="1030" y="252"/>
                  </a:lnTo>
                  <a:lnTo>
                    <a:pt x="1030" y="252"/>
                  </a:lnTo>
                  <a:lnTo>
                    <a:pt x="1030" y="252"/>
                  </a:lnTo>
                  <a:lnTo>
                    <a:pt x="1028" y="254"/>
                  </a:lnTo>
                  <a:lnTo>
                    <a:pt x="1028" y="254"/>
                  </a:lnTo>
                  <a:lnTo>
                    <a:pt x="1028" y="256"/>
                  </a:lnTo>
                  <a:lnTo>
                    <a:pt x="1028" y="258"/>
                  </a:lnTo>
                  <a:lnTo>
                    <a:pt x="1026" y="260"/>
                  </a:lnTo>
                  <a:lnTo>
                    <a:pt x="1024" y="264"/>
                  </a:lnTo>
                  <a:lnTo>
                    <a:pt x="1022" y="266"/>
                  </a:lnTo>
                  <a:lnTo>
                    <a:pt x="1020" y="268"/>
                  </a:lnTo>
                  <a:lnTo>
                    <a:pt x="1020" y="268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20" y="270"/>
                  </a:lnTo>
                  <a:lnTo>
                    <a:pt x="1018" y="268"/>
                  </a:lnTo>
                  <a:lnTo>
                    <a:pt x="1018" y="264"/>
                  </a:lnTo>
                  <a:lnTo>
                    <a:pt x="1016" y="260"/>
                  </a:lnTo>
                  <a:lnTo>
                    <a:pt x="1016" y="258"/>
                  </a:lnTo>
                  <a:lnTo>
                    <a:pt x="1016" y="258"/>
                  </a:lnTo>
                  <a:lnTo>
                    <a:pt x="1016" y="256"/>
                  </a:lnTo>
                  <a:lnTo>
                    <a:pt x="1014" y="254"/>
                  </a:lnTo>
                  <a:lnTo>
                    <a:pt x="1014" y="254"/>
                  </a:lnTo>
                  <a:lnTo>
                    <a:pt x="1014" y="252"/>
                  </a:lnTo>
                  <a:lnTo>
                    <a:pt x="1014" y="248"/>
                  </a:lnTo>
                  <a:lnTo>
                    <a:pt x="1014" y="246"/>
                  </a:lnTo>
                  <a:lnTo>
                    <a:pt x="1014" y="244"/>
                  </a:lnTo>
                  <a:lnTo>
                    <a:pt x="1014" y="242"/>
                  </a:lnTo>
                  <a:lnTo>
                    <a:pt x="1014" y="240"/>
                  </a:lnTo>
                  <a:lnTo>
                    <a:pt x="1016" y="238"/>
                  </a:lnTo>
                  <a:lnTo>
                    <a:pt x="1018" y="238"/>
                  </a:lnTo>
                  <a:lnTo>
                    <a:pt x="1018" y="238"/>
                  </a:lnTo>
                  <a:lnTo>
                    <a:pt x="1020" y="236"/>
                  </a:lnTo>
                  <a:lnTo>
                    <a:pt x="1022" y="234"/>
                  </a:lnTo>
                  <a:lnTo>
                    <a:pt x="1022" y="234"/>
                  </a:lnTo>
                  <a:lnTo>
                    <a:pt x="1022" y="232"/>
                  </a:lnTo>
                  <a:lnTo>
                    <a:pt x="1024" y="230"/>
                  </a:lnTo>
                  <a:lnTo>
                    <a:pt x="1024" y="230"/>
                  </a:lnTo>
                  <a:lnTo>
                    <a:pt x="1024" y="230"/>
                  </a:lnTo>
                  <a:lnTo>
                    <a:pt x="1026" y="226"/>
                  </a:lnTo>
                  <a:lnTo>
                    <a:pt x="1026" y="222"/>
                  </a:lnTo>
                  <a:lnTo>
                    <a:pt x="1026" y="222"/>
                  </a:lnTo>
                  <a:lnTo>
                    <a:pt x="1026" y="218"/>
                  </a:lnTo>
                  <a:lnTo>
                    <a:pt x="1024" y="216"/>
                  </a:lnTo>
                  <a:lnTo>
                    <a:pt x="1022" y="216"/>
                  </a:lnTo>
                  <a:lnTo>
                    <a:pt x="1022" y="214"/>
                  </a:lnTo>
                  <a:lnTo>
                    <a:pt x="1020" y="212"/>
                  </a:lnTo>
                  <a:lnTo>
                    <a:pt x="1020" y="212"/>
                  </a:lnTo>
                  <a:lnTo>
                    <a:pt x="1020" y="212"/>
                  </a:lnTo>
                  <a:lnTo>
                    <a:pt x="1020" y="210"/>
                  </a:lnTo>
                  <a:lnTo>
                    <a:pt x="1020" y="210"/>
                  </a:lnTo>
                  <a:lnTo>
                    <a:pt x="1018" y="210"/>
                  </a:lnTo>
                  <a:lnTo>
                    <a:pt x="1016" y="210"/>
                  </a:lnTo>
                  <a:lnTo>
                    <a:pt x="1016" y="210"/>
                  </a:lnTo>
                  <a:lnTo>
                    <a:pt x="1016" y="210"/>
                  </a:lnTo>
                  <a:lnTo>
                    <a:pt x="1014" y="210"/>
                  </a:lnTo>
                  <a:lnTo>
                    <a:pt x="1014" y="210"/>
                  </a:lnTo>
                  <a:lnTo>
                    <a:pt x="1014" y="210"/>
                  </a:lnTo>
                  <a:lnTo>
                    <a:pt x="1010" y="210"/>
                  </a:lnTo>
                  <a:lnTo>
                    <a:pt x="1010" y="210"/>
                  </a:lnTo>
                  <a:lnTo>
                    <a:pt x="1010" y="212"/>
                  </a:lnTo>
                  <a:lnTo>
                    <a:pt x="1006" y="214"/>
                  </a:lnTo>
                  <a:lnTo>
                    <a:pt x="1004" y="216"/>
                  </a:lnTo>
                  <a:lnTo>
                    <a:pt x="1000" y="222"/>
                  </a:lnTo>
                  <a:lnTo>
                    <a:pt x="996" y="226"/>
                  </a:lnTo>
                  <a:lnTo>
                    <a:pt x="994" y="228"/>
                  </a:lnTo>
                  <a:lnTo>
                    <a:pt x="992" y="230"/>
                  </a:lnTo>
                  <a:lnTo>
                    <a:pt x="992" y="230"/>
                  </a:lnTo>
                  <a:lnTo>
                    <a:pt x="990" y="232"/>
                  </a:lnTo>
                  <a:lnTo>
                    <a:pt x="990" y="234"/>
                  </a:lnTo>
                  <a:lnTo>
                    <a:pt x="990" y="234"/>
                  </a:lnTo>
                  <a:lnTo>
                    <a:pt x="990" y="234"/>
                  </a:lnTo>
                  <a:lnTo>
                    <a:pt x="988" y="234"/>
                  </a:lnTo>
                  <a:lnTo>
                    <a:pt x="986" y="234"/>
                  </a:lnTo>
                  <a:lnTo>
                    <a:pt x="984" y="232"/>
                  </a:lnTo>
                  <a:lnTo>
                    <a:pt x="982" y="232"/>
                  </a:lnTo>
                  <a:lnTo>
                    <a:pt x="980" y="230"/>
                  </a:lnTo>
                  <a:lnTo>
                    <a:pt x="980" y="228"/>
                  </a:lnTo>
                  <a:lnTo>
                    <a:pt x="978" y="226"/>
                  </a:lnTo>
                  <a:lnTo>
                    <a:pt x="978" y="226"/>
                  </a:lnTo>
                  <a:lnTo>
                    <a:pt x="976" y="224"/>
                  </a:lnTo>
                  <a:lnTo>
                    <a:pt x="972" y="220"/>
                  </a:lnTo>
                  <a:lnTo>
                    <a:pt x="970" y="218"/>
                  </a:lnTo>
                  <a:lnTo>
                    <a:pt x="970" y="216"/>
                  </a:lnTo>
                  <a:lnTo>
                    <a:pt x="970" y="214"/>
                  </a:lnTo>
                  <a:lnTo>
                    <a:pt x="968" y="210"/>
                  </a:lnTo>
                  <a:lnTo>
                    <a:pt x="968" y="210"/>
                  </a:lnTo>
                  <a:lnTo>
                    <a:pt x="968" y="210"/>
                  </a:lnTo>
                  <a:lnTo>
                    <a:pt x="968" y="208"/>
                  </a:lnTo>
                  <a:lnTo>
                    <a:pt x="968" y="208"/>
                  </a:lnTo>
                  <a:lnTo>
                    <a:pt x="968" y="208"/>
                  </a:lnTo>
                  <a:lnTo>
                    <a:pt x="966" y="206"/>
                  </a:lnTo>
                  <a:lnTo>
                    <a:pt x="966" y="206"/>
                  </a:lnTo>
                  <a:lnTo>
                    <a:pt x="966" y="206"/>
                  </a:lnTo>
                  <a:lnTo>
                    <a:pt x="964" y="204"/>
                  </a:lnTo>
                  <a:lnTo>
                    <a:pt x="962" y="202"/>
                  </a:lnTo>
                  <a:lnTo>
                    <a:pt x="962" y="202"/>
                  </a:lnTo>
                  <a:lnTo>
                    <a:pt x="962" y="198"/>
                  </a:lnTo>
                  <a:lnTo>
                    <a:pt x="964" y="196"/>
                  </a:lnTo>
                  <a:lnTo>
                    <a:pt x="964" y="194"/>
                  </a:lnTo>
                  <a:lnTo>
                    <a:pt x="964" y="192"/>
                  </a:lnTo>
                  <a:lnTo>
                    <a:pt x="966" y="192"/>
                  </a:lnTo>
                  <a:lnTo>
                    <a:pt x="968" y="190"/>
                  </a:lnTo>
                  <a:lnTo>
                    <a:pt x="968" y="190"/>
                  </a:lnTo>
                  <a:lnTo>
                    <a:pt x="968" y="188"/>
                  </a:lnTo>
                  <a:lnTo>
                    <a:pt x="970" y="186"/>
                  </a:lnTo>
                  <a:lnTo>
                    <a:pt x="970" y="186"/>
                  </a:lnTo>
                  <a:lnTo>
                    <a:pt x="970" y="184"/>
                  </a:lnTo>
                  <a:lnTo>
                    <a:pt x="972" y="182"/>
                  </a:lnTo>
                  <a:lnTo>
                    <a:pt x="972" y="182"/>
                  </a:lnTo>
                  <a:lnTo>
                    <a:pt x="972" y="180"/>
                  </a:lnTo>
                  <a:lnTo>
                    <a:pt x="972" y="178"/>
                  </a:lnTo>
                  <a:lnTo>
                    <a:pt x="972" y="178"/>
                  </a:lnTo>
                  <a:lnTo>
                    <a:pt x="972" y="176"/>
                  </a:lnTo>
                  <a:lnTo>
                    <a:pt x="970" y="174"/>
                  </a:lnTo>
                  <a:lnTo>
                    <a:pt x="970" y="174"/>
                  </a:lnTo>
                  <a:lnTo>
                    <a:pt x="970" y="174"/>
                  </a:lnTo>
                  <a:lnTo>
                    <a:pt x="968" y="170"/>
                  </a:lnTo>
                  <a:lnTo>
                    <a:pt x="968" y="170"/>
                  </a:lnTo>
                  <a:lnTo>
                    <a:pt x="968" y="170"/>
                  </a:lnTo>
                  <a:lnTo>
                    <a:pt x="966" y="168"/>
                  </a:lnTo>
                  <a:lnTo>
                    <a:pt x="966" y="168"/>
                  </a:lnTo>
                  <a:lnTo>
                    <a:pt x="966" y="168"/>
                  </a:lnTo>
                  <a:lnTo>
                    <a:pt x="962" y="164"/>
                  </a:lnTo>
                  <a:lnTo>
                    <a:pt x="960" y="162"/>
                  </a:lnTo>
                  <a:lnTo>
                    <a:pt x="958" y="160"/>
                  </a:lnTo>
                  <a:lnTo>
                    <a:pt x="954" y="156"/>
                  </a:lnTo>
                  <a:lnTo>
                    <a:pt x="950" y="152"/>
                  </a:lnTo>
                  <a:lnTo>
                    <a:pt x="950" y="152"/>
                  </a:lnTo>
                  <a:lnTo>
                    <a:pt x="948" y="152"/>
                  </a:lnTo>
                  <a:lnTo>
                    <a:pt x="946" y="150"/>
                  </a:lnTo>
                  <a:lnTo>
                    <a:pt x="946" y="150"/>
                  </a:lnTo>
                  <a:lnTo>
                    <a:pt x="946" y="150"/>
                  </a:lnTo>
                  <a:lnTo>
                    <a:pt x="944" y="150"/>
                  </a:lnTo>
                  <a:lnTo>
                    <a:pt x="942" y="148"/>
                  </a:lnTo>
                  <a:lnTo>
                    <a:pt x="942" y="148"/>
                  </a:lnTo>
                  <a:lnTo>
                    <a:pt x="942" y="148"/>
                  </a:lnTo>
                  <a:lnTo>
                    <a:pt x="940" y="148"/>
                  </a:lnTo>
                  <a:lnTo>
                    <a:pt x="940" y="148"/>
                  </a:lnTo>
                  <a:lnTo>
                    <a:pt x="938" y="148"/>
                  </a:lnTo>
                  <a:lnTo>
                    <a:pt x="936" y="148"/>
                  </a:lnTo>
                  <a:lnTo>
                    <a:pt x="936" y="148"/>
                  </a:lnTo>
                  <a:lnTo>
                    <a:pt x="936" y="148"/>
                  </a:lnTo>
                  <a:lnTo>
                    <a:pt x="934" y="148"/>
                  </a:lnTo>
                  <a:lnTo>
                    <a:pt x="934" y="148"/>
                  </a:lnTo>
                  <a:lnTo>
                    <a:pt x="934" y="148"/>
                  </a:lnTo>
                  <a:lnTo>
                    <a:pt x="930" y="150"/>
                  </a:lnTo>
                  <a:lnTo>
                    <a:pt x="930" y="150"/>
                  </a:lnTo>
                  <a:lnTo>
                    <a:pt x="930" y="150"/>
                  </a:lnTo>
                  <a:lnTo>
                    <a:pt x="926" y="152"/>
                  </a:lnTo>
                  <a:lnTo>
                    <a:pt x="926" y="152"/>
                  </a:lnTo>
                  <a:lnTo>
                    <a:pt x="924" y="154"/>
                  </a:lnTo>
                  <a:lnTo>
                    <a:pt x="924" y="156"/>
                  </a:lnTo>
                  <a:lnTo>
                    <a:pt x="922" y="160"/>
                  </a:lnTo>
                  <a:lnTo>
                    <a:pt x="922" y="160"/>
                  </a:lnTo>
                  <a:lnTo>
                    <a:pt x="922" y="160"/>
                  </a:lnTo>
                  <a:lnTo>
                    <a:pt x="922" y="162"/>
                  </a:lnTo>
                  <a:lnTo>
                    <a:pt x="922" y="162"/>
                  </a:lnTo>
                  <a:lnTo>
                    <a:pt x="922" y="162"/>
                  </a:lnTo>
                  <a:lnTo>
                    <a:pt x="922" y="164"/>
                  </a:lnTo>
                  <a:lnTo>
                    <a:pt x="922" y="164"/>
                  </a:lnTo>
                  <a:lnTo>
                    <a:pt x="922" y="166"/>
                  </a:lnTo>
                  <a:lnTo>
                    <a:pt x="922" y="168"/>
                  </a:lnTo>
                  <a:lnTo>
                    <a:pt x="922" y="168"/>
                  </a:lnTo>
                  <a:lnTo>
                    <a:pt x="922" y="168"/>
                  </a:lnTo>
                  <a:lnTo>
                    <a:pt x="924" y="170"/>
                  </a:lnTo>
                  <a:lnTo>
                    <a:pt x="924" y="170"/>
                  </a:lnTo>
                  <a:lnTo>
                    <a:pt x="924" y="172"/>
                  </a:lnTo>
                  <a:lnTo>
                    <a:pt x="926" y="172"/>
                  </a:lnTo>
                  <a:lnTo>
                    <a:pt x="926" y="172"/>
                  </a:lnTo>
                  <a:lnTo>
                    <a:pt x="928" y="172"/>
                  </a:lnTo>
                  <a:lnTo>
                    <a:pt x="930" y="174"/>
                  </a:lnTo>
                  <a:lnTo>
                    <a:pt x="932" y="174"/>
                  </a:lnTo>
                  <a:lnTo>
                    <a:pt x="932" y="174"/>
                  </a:lnTo>
                  <a:lnTo>
                    <a:pt x="932" y="174"/>
                  </a:lnTo>
                  <a:lnTo>
                    <a:pt x="932" y="176"/>
                  </a:lnTo>
                  <a:lnTo>
                    <a:pt x="932" y="176"/>
                  </a:lnTo>
                  <a:lnTo>
                    <a:pt x="932" y="178"/>
                  </a:lnTo>
                  <a:lnTo>
                    <a:pt x="930" y="180"/>
                  </a:lnTo>
                  <a:lnTo>
                    <a:pt x="928" y="182"/>
                  </a:lnTo>
                  <a:lnTo>
                    <a:pt x="926" y="184"/>
                  </a:lnTo>
                  <a:lnTo>
                    <a:pt x="926" y="184"/>
                  </a:lnTo>
                  <a:lnTo>
                    <a:pt x="924" y="186"/>
                  </a:lnTo>
                  <a:lnTo>
                    <a:pt x="924" y="190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4" y="192"/>
                  </a:lnTo>
                  <a:lnTo>
                    <a:pt x="922" y="192"/>
                  </a:lnTo>
                  <a:lnTo>
                    <a:pt x="920" y="192"/>
                  </a:lnTo>
                  <a:lnTo>
                    <a:pt x="918" y="188"/>
                  </a:lnTo>
                  <a:lnTo>
                    <a:pt x="918" y="188"/>
                  </a:lnTo>
                  <a:lnTo>
                    <a:pt x="918" y="188"/>
                  </a:lnTo>
                  <a:lnTo>
                    <a:pt x="914" y="184"/>
                  </a:lnTo>
                  <a:lnTo>
                    <a:pt x="914" y="184"/>
                  </a:lnTo>
                  <a:lnTo>
                    <a:pt x="914" y="184"/>
                  </a:lnTo>
                  <a:lnTo>
                    <a:pt x="910" y="180"/>
                  </a:lnTo>
                  <a:lnTo>
                    <a:pt x="906" y="178"/>
                  </a:lnTo>
                  <a:lnTo>
                    <a:pt x="906" y="176"/>
                  </a:lnTo>
                  <a:lnTo>
                    <a:pt x="904" y="176"/>
                  </a:lnTo>
                  <a:lnTo>
                    <a:pt x="904" y="176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4" y="174"/>
                  </a:lnTo>
                  <a:lnTo>
                    <a:pt x="900" y="174"/>
                  </a:lnTo>
                  <a:lnTo>
                    <a:pt x="898" y="174"/>
                  </a:lnTo>
                  <a:lnTo>
                    <a:pt x="898" y="174"/>
                  </a:lnTo>
                  <a:lnTo>
                    <a:pt x="898" y="174"/>
                  </a:lnTo>
                  <a:lnTo>
                    <a:pt x="896" y="176"/>
                  </a:lnTo>
                  <a:lnTo>
                    <a:pt x="896" y="176"/>
                  </a:lnTo>
                  <a:lnTo>
                    <a:pt x="896" y="176"/>
                  </a:lnTo>
                  <a:lnTo>
                    <a:pt x="892" y="178"/>
                  </a:lnTo>
                  <a:lnTo>
                    <a:pt x="890" y="180"/>
                  </a:lnTo>
                  <a:lnTo>
                    <a:pt x="888" y="182"/>
                  </a:lnTo>
                  <a:lnTo>
                    <a:pt x="888" y="184"/>
                  </a:lnTo>
                  <a:lnTo>
                    <a:pt x="886" y="184"/>
                  </a:lnTo>
                  <a:lnTo>
                    <a:pt x="886" y="184"/>
                  </a:lnTo>
                  <a:lnTo>
                    <a:pt x="886" y="184"/>
                  </a:lnTo>
                  <a:lnTo>
                    <a:pt x="884" y="190"/>
                  </a:lnTo>
                  <a:lnTo>
                    <a:pt x="884" y="192"/>
                  </a:lnTo>
                  <a:lnTo>
                    <a:pt x="882" y="190"/>
                  </a:lnTo>
                  <a:lnTo>
                    <a:pt x="880" y="186"/>
                  </a:lnTo>
                  <a:lnTo>
                    <a:pt x="880" y="184"/>
                  </a:lnTo>
                  <a:lnTo>
                    <a:pt x="882" y="184"/>
                  </a:lnTo>
                  <a:lnTo>
                    <a:pt x="882" y="182"/>
                  </a:lnTo>
                  <a:lnTo>
                    <a:pt x="884" y="180"/>
                  </a:lnTo>
                  <a:lnTo>
                    <a:pt x="890" y="174"/>
                  </a:lnTo>
                  <a:lnTo>
                    <a:pt x="892" y="172"/>
                  </a:lnTo>
                  <a:lnTo>
                    <a:pt x="892" y="172"/>
                  </a:lnTo>
                  <a:lnTo>
                    <a:pt x="892" y="172"/>
                  </a:lnTo>
                  <a:lnTo>
                    <a:pt x="894" y="168"/>
                  </a:lnTo>
                  <a:lnTo>
                    <a:pt x="894" y="168"/>
                  </a:lnTo>
                  <a:lnTo>
                    <a:pt x="894" y="166"/>
                  </a:lnTo>
                  <a:lnTo>
                    <a:pt x="894" y="158"/>
                  </a:lnTo>
                  <a:lnTo>
                    <a:pt x="894" y="148"/>
                  </a:lnTo>
                  <a:lnTo>
                    <a:pt x="892" y="140"/>
                  </a:lnTo>
                  <a:lnTo>
                    <a:pt x="890" y="13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8" y="120"/>
                  </a:lnTo>
                  <a:lnTo>
                    <a:pt x="882" y="112"/>
                  </a:lnTo>
                  <a:lnTo>
                    <a:pt x="882" y="112"/>
                  </a:lnTo>
                  <a:lnTo>
                    <a:pt x="882" y="112"/>
                  </a:lnTo>
                  <a:lnTo>
                    <a:pt x="880" y="108"/>
                  </a:lnTo>
                  <a:lnTo>
                    <a:pt x="878" y="106"/>
                  </a:lnTo>
                  <a:lnTo>
                    <a:pt x="878" y="106"/>
                  </a:lnTo>
                  <a:lnTo>
                    <a:pt x="876" y="106"/>
                  </a:lnTo>
                  <a:lnTo>
                    <a:pt x="874" y="102"/>
                  </a:lnTo>
                  <a:lnTo>
                    <a:pt x="870" y="100"/>
                  </a:lnTo>
                  <a:lnTo>
                    <a:pt x="870" y="100"/>
                  </a:lnTo>
                  <a:lnTo>
                    <a:pt x="868" y="100"/>
                  </a:lnTo>
                  <a:lnTo>
                    <a:pt x="864" y="100"/>
                  </a:lnTo>
                  <a:lnTo>
                    <a:pt x="860" y="102"/>
                  </a:lnTo>
                  <a:lnTo>
                    <a:pt x="858" y="102"/>
                  </a:lnTo>
                  <a:lnTo>
                    <a:pt x="854" y="104"/>
                  </a:lnTo>
                  <a:lnTo>
                    <a:pt x="852" y="104"/>
                  </a:lnTo>
                  <a:lnTo>
                    <a:pt x="850" y="106"/>
                  </a:lnTo>
                  <a:lnTo>
                    <a:pt x="850" y="106"/>
                  </a:lnTo>
                  <a:lnTo>
                    <a:pt x="850" y="106"/>
                  </a:lnTo>
                  <a:lnTo>
                    <a:pt x="848" y="108"/>
                  </a:lnTo>
                  <a:lnTo>
                    <a:pt x="844" y="110"/>
                  </a:lnTo>
                  <a:lnTo>
                    <a:pt x="842" y="112"/>
                  </a:lnTo>
                  <a:lnTo>
                    <a:pt x="840" y="114"/>
                  </a:lnTo>
                  <a:lnTo>
                    <a:pt x="838" y="116"/>
                  </a:lnTo>
                  <a:lnTo>
                    <a:pt x="836" y="116"/>
                  </a:lnTo>
                  <a:lnTo>
                    <a:pt x="836" y="116"/>
                  </a:lnTo>
                  <a:lnTo>
                    <a:pt x="834" y="116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2" y="120"/>
                  </a:lnTo>
                  <a:lnTo>
                    <a:pt x="830" y="122"/>
                  </a:lnTo>
                  <a:lnTo>
                    <a:pt x="830" y="122"/>
                  </a:lnTo>
                  <a:lnTo>
                    <a:pt x="830" y="124"/>
                  </a:lnTo>
                  <a:lnTo>
                    <a:pt x="828" y="126"/>
                  </a:lnTo>
                  <a:lnTo>
                    <a:pt x="828" y="130"/>
                  </a:lnTo>
                  <a:lnTo>
                    <a:pt x="826" y="134"/>
                  </a:lnTo>
                  <a:lnTo>
                    <a:pt x="826" y="136"/>
                  </a:lnTo>
                  <a:lnTo>
                    <a:pt x="824" y="140"/>
                  </a:lnTo>
                  <a:lnTo>
                    <a:pt x="824" y="140"/>
                  </a:lnTo>
                  <a:lnTo>
                    <a:pt x="822" y="142"/>
                  </a:lnTo>
                  <a:lnTo>
                    <a:pt x="822" y="142"/>
                  </a:lnTo>
                  <a:lnTo>
                    <a:pt x="820" y="142"/>
                  </a:lnTo>
                  <a:lnTo>
                    <a:pt x="820" y="146"/>
                  </a:lnTo>
                  <a:lnTo>
                    <a:pt x="820" y="146"/>
                  </a:lnTo>
                  <a:lnTo>
                    <a:pt x="820" y="146"/>
                  </a:lnTo>
                  <a:lnTo>
                    <a:pt x="820" y="150"/>
                  </a:lnTo>
                  <a:lnTo>
                    <a:pt x="820" y="150"/>
                  </a:lnTo>
                  <a:lnTo>
                    <a:pt x="820" y="150"/>
                  </a:lnTo>
                  <a:lnTo>
                    <a:pt x="820" y="154"/>
                  </a:lnTo>
                  <a:lnTo>
                    <a:pt x="820" y="158"/>
                  </a:lnTo>
                  <a:lnTo>
                    <a:pt x="820" y="162"/>
                  </a:lnTo>
                  <a:lnTo>
                    <a:pt x="822" y="166"/>
                  </a:lnTo>
                  <a:lnTo>
                    <a:pt x="824" y="168"/>
                  </a:lnTo>
                  <a:lnTo>
                    <a:pt x="824" y="170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4" y="182"/>
                  </a:lnTo>
                  <a:lnTo>
                    <a:pt x="824" y="184"/>
                  </a:lnTo>
                  <a:lnTo>
                    <a:pt x="824" y="184"/>
                  </a:lnTo>
                  <a:lnTo>
                    <a:pt x="824" y="186"/>
                  </a:lnTo>
                  <a:lnTo>
                    <a:pt x="822" y="186"/>
                  </a:lnTo>
                  <a:lnTo>
                    <a:pt x="822" y="186"/>
                  </a:lnTo>
                  <a:lnTo>
                    <a:pt x="822" y="186"/>
                  </a:lnTo>
                  <a:lnTo>
                    <a:pt x="820" y="188"/>
                  </a:lnTo>
                  <a:lnTo>
                    <a:pt x="820" y="188"/>
                  </a:lnTo>
                  <a:lnTo>
                    <a:pt x="820" y="188"/>
                  </a:lnTo>
                  <a:lnTo>
                    <a:pt x="820" y="192"/>
                  </a:lnTo>
                  <a:lnTo>
                    <a:pt x="820" y="192"/>
                  </a:lnTo>
                  <a:lnTo>
                    <a:pt x="820" y="192"/>
                  </a:lnTo>
                  <a:lnTo>
                    <a:pt x="822" y="192"/>
                  </a:lnTo>
                  <a:lnTo>
                    <a:pt x="824" y="194"/>
                  </a:lnTo>
                  <a:lnTo>
                    <a:pt x="824" y="194"/>
                  </a:lnTo>
                  <a:lnTo>
                    <a:pt x="826" y="196"/>
                  </a:lnTo>
                  <a:lnTo>
                    <a:pt x="828" y="198"/>
                  </a:lnTo>
                  <a:lnTo>
                    <a:pt x="830" y="200"/>
                  </a:lnTo>
                  <a:lnTo>
                    <a:pt x="830" y="200"/>
                  </a:lnTo>
                  <a:lnTo>
                    <a:pt x="830" y="200"/>
                  </a:lnTo>
                  <a:lnTo>
                    <a:pt x="830" y="202"/>
                  </a:lnTo>
                  <a:lnTo>
                    <a:pt x="830" y="202"/>
                  </a:lnTo>
                  <a:lnTo>
                    <a:pt x="828" y="204"/>
                  </a:lnTo>
                  <a:lnTo>
                    <a:pt x="828" y="204"/>
                  </a:lnTo>
                  <a:lnTo>
                    <a:pt x="828" y="206"/>
                  </a:lnTo>
                  <a:lnTo>
                    <a:pt x="826" y="210"/>
                  </a:lnTo>
                  <a:lnTo>
                    <a:pt x="826" y="212"/>
                  </a:lnTo>
                  <a:lnTo>
                    <a:pt x="824" y="216"/>
                  </a:lnTo>
                  <a:lnTo>
                    <a:pt x="822" y="220"/>
                  </a:lnTo>
                  <a:lnTo>
                    <a:pt x="822" y="220"/>
                  </a:lnTo>
                  <a:lnTo>
                    <a:pt x="820" y="222"/>
                  </a:lnTo>
                  <a:lnTo>
                    <a:pt x="818" y="224"/>
                  </a:lnTo>
                  <a:lnTo>
                    <a:pt x="816" y="224"/>
                  </a:lnTo>
                  <a:lnTo>
                    <a:pt x="818" y="222"/>
                  </a:lnTo>
                  <a:lnTo>
                    <a:pt x="820" y="220"/>
                  </a:lnTo>
                  <a:lnTo>
                    <a:pt x="822" y="216"/>
                  </a:lnTo>
                  <a:lnTo>
                    <a:pt x="824" y="216"/>
                  </a:lnTo>
                  <a:lnTo>
                    <a:pt x="824" y="216"/>
                  </a:lnTo>
                  <a:lnTo>
                    <a:pt x="824" y="216"/>
                  </a:lnTo>
                  <a:lnTo>
                    <a:pt x="824" y="214"/>
                  </a:lnTo>
                  <a:lnTo>
                    <a:pt x="824" y="214"/>
                  </a:lnTo>
                  <a:lnTo>
                    <a:pt x="824" y="212"/>
                  </a:lnTo>
                  <a:lnTo>
                    <a:pt x="824" y="212"/>
                  </a:lnTo>
                  <a:lnTo>
                    <a:pt x="824" y="212"/>
                  </a:lnTo>
                  <a:lnTo>
                    <a:pt x="824" y="210"/>
                  </a:lnTo>
                  <a:lnTo>
                    <a:pt x="824" y="210"/>
                  </a:lnTo>
                  <a:lnTo>
                    <a:pt x="822" y="208"/>
                  </a:lnTo>
                  <a:lnTo>
                    <a:pt x="822" y="208"/>
                  </a:lnTo>
                  <a:lnTo>
                    <a:pt x="822" y="208"/>
                  </a:lnTo>
                  <a:lnTo>
                    <a:pt x="822" y="206"/>
                  </a:lnTo>
                  <a:lnTo>
                    <a:pt x="820" y="202"/>
                  </a:lnTo>
                  <a:lnTo>
                    <a:pt x="816" y="200"/>
                  </a:lnTo>
                  <a:lnTo>
                    <a:pt x="812" y="194"/>
                  </a:lnTo>
                  <a:lnTo>
                    <a:pt x="810" y="190"/>
                  </a:lnTo>
                  <a:lnTo>
                    <a:pt x="808" y="188"/>
                  </a:lnTo>
                  <a:lnTo>
                    <a:pt x="806" y="182"/>
                  </a:lnTo>
                  <a:lnTo>
                    <a:pt x="806" y="176"/>
                  </a:lnTo>
                  <a:lnTo>
                    <a:pt x="806" y="168"/>
                  </a:lnTo>
                  <a:lnTo>
                    <a:pt x="806" y="162"/>
                  </a:lnTo>
                  <a:lnTo>
                    <a:pt x="806" y="156"/>
                  </a:lnTo>
                  <a:lnTo>
                    <a:pt x="808" y="152"/>
                  </a:lnTo>
                  <a:lnTo>
                    <a:pt x="810" y="142"/>
                  </a:lnTo>
                  <a:lnTo>
                    <a:pt x="812" y="132"/>
                  </a:lnTo>
                  <a:lnTo>
                    <a:pt x="814" y="126"/>
                  </a:lnTo>
                  <a:lnTo>
                    <a:pt x="814" y="122"/>
                  </a:lnTo>
                  <a:lnTo>
                    <a:pt x="816" y="120"/>
                  </a:lnTo>
                  <a:lnTo>
                    <a:pt x="818" y="116"/>
                  </a:lnTo>
                  <a:lnTo>
                    <a:pt x="822" y="110"/>
                  </a:lnTo>
                  <a:lnTo>
                    <a:pt x="826" y="106"/>
                  </a:lnTo>
                  <a:lnTo>
                    <a:pt x="828" y="104"/>
                  </a:lnTo>
                  <a:lnTo>
                    <a:pt x="830" y="102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6" y="100"/>
                  </a:lnTo>
                  <a:lnTo>
                    <a:pt x="824" y="98"/>
                  </a:lnTo>
                  <a:lnTo>
                    <a:pt x="824" y="98"/>
                  </a:lnTo>
                  <a:lnTo>
                    <a:pt x="820" y="98"/>
                  </a:lnTo>
                  <a:lnTo>
                    <a:pt x="822" y="96"/>
                  </a:lnTo>
                  <a:lnTo>
                    <a:pt x="820" y="94"/>
                  </a:lnTo>
                  <a:lnTo>
                    <a:pt x="820" y="94"/>
                  </a:lnTo>
                  <a:lnTo>
                    <a:pt x="816" y="92"/>
                  </a:lnTo>
                  <a:lnTo>
                    <a:pt x="814" y="90"/>
                  </a:lnTo>
                  <a:lnTo>
                    <a:pt x="812" y="90"/>
                  </a:lnTo>
                  <a:lnTo>
                    <a:pt x="812" y="90"/>
                  </a:lnTo>
                  <a:lnTo>
                    <a:pt x="810" y="90"/>
                  </a:lnTo>
                  <a:lnTo>
                    <a:pt x="808" y="88"/>
                  </a:lnTo>
                  <a:lnTo>
                    <a:pt x="808" y="88"/>
                  </a:lnTo>
                  <a:lnTo>
                    <a:pt x="808" y="88"/>
                  </a:lnTo>
                  <a:lnTo>
                    <a:pt x="806" y="88"/>
                  </a:lnTo>
                  <a:lnTo>
                    <a:pt x="806" y="88"/>
                  </a:lnTo>
                  <a:lnTo>
                    <a:pt x="806" y="88"/>
                  </a:lnTo>
                  <a:lnTo>
                    <a:pt x="804" y="88"/>
                  </a:lnTo>
                  <a:lnTo>
                    <a:pt x="800" y="90"/>
                  </a:lnTo>
                  <a:lnTo>
                    <a:pt x="796" y="92"/>
                  </a:lnTo>
                  <a:lnTo>
                    <a:pt x="792" y="96"/>
                  </a:lnTo>
                  <a:lnTo>
                    <a:pt x="786" y="100"/>
                  </a:lnTo>
                  <a:lnTo>
                    <a:pt x="784" y="102"/>
                  </a:lnTo>
                  <a:lnTo>
                    <a:pt x="782" y="104"/>
                  </a:lnTo>
                  <a:lnTo>
                    <a:pt x="776" y="110"/>
                  </a:lnTo>
                  <a:lnTo>
                    <a:pt x="770" y="114"/>
                  </a:lnTo>
                  <a:lnTo>
                    <a:pt x="768" y="118"/>
                  </a:lnTo>
                  <a:lnTo>
                    <a:pt x="766" y="120"/>
                  </a:lnTo>
                  <a:lnTo>
                    <a:pt x="766" y="120"/>
                  </a:lnTo>
                  <a:lnTo>
                    <a:pt x="766" y="120"/>
                  </a:lnTo>
                  <a:lnTo>
                    <a:pt x="766" y="124"/>
                  </a:lnTo>
                  <a:lnTo>
                    <a:pt x="764" y="126"/>
                  </a:lnTo>
                  <a:lnTo>
                    <a:pt x="762" y="130"/>
                  </a:lnTo>
                  <a:lnTo>
                    <a:pt x="760" y="132"/>
                  </a:lnTo>
                  <a:lnTo>
                    <a:pt x="758" y="138"/>
                  </a:lnTo>
                  <a:lnTo>
                    <a:pt x="758" y="138"/>
                  </a:lnTo>
                  <a:lnTo>
                    <a:pt x="756" y="138"/>
                  </a:lnTo>
                  <a:lnTo>
                    <a:pt x="756" y="144"/>
                  </a:lnTo>
                  <a:lnTo>
                    <a:pt x="756" y="146"/>
                  </a:lnTo>
                  <a:lnTo>
                    <a:pt x="756" y="150"/>
                  </a:lnTo>
                  <a:lnTo>
                    <a:pt x="756" y="152"/>
                  </a:lnTo>
                  <a:lnTo>
                    <a:pt x="754" y="154"/>
                  </a:lnTo>
                  <a:lnTo>
                    <a:pt x="754" y="156"/>
                  </a:lnTo>
                  <a:lnTo>
                    <a:pt x="752" y="158"/>
                  </a:lnTo>
                  <a:lnTo>
                    <a:pt x="752" y="160"/>
                  </a:lnTo>
                  <a:lnTo>
                    <a:pt x="752" y="160"/>
                  </a:lnTo>
                  <a:lnTo>
                    <a:pt x="750" y="162"/>
                  </a:lnTo>
                  <a:lnTo>
                    <a:pt x="750" y="168"/>
                  </a:lnTo>
                  <a:lnTo>
                    <a:pt x="750" y="176"/>
                  </a:lnTo>
                  <a:lnTo>
                    <a:pt x="748" y="188"/>
                  </a:lnTo>
                  <a:lnTo>
                    <a:pt x="748" y="196"/>
                  </a:lnTo>
                  <a:lnTo>
                    <a:pt x="748" y="202"/>
                  </a:lnTo>
                  <a:lnTo>
                    <a:pt x="750" y="208"/>
                  </a:lnTo>
                  <a:lnTo>
                    <a:pt x="750" y="216"/>
                  </a:lnTo>
                  <a:lnTo>
                    <a:pt x="752" y="218"/>
                  </a:lnTo>
                  <a:lnTo>
                    <a:pt x="752" y="222"/>
                  </a:lnTo>
                  <a:lnTo>
                    <a:pt x="752" y="224"/>
                  </a:lnTo>
                  <a:lnTo>
                    <a:pt x="752" y="224"/>
                  </a:lnTo>
                  <a:lnTo>
                    <a:pt x="752" y="224"/>
                  </a:lnTo>
                  <a:lnTo>
                    <a:pt x="754" y="226"/>
                  </a:lnTo>
                  <a:lnTo>
                    <a:pt x="754" y="228"/>
                  </a:lnTo>
                  <a:lnTo>
                    <a:pt x="756" y="228"/>
                  </a:lnTo>
                  <a:lnTo>
                    <a:pt x="756" y="230"/>
                  </a:lnTo>
                  <a:lnTo>
                    <a:pt x="756" y="232"/>
                  </a:lnTo>
                  <a:lnTo>
                    <a:pt x="758" y="234"/>
                  </a:lnTo>
                  <a:lnTo>
                    <a:pt x="758" y="236"/>
                  </a:lnTo>
                  <a:lnTo>
                    <a:pt x="760" y="238"/>
                  </a:lnTo>
                  <a:lnTo>
                    <a:pt x="760" y="240"/>
                  </a:lnTo>
                  <a:lnTo>
                    <a:pt x="762" y="242"/>
                  </a:lnTo>
                  <a:lnTo>
                    <a:pt x="762" y="244"/>
                  </a:lnTo>
                  <a:lnTo>
                    <a:pt x="762" y="246"/>
                  </a:lnTo>
                  <a:lnTo>
                    <a:pt x="762" y="248"/>
                  </a:lnTo>
                  <a:lnTo>
                    <a:pt x="764" y="250"/>
                  </a:lnTo>
                  <a:lnTo>
                    <a:pt x="764" y="252"/>
                  </a:lnTo>
                  <a:lnTo>
                    <a:pt x="764" y="254"/>
                  </a:lnTo>
                  <a:lnTo>
                    <a:pt x="764" y="258"/>
                  </a:lnTo>
                  <a:lnTo>
                    <a:pt x="764" y="262"/>
                  </a:lnTo>
                  <a:lnTo>
                    <a:pt x="764" y="262"/>
                  </a:lnTo>
                  <a:lnTo>
                    <a:pt x="766" y="264"/>
                  </a:lnTo>
                  <a:lnTo>
                    <a:pt x="768" y="264"/>
                  </a:lnTo>
                  <a:lnTo>
                    <a:pt x="768" y="264"/>
                  </a:lnTo>
                  <a:lnTo>
                    <a:pt x="770" y="264"/>
                  </a:lnTo>
                  <a:lnTo>
                    <a:pt x="776" y="264"/>
                  </a:lnTo>
                  <a:lnTo>
                    <a:pt x="780" y="262"/>
                  </a:lnTo>
                  <a:lnTo>
                    <a:pt x="786" y="262"/>
                  </a:lnTo>
                  <a:lnTo>
                    <a:pt x="792" y="262"/>
                  </a:lnTo>
                  <a:lnTo>
                    <a:pt x="796" y="262"/>
                  </a:lnTo>
                  <a:lnTo>
                    <a:pt x="796" y="262"/>
                  </a:lnTo>
                  <a:lnTo>
                    <a:pt x="798" y="264"/>
                  </a:lnTo>
                  <a:lnTo>
                    <a:pt x="796" y="264"/>
                  </a:lnTo>
                  <a:lnTo>
                    <a:pt x="794" y="268"/>
                  </a:lnTo>
                  <a:lnTo>
                    <a:pt x="794" y="268"/>
                  </a:lnTo>
                  <a:lnTo>
                    <a:pt x="794" y="268"/>
                  </a:lnTo>
                  <a:lnTo>
                    <a:pt x="794" y="270"/>
                  </a:lnTo>
                  <a:lnTo>
                    <a:pt x="794" y="270"/>
                  </a:lnTo>
                  <a:lnTo>
                    <a:pt x="794" y="272"/>
                  </a:lnTo>
                  <a:lnTo>
                    <a:pt x="794" y="272"/>
                  </a:lnTo>
                  <a:lnTo>
                    <a:pt x="794" y="272"/>
                  </a:lnTo>
                  <a:lnTo>
                    <a:pt x="794" y="274"/>
                  </a:lnTo>
                  <a:lnTo>
                    <a:pt x="796" y="276"/>
                  </a:lnTo>
                  <a:lnTo>
                    <a:pt x="796" y="276"/>
                  </a:lnTo>
                  <a:lnTo>
                    <a:pt x="796" y="276"/>
                  </a:lnTo>
                  <a:lnTo>
                    <a:pt x="798" y="276"/>
                  </a:lnTo>
                  <a:lnTo>
                    <a:pt x="798" y="276"/>
                  </a:lnTo>
                  <a:lnTo>
                    <a:pt x="798" y="278"/>
                  </a:lnTo>
                  <a:lnTo>
                    <a:pt x="800" y="278"/>
                  </a:lnTo>
                  <a:lnTo>
                    <a:pt x="800" y="278"/>
                  </a:lnTo>
                  <a:lnTo>
                    <a:pt x="802" y="278"/>
                  </a:lnTo>
                  <a:lnTo>
                    <a:pt x="808" y="278"/>
                  </a:lnTo>
                  <a:lnTo>
                    <a:pt x="814" y="276"/>
                  </a:lnTo>
                  <a:lnTo>
                    <a:pt x="820" y="276"/>
                  </a:lnTo>
                  <a:lnTo>
                    <a:pt x="822" y="276"/>
                  </a:lnTo>
                  <a:lnTo>
                    <a:pt x="822" y="276"/>
                  </a:lnTo>
                  <a:lnTo>
                    <a:pt x="822" y="276"/>
                  </a:lnTo>
                  <a:lnTo>
                    <a:pt x="820" y="278"/>
                  </a:lnTo>
                  <a:lnTo>
                    <a:pt x="820" y="278"/>
                  </a:lnTo>
                  <a:lnTo>
                    <a:pt x="820" y="280"/>
                  </a:lnTo>
                  <a:lnTo>
                    <a:pt x="818" y="282"/>
                  </a:lnTo>
                  <a:lnTo>
                    <a:pt x="818" y="282"/>
                  </a:lnTo>
                  <a:lnTo>
                    <a:pt x="818" y="284"/>
                  </a:lnTo>
                  <a:lnTo>
                    <a:pt x="818" y="288"/>
                  </a:lnTo>
                  <a:lnTo>
                    <a:pt x="820" y="292"/>
                  </a:lnTo>
                  <a:lnTo>
                    <a:pt x="820" y="298"/>
                  </a:lnTo>
                  <a:lnTo>
                    <a:pt x="822" y="302"/>
                  </a:lnTo>
                  <a:lnTo>
                    <a:pt x="822" y="306"/>
                  </a:lnTo>
                  <a:lnTo>
                    <a:pt x="822" y="310"/>
                  </a:lnTo>
                  <a:lnTo>
                    <a:pt x="820" y="314"/>
                  </a:lnTo>
                  <a:lnTo>
                    <a:pt x="818" y="318"/>
                  </a:lnTo>
                  <a:lnTo>
                    <a:pt x="816" y="326"/>
                  </a:lnTo>
                  <a:lnTo>
                    <a:pt x="812" y="334"/>
                  </a:lnTo>
                  <a:lnTo>
                    <a:pt x="810" y="338"/>
                  </a:lnTo>
                  <a:lnTo>
                    <a:pt x="810" y="342"/>
                  </a:lnTo>
                  <a:lnTo>
                    <a:pt x="808" y="350"/>
                  </a:lnTo>
                  <a:lnTo>
                    <a:pt x="806" y="358"/>
                  </a:lnTo>
                  <a:lnTo>
                    <a:pt x="802" y="364"/>
                  </a:lnTo>
                  <a:lnTo>
                    <a:pt x="802" y="368"/>
                  </a:lnTo>
                  <a:lnTo>
                    <a:pt x="800" y="370"/>
                  </a:lnTo>
                  <a:lnTo>
                    <a:pt x="798" y="374"/>
                  </a:lnTo>
                  <a:lnTo>
                    <a:pt x="796" y="376"/>
                  </a:lnTo>
                  <a:lnTo>
                    <a:pt x="794" y="380"/>
                  </a:lnTo>
                  <a:lnTo>
                    <a:pt x="792" y="382"/>
                  </a:lnTo>
                  <a:lnTo>
                    <a:pt x="790" y="384"/>
                  </a:lnTo>
                  <a:lnTo>
                    <a:pt x="788" y="386"/>
                  </a:lnTo>
                  <a:lnTo>
                    <a:pt x="788" y="386"/>
                  </a:lnTo>
                  <a:lnTo>
                    <a:pt x="788" y="386"/>
                  </a:lnTo>
                  <a:lnTo>
                    <a:pt x="788" y="384"/>
                  </a:lnTo>
                  <a:lnTo>
                    <a:pt x="786" y="382"/>
                  </a:lnTo>
                  <a:lnTo>
                    <a:pt x="784" y="378"/>
                  </a:lnTo>
                  <a:lnTo>
                    <a:pt x="784" y="374"/>
                  </a:lnTo>
                  <a:lnTo>
                    <a:pt x="782" y="366"/>
                  </a:lnTo>
                  <a:lnTo>
                    <a:pt x="780" y="360"/>
                  </a:lnTo>
                  <a:lnTo>
                    <a:pt x="780" y="356"/>
                  </a:lnTo>
                  <a:lnTo>
                    <a:pt x="780" y="354"/>
                  </a:lnTo>
                  <a:lnTo>
                    <a:pt x="780" y="354"/>
                  </a:lnTo>
                  <a:lnTo>
                    <a:pt x="782" y="350"/>
                  </a:lnTo>
                  <a:lnTo>
                    <a:pt x="782" y="348"/>
                  </a:lnTo>
                  <a:lnTo>
                    <a:pt x="784" y="344"/>
                  </a:lnTo>
                  <a:lnTo>
                    <a:pt x="784" y="340"/>
                  </a:lnTo>
                  <a:lnTo>
                    <a:pt x="786" y="338"/>
                  </a:lnTo>
                  <a:lnTo>
                    <a:pt x="786" y="334"/>
                  </a:lnTo>
                  <a:lnTo>
                    <a:pt x="786" y="334"/>
                  </a:lnTo>
                  <a:lnTo>
                    <a:pt x="786" y="332"/>
                  </a:lnTo>
                  <a:lnTo>
                    <a:pt x="786" y="330"/>
                  </a:lnTo>
                  <a:lnTo>
                    <a:pt x="786" y="330"/>
                  </a:lnTo>
                  <a:lnTo>
                    <a:pt x="786" y="328"/>
                  </a:lnTo>
                  <a:lnTo>
                    <a:pt x="786" y="326"/>
                  </a:lnTo>
                  <a:lnTo>
                    <a:pt x="784" y="322"/>
                  </a:lnTo>
                  <a:lnTo>
                    <a:pt x="782" y="316"/>
                  </a:lnTo>
                  <a:lnTo>
                    <a:pt x="780" y="312"/>
                  </a:lnTo>
                  <a:lnTo>
                    <a:pt x="776" y="308"/>
                  </a:lnTo>
                  <a:lnTo>
                    <a:pt x="774" y="306"/>
                  </a:lnTo>
                  <a:lnTo>
                    <a:pt x="774" y="306"/>
                  </a:lnTo>
                  <a:lnTo>
                    <a:pt x="774" y="306"/>
                  </a:lnTo>
                  <a:lnTo>
                    <a:pt x="772" y="304"/>
                  </a:lnTo>
                  <a:lnTo>
                    <a:pt x="772" y="304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70" y="302"/>
                  </a:lnTo>
                  <a:lnTo>
                    <a:pt x="768" y="302"/>
                  </a:lnTo>
                  <a:lnTo>
                    <a:pt x="768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6" y="302"/>
                  </a:lnTo>
                  <a:lnTo>
                    <a:pt x="764" y="302"/>
                  </a:lnTo>
                  <a:lnTo>
                    <a:pt x="764" y="304"/>
                  </a:lnTo>
                  <a:lnTo>
                    <a:pt x="762" y="304"/>
                  </a:lnTo>
                  <a:lnTo>
                    <a:pt x="762" y="304"/>
                  </a:lnTo>
                  <a:lnTo>
                    <a:pt x="762" y="306"/>
                  </a:lnTo>
                  <a:lnTo>
                    <a:pt x="762" y="306"/>
                  </a:lnTo>
                  <a:lnTo>
                    <a:pt x="760" y="310"/>
                  </a:lnTo>
                  <a:lnTo>
                    <a:pt x="758" y="316"/>
                  </a:lnTo>
                  <a:lnTo>
                    <a:pt x="756" y="320"/>
                  </a:lnTo>
                  <a:lnTo>
                    <a:pt x="754" y="324"/>
                  </a:lnTo>
                  <a:lnTo>
                    <a:pt x="752" y="328"/>
                  </a:lnTo>
                  <a:lnTo>
                    <a:pt x="750" y="330"/>
                  </a:lnTo>
                  <a:lnTo>
                    <a:pt x="750" y="330"/>
                  </a:lnTo>
                  <a:lnTo>
                    <a:pt x="748" y="336"/>
                  </a:lnTo>
                  <a:lnTo>
                    <a:pt x="746" y="340"/>
                  </a:lnTo>
                  <a:lnTo>
                    <a:pt x="746" y="336"/>
                  </a:lnTo>
                  <a:lnTo>
                    <a:pt x="746" y="330"/>
                  </a:lnTo>
                  <a:lnTo>
                    <a:pt x="744" y="326"/>
                  </a:lnTo>
                  <a:lnTo>
                    <a:pt x="744" y="320"/>
                  </a:lnTo>
                  <a:lnTo>
                    <a:pt x="742" y="316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40" y="312"/>
                  </a:lnTo>
                  <a:lnTo>
                    <a:pt x="738" y="308"/>
                  </a:lnTo>
                  <a:lnTo>
                    <a:pt x="738" y="308"/>
                  </a:lnTo>
                  <a:lnTo>
                    <a:pt x="738" y="308"/>
                  </a:lnTo>
                  <a:lnTo>
                    <a:pt x="736" y="304"/>
                  </a:lnTo>
                  <a:lnTo>
                    <a:pt x="736" y="304"/>
                  </a:lnTo>
                  <a:lnTo>
                    <a:pt x="736" y="304"/>
                  </a:lnTo>
                  <a:lnTo>
                    <a:pt x="730" y="300"/>
                  </a:lnTo>
                  <a:lnTo>
                    <a:pt x="724" y="296"/>
                  </a:lnTo>
                  <a:lnTo>
                    <a:pt x="720" y="294"/>
                  </a:lnTo>
                  <a:lnTo>
                    <a:pt x="720" y="292"/>
                  </a:lnTo>
                  <a:lnTo>
                    <a:pt x="718" y="292"/>
                  </a:lnTo>
                  <a:lnTo>
                    <a:pt x="714" y="290"/>
                  </a:lnTo>
                  <a:lnTo>
                    <a:pt x="712" y="288"/>
                  </a:lnTo>
                  <a:lnTo>
                    <a:pt x="710" y="286"/>
                  </a:lnTo>
                  <a:lnTo>
                    <a:pt x="710" y="286"/>
                  </a:lnTo>
                  <a:lnTo>
                    <a:pt x="710" y="284"/>
                  </a:lnTo>
                  <a:lnTo>
                    <a:pt x="710" y="284"/>
                  </a:lnTo>
                  <a:lnTo>
                    <a:pt x="710" y="280"/>
                  </a:lnTo>
                  <a:lnTo>
                    <a:pt x="710" y="276"/>
                  </a:lnTo>
                  <a:lnTo>
                    <a:pt x="712" y="272"/>
                  </a:lnTo>
                  <a:lnTo>
                    <a:pt x="714" y="266"/>
                  </a:lnTo>
                  <a:lnTo>
                    <a:pt x="716" y="262"/>
                  </a:lnTo>
                  <a:lnTo>
                    <a:pt x="718" y="256"/>
                  </a:lnTo>
                  <a:lnTo>
                    <a:pt x="720" y="252"/>
                  </a:lnTo>
                  <a:lnTo>
                    <a:pt x="720" y="246"/>
                  </a:lnTo>
                  <a:lnTo>
                    <a:pt x="720" y="238"/>
                  </a:lnTo>
                  <a:lnTo>
                    <a:pt x="720" y="234"/>
                  </a:lnTo>
                  <a:lnTo>
                    <a:pt x="720" y="230"/>
                  </a:lnTo>
                  <a:lnTo>
                    <a:pt x="720" y="226"/>
                  </a:lnTo>
                  <a:lnTo>
                    <a:pt x="718" y="222"/>
                  </a:lnTo>
                  <a:lnTo>
                    <a:pt x="716" y="220"/>
                  </a:lnTo>
                  <a:lnTo>
                    <a:pt x="716" y="220"/>
                  </a:lnTo>
                  <a:lnTo>
                    <a:pt x="716" y="218"/>
                  </a:lnTo>
                  <a:lnTo>
                    <a:pt x="714" y="216"/>
                  </a:lnTo>
                  <a:lnTo>
                    <a:pt x="710" y="212"/>
                  </a:lnTo>
                  <a:lnTo>
                    <a:pt x="706" y="208"/>
                  </a:lnTo>
                  <a:lnTo>
                    <a:pt x="700" y="204"/>
                  </a:lnTo>
                  <a:lnTo>
                    <a:pt x="696" y="200"/>
                  </a:lnTo>
                  <a:lnTo>
                    <a:pt x="690" y="196"/>
                  </a:lnTo>
                  <a:lnTo>
                    <a:pt x="684" y="194"/>
                  </a:lnTo>
                  <a:lnTo>
                    <a:pt x="680" y="192"/>
                  </a:lnTo>
                  <a:lnTo>
                    <a:pt x="680" y="192"/>
                  </a:lnTo>
                  <a:lnTo>
                    <a:pt x="680" y="192"/>
                  </a:lnTo>
                  <a:lnTo>
                    <a:pt x="676" y="190"/>
                  </a:lnTo>
                  <a:lnTo>
                    <a:pt x="676" y="190"/>
                  </a:lnTo>
                  <a:lnTo>
                    <a:pt x="676" y="190"/>
                  </a:lnTo>
                  <a:lnTo>
                    <a:pt x="672" y="190"/>
                  </a:lnTo>
                  <a:lnTo>
                    <a:pt x="672" y="190"/>
                  </a:lnTo>
                  <a:lnTo>
                    <a:pt x="672" y="190"/>
                  </a:lnTo>
                  <a:lnTo>
                    <a:pt x="670" y="192"/>
                  </a:lnTo>
                  <a:lnTo>
                    <a:pt x="670" y="192"/>
                  </a:lnTo>
                  <a:lnTo>
                    <a:pt x="668" y="192"/>
                  </a:lnTo>
                  <a:lnTo>
                    <a:pt x="666" y="192"/>
                  </a:lnTo>
                  <a:lnTo>
                    <a:pt x="666" y="192"/>
                  </a:lnTo>
                  <a:lnTo>
                    <a:pt x="666" y="194"/>
                  </a:lnTo>
                  <a:lnTo>
                    <a:pt x="664" y="196"/>
                  </a:lnTo>
                  <a:lnTo>
                    <a:pt x="664" y="196"/>
                  </a:lnTo>
                  <a:lnTo>
                    <a:pt x="664" y="196"/>
                  </a:lnTo>
                  <a:lnTo>
                    <a:pt x="662" y="198"/>
                  </a:lnTo>
                  <a:lnTo>
                    <a:pt x="660" y="202"/>
                  </a:lnTo>
                  <a:lnTo>
                    <a:pt x="658" y="208"/>
                  </a:lnTo>
                  <a:lnTo>
                    <a:pt x="658" y="212"/>
                  </a:lnTo>
                  <a:lnTo>
                    <a:pt x="656" y="216"/>
                  </a:lnTo>
                  <a:lnTo>
                    <a:pt x="656" y="224"/>
                  </a:lnTo>
                  <a:lnTo>
                    <a:pt x="654" y="232"/>
                  </a:lnTo>
                  <a:lnTo>
                    <a:pt x="654" y="236"/>
                  </a:lnTo>
                  <a:lnTo>
                    <a:pt x="654" y="240"/>
                  </a:lnTo>
                  <a:lnTo>
                    <a:pt x="654" y="248"/>
                  </a:lnTo>
                  <a:lnTo>
                    <a:pt x="656" y="256"/>
                  </a:lnTo>
                  <a:lnTo>
                    <a:pt x="656" y="264"/>
                  </a:lnTo>
                  <a:lnTo>
                    <a:pt x="658" y="266"/>
                  </a:lnTo>
                  <a:lnTo>
                    <a:pt x="658" y="270"/>
                  </a:lnTo>
                  <a:lnTo>
                    <a:pt x="658" y="270"/>
                  </a:lnTo>
                  <a:lnTo>
                    <a:pt x="658" y="270"/>
                  </a:lnTo>
                  <a:lnTo>
                    <a:pt x="660" y="272"/>
                  </a:lnTo>
                  <a:lnTo>
                    <a:pt x="660" y="272"/>
                  </a:lnTo>
                  <a:lnTo>
                    <a:pt x="660" y="274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2" y="276"/>
                  </a:lnTo>
                  <a:lnTo>
                    <a:pt x="666" y="278"/>
                  </a:lnTo>
                  <a:lnTo>
                    <a:pt x="672" y="282"/>
                  </a:lnTo>
                  <a:lnTo>
                    <a:pt x="676" y="286"/>
                  </a:lnTo>
                  <a:lnTo>
                    <a:pt x="680" y="288"/>
                  </a:lnTo>
                  <a:lnTo>
                    <a:pt x="684" y="290"/>
                  </a:lnTo>
                  <a:lnTo>
                    <a:pt x="690" y="294"/>
                  </a:lnTo>
                  <a:lnTo>
                    <a:pt x="694" y="296"/>
                  </a:lnTo>
                  <a:lnTo>
                    <a:pt x="696" y="298"/>
                  </a:lnTo>
                  <a:lnTo>
                    <a:pt x="698" y="300"/>
                  </a:lnTo>
                  <a:lnTo>
                    <a:pt x="700" y="302"/>
                  </a:lnTo>
                  <a:lnTo>
                    <a:pt x="700" y="306"/>
                  </a:lnTo>
                  <a:lnTo>
                    <a:pt x="700" y="306"/>
                  </a:lnTo>
                  <a:lnTo>
                    <a:pt x="700" y="308"/>
                  </a:lnTo>
                  <a:lnTo>
                    <a:pt x="700" y="312"/>
                  </a:lnTo>
                  <a:lnTo>
                    <a:pt x="700" y="316"/>
                  </a:lnTo>
                  <a:lnTo>
                    <a:pt x="700" y="322"/>
                  </a:lnTo>
                  <a:lnTo>
                    <a:pt x="698" y="326"/>
                  </a:lnTo>
                  <a:lnTo>
                    <a:pt x="696" y="328"/>
                  </a:lnTo>
                  <a:lnTo>
                    <a:pt x="696" y="332"/>
                  </a:lnTo>
                  <a:lnTo>
                    <a:pt x="692" y="334"/>
                  </a:lnTo>
                  <a:lnTo>
                    <a:pt x="690" y="338"/>
                  </a:lnTo>
                  <a:lnTo>
                    <a:pt x="686" y="340"/>
                  </a:lnTo>
                  <a:lnTo>
                    <a:pt x="684" y="344"/>
                  </a:lnTo>
                  <a:lnTo>
                    <a:pt x="680" y="346"/>
                  </a:lnTo>
                  <a:lnTo>
                    <a:pt x="676" y="348"/>
                  </a:lnTo>
                  <a:lnTo>
                    <a:pt x="674" y="352"/>
                  </a:lnTo>
                  <a:lnTo>
                    <a:pt x="672" y="354"/>
                  </a:lnTo>
                  <a:lnTo>
                    <a:pt x="672" y="356"/>
                  </a:lnTo>
                  <a:lnTo>
                    <a:pt x="672" y="356"/>
                  </a:lnTo>
                  <a:lnTo>
                    <a:pt x="672" y="356"/>
                  </a:lnTo>
                  <a:lnTo>
                    <a:pt x="670" y="358"/>
                  </a:lnTo>
                  <a:lnTo>
                    <a:pt x="670" y="358"/>
                  </a:lnTo>
                  <a:lnTo>
                    <a:pt x="670" y="358"/>
                  </a:lnTo>
                  <a:lnTo>
                    <a:pt x="670" y="360"/>
                  </a:lnTo>
                  <a:lnTo>
                    <a:pt x="670" y="362"/>
                  </a:lnTo>
                  <a:lnTo>
                    <a:pt x="670" y="364"/>
                  </a:lnTo>
                  <a:lnTo>
                    <a:pt x="670" y="364"/>
                  </a:lnTo>
                  <a:lnTo>
                    <a:pt x="670" y="368"/>
                  </a:lnTo>
                  <a:lnTo>
                    <a:pt x="670" y="370"/>
                  </a:lnTo>
                  <a:lnTo>
                    <a:pt x="670" y="376"/>
                  </a:lnTo>
                  <a:lnTo>
                    <a:pt x="670" y="378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70" y="380"/>
                  </a:lnTo>
                  <a:lnTo>
                    <a:pt x="668" y="380"/>
                  </a:lnTo>
                  <a:lnTo>
                    <a:pt x="666" y="380"/>
                  </a:lnTo>
                  <a:lnTo>
                    <a:pt x="664" y="380"/>
                  </a:lnTo>
                  <a:lnTo>
                    <a:pt x="664" y="378"/>
                  </a:lnTo>
                  <a:lnTo>
                    <a:pt x="662" y="378"/>
                  </a:lnTo>
                  <a:lnTo>
                    <a:pt x="662" y="376"/>
                  </a:lnTo>
                  <a:lnTo>
                    <a:pt x="662" y="376"/>
                  </a:lnTo>
                  <a:lnTo>
                    <a:pt x="662" y="374"/>
                  </a:lnTo>
                  <a:lnTo>
                    <a:pt x="662" y="370"/>
                  </a:lnTo>
                  <a:lnTo>
                    <a:pt x="662" y="368"/>
                  </a:lnTo>
                  <a:lnTo>
                    <a:pt x="662" y="364"/>
                  </a:lnTo>
                  <a:lnTo>
                    <a:pt x="662" y="360"/>
                  </a:lnTo>
                  <a:lnTo>
                    <a:pt x="662" y="356"/>
                  </a:lnTo>
                  <a:lnTo>
                    <a:pt x="662" y="356"/>
                  </a:lnTo>
                  <a:lnTo>
                    <a:pt x="662" y="356"/>
                  </a:lnTo>
                  <a:lnTo>
                    <a:pt x="662" y="354"/>
                  </a:lnTo>
                  <a:lnTo>
                    <a:pt x="662" y="354"/>
                  </a:lnTo>
                  <a:lnTo>
                    <a:pt x="662" y="352"/>
                  </a:lnTo>
                  <a:lnTo>
                    <a:pt x="660" y="350"/>
                  </a:lnTo>
                  <a:lnTo>
                    <a:pt x="658" y="346"/>
                  </a:lnTo>
                  <a:lnTo>
                    <a:pt x="656" y="344"/>
                  </a:lnTo>
                  <a:lnTo>
                    <a:pt x="652" y="340"/>
                  </a:lnTo>
                  <a:lnTo>
                    <a:pt x="650" y="338"/>
                  </a:lnTo>
                  <a:lnTo>
                    <a:pt x="648" y="334"/>
                  </a:lnTo>
                  <a:lnTo>
                    <a:pt x="644" y="332"/>
                  </a:lnTo>
                  <a:lnTo>
                    <a:pt x="642" y="332"/>
                  </a:lnTo>
                  <a:lnTo>
                    <a:pt x="642" y="332"/>
                  </a:lnTo>
                  <a:lnTo>
                    <a:pt x="640" y="330"/>
                  </a:lnTo>
                  <a:lnTo>
                    <a:pt x="636" y="330"/>
                  </a:lnTo>
                  <a:lnTo>
                    <a:pt x="636" y="330"/>
                  </a:lnTo>
                  <a:lnTo>
                    <a:pt x="636" y="328"/>
                  </a:lnTo>
                  <a:lnTo>
                    <a:pt x="632" y="328"/>
                  </a:lnTo>
                  <a:lnTo>
                    <a:pt x="630" y="328"/>
                  </a:lnTo>
                  <a:lnTo>
                    <a:pt x="630" y="328"/>
                  </a:lnTo>
                  <a:lnTo>
                    <a:pt x="630" y="328"/>
                  </a:lnTo>
                  <a:lnTo>
                    <a:pt x="628" y="330"/>
                  </a:lnTo>
                  <a:lnTo>
                    <a:pt x="628" y="330"/>
                  </a:lnTo>
                  <a:lnTo>
                    <a:pt x="626" y="330"/>
                  </a:lnTo>
                  <a:lnTo>
                    <a:pt x="624" y="330"/>
                  </a:lnTo>
                  <a:lnTo>
                    <a:pt x="624" y="330"/>
                  </a:lnTo>
                  <a:lnTo>
                    <a:pt x="624" y="330"/>
                  </a:lnTo>
                  <a:lnTo>
                    <a:pt x="622" y="332"/>
                  </a:lnTo>
                  <a:lnTo>
                    <a:pt x="622" y="332"/>
                  </a:lnTo>
                  <a:lnTo>
                    <a:pt x="622" y="332"/>
                  </a:lnTo>
                  <a:lnTo>
                    <a:pt x="620" y="334"/>
                  </a:lnTo>
                  <a:lnTo>
                    <a:pt x="620" y="334"/>
                  </a:lnTo>
                  <a:lnTo>
                    <a:pt x="620" y="336"/>
                  </a:lnTo>
                  <a:lnTo>
                    <a:pt x="620" y="338"/>
                  </a:lnTo>
                  <a:lnTo>
                    <a:pt x="620" y="338"/>
                  </a:lnTo>
                  <a:lnTo>
                    <a:pt x="620" y="338"/>
                  </a:lnTo>
                  <a:lnTo>
                    <a:pt x="622" y="342"/>
                  </a:lnTo>
                  <a:lnTo>
                    <a:pt x="622" y="346"/>
                  </a:lnTo>
                  <a:lnTo>
                    <a:pt x="624" y="350"/>
                  </a:lnTo>
                  <a:lnTo>
                    <a:pt x="626" y="354"/>
                  </a:lnTo>
                  <a:lnTo>
                    <a:pt x="626" y="358"/>
                  </a:lnTo>
                  <a:lnTo>
                    <a:pt x="626" y="360"/>
                  </a:lnTo>
                  <a:lnTo>
                    <a:pt x="624" y="360"/>
                  </a:lnTo>
                  <a:lnTo>
                    <a:pt x="624" y="360"/>
                  </a:lnTo>
                  <a:lnTo>
                    <a:pt x="624" y="362"/>
                  </a:lnTo>
                  <a:lnTo>
                    <a:pt x="624" y="362"/>
                  </a:lnTo>
                  <a:lnTo>
                    <a:pt x="622" y="362"/>
                  </a:lnTo>
                  <a:lnTo>
                    <a:pt x="618" y="362"/>
                  </a:lnTo>
                  <a:lnTo>
                    <a:pt x="612" y="364"/>
                  </a:lnTo>
                  <a:lnTo>
                    <a:pt x="606" y="364"/>
                  </a:lnTo>
                  <a:lnTo>
                    <a:pt x="600" y="362"/>
                  </a:lnTo>
                  <a:lnTo>
                    <a:pt x="594" y="362"/>
                  </a:lnTo>
                  <a:lnTo>
                    <a:pt x="588" y="362"/>
                  </a:lnTo>
                  <a:lnTo>
                    <a:pt x="584" y="362"/>
                  </a:lnTo>
                  <a:lnTo>
                    <a:pt x="576" y="362"/>
                  </a:lnTo>
                  <a:lnTo>
                    <a:pt x="568" y="362"/>
                  </a:lnTo>
                  <a:lnTo>
                    <a:pt x="562" y="360"/>
                  </a:lnTo>
                  <a:lnTo>
                    <a:pt x="556" y="358"/>
                  </a:lnTo>
                  <a:lnTo>
                    <a:pt x="554" y="356"/>
                  </a:lnTo>
                  <a:lnTo>
                    <a:pt x="552" y="354"/>
                  </a:lnTo>
                  <a:lnTo>
                    <a:pt x="548" y="350"/>
                  </a:lnTo>
                  <a:lnTo>
                    <a:pt x="544" y="344"/>
                  </a:lnTo>
                  <a:lnTo>
                    <a:pt x="542" y="342"/>
                  </a:lnTo>
                  <a:lnTo>
                    <a:pt x="540" y="340"/>
                  </a:lnTo>
                  <a:lnTo>
                    <a:pt x="536" y="338"/>
                  </a:lnTo>
                  <a:lnTo>
                    <a:pt x="536" y="338"/>
                  </a:lnTo>
                  <a:lnTo>
                    <a:pt x="536" y="338"/>
                  </a:lnTo>
                  <a:lnTo>
                    <a:pt x="532" y="336"/>
                  </a:lnTo>
                  <a:lnTo>
                    <a:pt x="532" y="336"/>
                  </a:lnTo>
                  <a:lnTo>
                    <a:pt x="532" y="336"/>
                  </a:lnTo>
                  <a:lnTo>
                    <a:pt x="528" y="336"/>
                  </a:lnTo>
                  <a:lnTo>
                    <a:pt x="528" y="336"/>
                  </a:lnTo>
                  <a:lnTo>
                    <a:pt x="528" y="336"/>
                  </a:lnTo>
                  <a:lnTo>
                    <a:pt x="524" y="336"/>
                  </a:lnTo>
                  <a:lnTo>
                    <a:pt x="522" y="336"/>
                  </a:lnTo>
                  <a:lnTo>
                    <a:pt x="518" y="336"/>
                  </a:lnTo>
                  <a:lnTo>
                    <a:pt x="514" y="336"/>
                  </a:lnTo>
                  <a:lnTo>
                    <a:pt x="510" y="338"/>
                  </a:lnTo>
                  <a:lnTo>
                    <a:pt x="506" y="338"/>
                  </a:lnTo>
                  <a:lnTo>
                    <a:pt x="500" y="340"/>
                  </a:lnTo>
                  <a:lnTo>
                    <a:pt x="500" y="340"/>
                  </a:lnTo>
                  <a:lnTo>
                    <a:pt x="500" y="340"/>
                  </a:lnTo>
                  <a:lnTo>
                    <a:pt x="496" y="342"/>
                  </a:lnTo>
                  <a:lnTo>
                    <a:pt x="496" y="342"/>
                  </a:lnTo>
                  <a:lnTo>
                    <a:pt x="496" y="342"/>
                  </a:lnTo>
                  <a:lnTo>
                    <a:pt x="492" y="344"/>
                  </a:lnTo>
                  <a:lnTo>
                    <a:pt x="492" y="344"/>
                  </a:lnTo>
                  <a:lnTo>
                    <a:pt x="492" y="346"/>
                  </a:lnTo>
                  <a:lnTo>
                    <a:pt x="490" y="348"/>
                  </a:lnTo>
                  <a:lnTo>
                    <a:pt x="490" y="348"/>
                  </a:lnTo>
                  <a:lnTo>
                    <a:pt x="488" y="350"/>
                  </a:lnTo>
                  <a:lnTo>
                    <a:pt x="488" y="352"/>
                  </a:lnTo>
                  <a:lnTo>
                    <a:pt x="488" y="352"/>
                  </a:lnTo>
                  <a:lnTo>
                    <a:pt x="488" y="352"/>
                  </a:lnTo>
                  <a:lnTo>
                    <a:pt x="488" y="354"/>
                  </a:lnTo>
                  <a:lnTo>
                    <a:pt x="488" y="354"/>
                  </a:lnTo>
                  <a:lnTo>
                    <a:pt x="488" y="354"/>
                  </a:lnTo>
                  <a:lnTo>
                    <a:pt x="488" y="360"/>
                  </a:lnTo>
                  <a:lnTo>
                    <a:pt x="490" y="368"/>
                  </a:lnTo>
                  <a:lnTo>
                    <a:pt x="492" y="374"/>
                  </a:lnTo>
                  <a:lnTo>
                    <a:pt x="494" y="380"/>
                  </a:lnTo>
                  <a:lnTo>
                    <a:pt x="496" y="388"/>
                  </a:lnTo>
                  <a:lnTo>
                    <a:pt x="498" y="392"/>
                  </a:lnTo>
                  <a:lnTo>
                    <a:pt x="498" y="398"/>
                  </a:lnTo>
                  <a:lnTo>
                    <a:pt x="498" y="406"/>
                  </a:lnTo>
                  <a:lnTo>
                    <a:pt x="498" y="410"/>
                  </a:lnTo>
                  <a:lnTo>
                    <a:pt x="498" y="412"/>
                  </a:lnTo>
                  <a:lnTo>
                    <a:pt x="498" y="414"/>
                  </a:lnTo>
                  <a:lnTo>
                    <a:pt x="498" y="414"/>
                  </a:lnTo>
                  <a:lnTo>
                    <a:pt x="496" y="412"/>
                  </a:lnTo>
                  <a:lnTo>
                    <a:pt x="496" y="410"/>
                  </a:lnTo>
                  <a:lnTo>
                    <a:pt x="492" y="404"/>
                  </a:lnTo>
                  <a:lnTo>
                    <a:pt x="488" y="398"/>
                  </a:lnTo>
                  <a:lnTo>
                    <a:pt x="484" y="392"/>
                  </a:lnTo>
                  <a:lnTo>
                    <a:pt x="480" y="384"/>
                  </a:lnTo>
                  <a:lnTo>
                    <a:pt x="478" y="382"/>
                  </a:lnTo>
                  <a:lnTo>
                    <a:pt x="476" y="380"/>
                  </a:lnTo>
                  <a:lnTo>
                    <a:pt x="474" y="378"/>
                  </a:lnTo>
                  <a:lnTo>
                    <a:pt x="474" y="376"/>
                  </a:lnTo>
                  <a:lnTo>
                    <a:pt x="472" y="372"/>
                  </a:lnTo>
                  <a:lnTo>
                    <a:pt x="470" y="370"/>
                  </a:lnTo>
                  <a:lnTo>
                    <a:pt x="468" y="368"/>
                  </a:lnTo>
                  <a:lnTo>
                    <a:pt x="468" y="368"/>
                  </a:lnTo>
                  <a:lnTo>
                    <a:pt x="468" y="368"/>
                  </a:lnTo>
                  <a:lnTo>
                    <a:pt x="466" y="366"/>
                  </a:lnTo>
                  <a:lnTo>
                    <a:pt x="464" y="366"/>
                  </a:lnTo>
                  <a:lnTo>
                    <a:pt x="464" y="366"/>
                  </a:lnTo>
                  <a:lnTo>
                    <a:pt x="464" y="364"/>
                  </a:lnTo>
                  <a:lnTo>
                    <a:pt x="462" y="364"/>
                  </a:lnTo>
                  <a:lnTo>
                    <a:pt x="462" y="364"/>
                  </a:lnTo>
                  <a:lnTo>
                    <a:pt x="456" y="362"/>
                  </a:lnTo>
                  <a:lnTo>
                    <a:pt x="452" y="362"/>
                  </a:lnTo>
                  <a:lnTo>
                    <a:pt x="446" y="360"/>
                  </a:lnTo>
                  <a:lnTo>
                    <a:pt x="440" y="360"/>
                  </a:lnTo>
                  <a:lnTo>
                    <a:pt x="436" y="360"/>
                  </a:lnTo>
                  <a:lnTo>
                    <a:pt x="432" y="362"/>
                  </a:lnTo>
                  <a:lnTo>
                    <a:pt x="424" y="364"/>
                  </a:lnTo>
                  <a:lnTo>
                    <a:pt x="420" y="364"/>
                  </a:lnTo>
                  <a:lnTo>
                    <a:pt x="418" y="366"/>
                  </a:lnTo>
                  <a:lnTo>
                    <a:pt x="414" y="366"/>
                  </a:lnTo>
                  <a:lnTo>
                    <a:pt x="414" y="366"/>
                  </a:lnTo>
                  <a:lnTo>
                    <a:pt x="410" y="366"/>
                  </a:lnTo>
                  <a:lnTo>
                    <a:pt x="406" y="366"/>
                  </a:lnTo>
                  <a:lnTo>
                    <a:pt x="400" y="366"/>
                  </a:lnTo>
                  <a:lnTo>
                    <a:pt x="394" y="364"/>
                  </a:lnTo>
                  <a:lnTo>
                    <a:pt x="390" y="362"/>
                  </a:lnTo>
                  <a:lnTo>
                    <a:pt x="384" y="362"/>
                  </a:lnTo>
                  <a:lnTo>
                    <a:pt x="380" y="360"/>
                  </a:lnTo>
                  <a:lnTo>
                    <a:pt x="378" y="360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8"/>
                  </a:lnTo>
                  <a:lnTo>
                    <a:pt x="376" y="356"/>
                  </a:lnTo>
                  <a:lnTo>
                    <a:pt x="378" y="354"/>
                  </a:lnTo>
                  <a:lnTo>
                    <a:pt x="378" y="354"/>
                  </a:lnTo>
                  <a:lnTo>
                    <a:pt x="380" y="352"/>
                  </a:lnTo>
                  <a:lnTo>
                    <a:pt x="382" y="348"/>
                  </a:lnTo>
                  <a:lnTo>
                    <a:pt x="386" y="346"/>
                  </a:lnTo>
                  <a:lnTo>
                    <a:pt x="388" y="344"/>
                  </a:lnTo>
                  <a:lnTo>
                    <a:pt x="390" y="342"/>
                  </a:lnTo>
                  <a:lnTo>
                    <a:pt x="394" y="340"/>
                  </a:lnTo>
                  <a:lnTo>
                    <a:pt x="396" y="338"/>
                  </a:lnTo>
                  <a:lnTo>
                    <a:pt x="400" y="338"/>
                  </a:lnTo>
                  <a:lnTo>
                    <a:pt x="402" y="336"/>
                  </a:lnTo>
                  <a:lnTo>
                    <a:pt x="402" y="338"/>
                  </a:lnTo>
                  <a:lnTo>
                    <a:pt x="402" y="338"/>
                  </a:lnTo>
                  <a:lnTo>
                    <a:pt x="400" y="338"/>
                  </a:lnTo>
                  <a:lnTo>
                    <a:pt x="398" y="340"/>
                  </a:lnTo>
                  <a:lnTo>
                    <a:pt x="394" y="342"/>
                  </a:lnTo>
                  <a:lnTo>
                    <a:pt x="394" y="342"/>
                  </a:lnTo>
                  <a:lnTo>
                    <a:pt x="394" y="344"/>
                  </a:lnTo>
                  <a:lnTo>
                    <a:pt x="394" y="346"/>
                  </a:lnTo>
                  <a:lnTo>
                    <a:pt x="394" y="346"/>
                  </a:lnTo>
                  <a:lnTo>
                    <a:pt x="394" y="348"/>
                  </a:lnTo>
                  <a:lnTo>
                    <a:pt x="396" y="348"/>
                  </a:lnTo>
                  <a:lnTo>
                    <a:pt x="396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398" y="348"/>
                  </a:lnTo>
                  <a:lnTo>
                    <a:pt x="400" y="348"/>
                  </a:lnTo>
                  <a:lnTo>
                    <a:pt x="402" y="348"/>
                  </a:lnTo>
                  <a:lnTo>
                    <a:pt x="404" y="350"/>
                  </a:lnTo>
                  <a:lnTo>
                    <a:pt x="406" y="352"/>
                  </a:lnTo>
                  <a:lnTo>
                    <a:pt x="408" y="354"/>
                  </a:lnTo>
                  <a:lnTo>
                    <a:pt x="410" y="354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0" y="356"/>
                  </a:lnTo>
                  <a:lnTo>
                    <a:pt x="414" y="356"/>
                  </a:lnTo>
                  <a:lnTo>
                    <a:pt x="414" y="356"/>
                  </a:lnTo>
                  <a:lnTo>
                    <a:pt x="414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6" y="356"/>
                  </a:lnTo>
                  <a:lnTo>
                    <a:pt x="418" y="354"/>
                  </a:lnTo>
                  <a:lnTo>
                    <a:pt x="418" y="352"/>
                  </a:lnTo>
                  <a:lnTo>
                    <a:pt x="420" y="352"/>
                  </a:lnTo>
                  <a:lnTo>
                    <a:pt x="420" y="352"/>
                  </a:lnTo>
                  <a:lnTo>
                    <a:pt x="420" y="352"/>
                  </a:lnTo>
                  <a:lnTo>
                    <a:pt x="420" y="348"/>
                  </a:lnTo>
                  <a:lnTo>
                    <a:pt x="420" y="348"/>
                  </a:lnTo>
                  <a:lnTo>
                    <a:pt x="420" y="348"/>
                  </a:lnTo>
                  <a:lnTo>
                    <a:pt x="418" y="346"/>
                  </a:lnTo>
                  <a:lnTo>
                    <a:pt x="418" y="346"/>
                  </a:lnTo>
                  <a:lnTo>
                    <a:pt x="420" y="344"/>
                  </a:lnTo>
                  <a:lnTo>
                    <a:pt x="420" y="346"/>
                  </a:lnTo>
                  <a:lnTo>
                    <a:pt x="424" y="348"/>
                  </a:lnTo>
                  <a:lnTo>
                    <a:pt x="424" y="348"/>
                  </a:lnTo>
                  <a:lnTo>
                    <a:pt x="424" y="348"/>
                  </a:lnTo>
                  <a:lnTo>
                    <a:pt x="428" y="348"/>
                  </a:lnTo>
                  <a:lnTo>
                    <a:pt x="430" y="348"/>
                  </a:lnTo>
                  <a:lnTo>
                    <a:pt x="434" y="348"/>
                  </a:lnTo>
                  <a:lnTo>
                    <a:pt x="436" y="348"/>
                  </a:lnTo>
                  <a:lnTo>
                    <a:pt x="436" y="348"/>
                  </a:lnTo>
                  <a:lnTo>
                    <a:pt x="438" y="348"/>
                  </a:lnTo>
                  <a:lnTo>
                    <a:pt x="438" y="346"/>
                  </a:lnTo>
                  <a:lnTo>
                    <a:pt x="440" y="346"/>
                  </a:lnTo>
                  <a:lnTo>
                    <a:pt x="442" y="344"/>
                  </a:lnTo>
                  <a:lnTo>
                    <a:pt x="442" y="344"/>
                  </a:lnTo>
                  <a:lnTo>
                    <a:pt x="442" y="344"/>
                  </a:lnTo>
                  <a:lnTo>
                    <a:pt x="444" y="344"/>
                  </a:lnTo>
                  <a:lnTo>
                    <a:pt x="444" y="342"/>
                  </a:lnTo>
                  <a:lnTo>
                    <a:pt x="444" y="342"/>
                  </a:lnTo>
                  <a:lnTo>
                    <a:pt x="446" y="342"/>
                  </a:lnTo>
                  <a:lnTo>
                    <a:pt x="444" y="342"/>
                  </a:lnTo>
                  <a:lnTo>
                    <a:pt x="446" y="342"/>
                  </a:lnTo>
                  <a:lnTo>
                    <a:pt x="448" y="340"/>
                  </a:lnTo>
                  <a:lnTo>
                    <a:pt x="450" y="340"/>
                  </a:lnTo>
                  <a:lnTo>
                    <a:pt x="452" y="340"/>
                  </a:lnTo>
                  <a:lnTo>
                    <a:pt x="454" y="340"/>
                  </a:lnTo>
                  <a:lnTo>
                    <a:pt x="456" y="340"/>
                  </a:lnTo>
                  <a:lnTo>
                    <a:pt x="456" y="340"/>
                  </a:lnTo>
                  <a:lnTo>
                    <a:pt x="456" y="338"/>
                  </a:lnTo>
                  <a:lnTo>
                    <a:pt x="458" y="338"/>
                  </a:lnTo>
                  <a:lnTo>
                    <a:pt x="460" y="338"/>
                  </a:lnTo>
                  <a:lnTo>
                    <a:pt x="460" y="338"/>
                  </a:lnTo>
                  <a:lnTo>
                    <a:pt x="468" y="336"/>
                  </a:lnTo>
                  <a:lnTo>
                    <a:pt x="470" y="334"/>
                  </a:lnTo>
                  <a:lnTo>
                    <a:pt x="474" y="334"/>
                  </a:lnTo>
                  <a:lnTo>
                    <a:pt x="474" y="334"/>
                  </a:lnTo>
                  <a:lnTo>
                    <a:pt x="476" y="332"/>
                  </a:lnTo>
                  <a:lnTo>
                    <a:pt x="478" y="328"/>
                  </a:lnTo>
                  <a:lnTo>
                    <a:pt x="482" y="326"/>
                  </a:lnTo>
                  <a:lnTo>
                    <a:pt x="484" y="324"/>
                  </a:lnTo>
                  <a:lnTo>
                    <a:pt x="484" y="324"/>
                  </a:lnTo>
                  <a:lnTo>
                    <a:pt x="486" y="322"/>
                  </a:lnTo>
                  <a:lnTo>
                    <a:pt x="488" y="322"/>
                  </a:lnTo>
                  <a:lnTo>
                    <a:pt x="490" y="322"/>
                  </a:lnTo>
                  <a:lnTo>
                    <a:pt x="496" y="322"/>
                  </a:lnTo>
                  <a:lnTo>
                    <a:pt x="498" y="320"/>
                  </a:lnTo>
                  <a:lnTo>
                    <a:pt x="500" y="320"/>
                  </a:lnTo>
                  <a:lnTo>
                    <a:pt x="500" y="320"/>
                  </a:lnTo>
                  <a:lnTo>
                    <a:pt x="504" y="320"/>
                  </a:lnTo>
                  <a:lnTo>
                    <a:pt x="504" y="318"/>
                  </a:lnTo>
                  <a:lnTo>
                    <a:pt x="506" y="316"/>
                  </a:lnTo>
                  <a:lnTo>
                    <a:pt x="506" y="316"/>
                  </a:lnTo>
                  <a:lnTo>
                    <a:pt x="506" y="314"/>
                  </a:lnTo>
                  <a:lnTo>
                    <a:pt x="506" y="312"/>
                  </a:lnTo>
                  <a:lnTo>
                    <a:pt x="506" y="312"/>
                  </a:lnTo>
                  <a:lnTo>
                    <a:pt x="506" y="310"/>
                  </a:lnTo>
                  <a:lnTo>
                    <a:pt x="506" y="308"/>
                  </a:lnTo>
                  <a:lnTo>
                    <a:pt x="506" y="306"/>
                  </a:lnTo>
                  <a:lnTo>
                    <a:pt x="506" y="304"/>
                  </a:lnTo>
                  <a:lnTo>
                    <a:pt x="506" y="304"/>
                  </a:lnTo>
                  <a:lnTo>
                    <a:pt x="508" y="304"/>
                  </a:lnTo>
                  <a:lnTo>
                    <a:pt x="508" y="304"/>
                  </a:lnTo>
                  <a:lnTo>
                    <a:pt x="510" y="304"/>
                  </a:lnTo>
                  <a:lnTo>
                    <a:pt x="512" y="304"/>
                  </a:lnTo>
                  <a:lnTo>
                    <a:pt x="514" y="306"/>
                  </a:lnTo>
                  <a:lnTo>
                    <a:pt x="516" y="306"/>
                  </a:lnTo>
                  <a:lnTo>
                    <a:pt x="520" y="310"/>
                  </a:lnTo>
                  <a:lnTo>
                    <a:pt x="524" y="314"/>
                  </a:lnTo>
                  <a:lnTo>
                    <a:pt x="524" y="314"/>
                  </a:lnTo>
                  <a:lnTo>
                    <a:pt x="524" y="314"/>
                  </a:lnTo>
                  <a:lnTo>
                    <a:pt x="526" y="316"/>
                  </a:lnTo>
                  <a:lnTo>
                    <a:pt x="526" y="316"/>
                  </a:lnTo>
                  <a:lnTo>
                    <a:pt x="526" y="316"/>
                  </a:lnTo>
                  <a:lnTo>
                    <a:pt x="530" y="316"/>
                  </a:lnTo>
                  <a:lnTo>
                    <a:pt x="532" y="318"/>
                  </a:lnTo>
                  <a:lnTo>
                    <a:pt x="532" y="318"/>
                  </a:lnTo>
                  <a:lnTo>
                    <a:pt x="532" y="318"/>
                  </a:lnTo>
                  <a:lnTo>
                    <a:pt x="536" y="320"/>
                  </a:lnTo>
                  <a:lnTo>
                    <a:pt x="536" y="320"/>
                  </a:lnTo>
                  <a:lnTo>
                    <a:pt x="536" y="320"/>
                  </a:lnTo>
                  <a:lnTo>
                    <a:pt x="540" y="320"/>
                  </a:lnTo>
                  <a:lnTo>
                    <a:pt x="544" y="322"/>
                  </a:lnTo>
                  <a:lnTo>
                    <a:pt x="544" y="322"/>
                  </a:lnTo>
                  <a:lnTo>
                    <a:pt x="554" y="322"/>
                  </a:lnTo>
                  <a:lnTo>
                    <a:pt x="562" y="322"/>
                  </a:lnTo>
                  <a:lnTo>
                    <a:pt x="570" y="322"/>
                  </a:lnTo>
                  <a:lnTo>
                    <a:pt x="574" y="322"/>
                  </a:lnTo>
                  <a:lnTo>
                    <a:pt x="578" y="320"/>
                  </a:lnTo>
                  <a:lnTo>
                    <a:pt x="578" y="320"/>
                  </a:lnTo>
                  <a:lnTo>
                    <a:pt x="580" y="320"/>
                  </a:lnTo>
                  <a:lnTo>
                    <a:pt x="580" y="320"/>
                  </a:lnTo>
                  <a:lnTo>
                    <a:pt x="580" y="320"/>
                  </a:lnTo>
                  <a:lnTo>
                    <a:pt x="582" y="318"/>
                  </a:lnTo>
                  <a:lnTo>
                    <a:pt x="582" y="318"/>
                  </a:lnTo>
                  <a:lnTo>
                    <a:pt x="582" y="318"/>
                  </a:lnTo>
                  <a:lnTo>
                    <a:pt x="582" y="316"/>
                  </a:lnTo>
                  <a:lnTo>
                    <a:pt x="582" y="314"/>
                  </a:lnTo>
                  <a:lnTo>
                    <a:pt x="582" y="312"/>
                  </a:lnTo>
                  <a:lnTo>
                    <a:pt x="584" y="312"/>
                  </a:lnTo>
                  <a:lnTo>
                    <a:pt x="584" y="312"/>
                  </a:lnTo>
                  <a:lnTo>
                    <a:pt x="586" y="312"/>
                  </a:lnTo>
                  <a:lnTo>
                    <a:pt x="588" y="310"/>
                  </a:lnTo>
                  <a:lnTo>
                    <a:pt x="588" y="310"/>
                  </a:lnTo>
                  <a:lnTo>
                    <a:pt x="588" y="310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90" y="308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6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92" y="304"/>
                  </a:lnTo>
                  <a:lnTo>
                    <a:pt x="594" y="300"/>
                  </a:lnTo>
                  <a:lnTo>
                    <a:pt x="594" y="298"/>
                  </a:lnTo>
                  <a:lnTo>
                    <a:pt x="596" y="296"/>
                  </a:lnTo>
                  <a:lnTo>
                    <a:pt x="596" y="296"/>
                  </a:lnTo>
                  <a:lnTo>
                    <a:pt x="596" y="296"/>
                  </a:lnTo>
                  <a:lnTo>
                    <a:pt x="596" y="288"/>
                  </a:lnTo>
                  <a:lnTo>
                    <a:pt x="598" y="284"/>
                  </a:lnTo>
                  <a:lnTo>
                    <a:pt x="600" y="278"/>
                  </a:lnTo>
                  <a:lnTo>
                    <a:pt x="602" y="274"/>
                  </a:lnTo>
                  <a:lnTo>
                    <a:pt x="602" y="274"/>
                  </a:lnTo>
                  <a:lnTo>
                    <a:pt x="602" y="274"/>
                  </a:lnTo>
                  <a:lnTo>
                    <a:pt x="602" y="272"/>
                  </a:lnTo>
                  <a:lnTo>
                    <a:pt x="602" y="272"/>
                  </a:lnTo>
                  <a:lnTo>
                    <a:pt x="602" y="272"/>
                  </a:lnTo>
                  <a:lnTo>
                    <a:pt x="600" y="270"/>
                  </a:lnTo>
                  <a:lnTo>
                    <a:pt x="600" y="270"/>
                  </a:lnTo>
                  <a:lnTo>
                    <a:pt x="600" y="268"/>
                  </a:lnTo>
                  <a:lnTo>
                    <a:pt x="600" y="268"/>
                  </a:lnTo>
                  <a:lnTo>
                    <a:pt x="600" y="268"/>
                  </a:lnTo>
                  <a:lnTo>
                    <a:pt x="598" y="266"/>
                  </a:lnTo>
                  <a:lnTo>
                    <a:pt x="598" y="264"/>
                  </a:lnTo>
                  <a:lnTo>
                    <a:pt x="598" y="264"/>
                  </a:lnTo>
                  <a:lnTo>
                    <a:pt x="598" y="264"/>
                  </a:lnTo>
                  <a:lnTo>
                    <a:pt x="594" y="264"/>
                  </a:lnTo>
                  <a:lnTo>
                    <a:pt x="594" y="264"/>
                  </a:lnTo>
                  <a:lnTo>
                    <a:pt x="594" y="262"/>
                  </a:lnTo>
                  <a:lnTo>
                    <a:pt x="592" y="262"/>
                  </a:lnTo>
                  <a:lnTo>
                    <a:pt x="588" y="260"/>
                  </a:lnTo>
                  <a:lnTo>
                    <a:pt x="584" y="258"/>
                  </a:lnTo>
                  <a:lnTo>
                    <a:pt x="580" y="256"/>
                  </a:lnTo>
                  <a:lnTo>
                    <a:pt x="576" y="252"/>
                  </a:lnTo>
                  <a:lnTo>
                    <a:pt x="570" y="246"/>
                  </a:lnTo>
                  <a:lnTo>
                    <a:pt x="566" y="244"/>
                  </a:lnTo>
                  <a:lnTo>
                    <a:pt x="562" y="240"/>
                  </a:lnTo>
                  <a:lnTo>
                    <a:pt x="562" y="240"/>
                  </a:lnTo>
                  <a:lnTo>
                    <a:pt x="562" y="240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8" y="238"/>
                  </a:lnTo>
                  <a:lnTo>
                    <a:pt x="554" y="236"/>
                  </a:lnTo>
                  <a:lnTo>
                    <a:pt x="550" y="236"/>
                  </a:lnTo>
                  <a:lnTo>
                    <a:pt x="548" y="234"/>
                  </a:lnTo>
                  <a:lnTo>
                    <a:pt x="544" y="230"/>
                  </a:lnTo>
                  <a:lnTo>
                    <a:pt x="540" y="226"/>
                  </a:lnTo>
                  <a:lnTo>
                    <a:pt x="538" y="220"/>
                  </a:lnTo>
                  <a:lnTo>
                    <a:pt x="538" y="216"/>
                  </a:lnTo>
                  <a:lnTo>
                    <a:pt x="538" y="208"/>
                  </a:lnTo>
                  <a:lnTo>
                    <a:pt x="538" y="202"/>
                  </a:lnTo>
                  <a:lnTo>
                    <a:pt x="538" y="194"/>
                  </a:lnTo>
                  <a:lnTo>
                    <a:pt x="538" y="186"/>
                  </a:lnTo>
                  <a:lnTo>
                    <a:pt x="538" y="178"/>
                  </a:lnTo>
                  <a:lnTo>
                    <a:pt x="538" y="178"/>
                  </a:lnTo>
                  <a:lnTo>
                    <a:pt x="536" y="178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4" y="172"/>
                  </a:lnTo>
                  <a:lnTo>
                    <a:pt x="532" y="168"/>
                  </a:lnTo>
                  <a:lnTo>
                    <a:pt x="532" y="166"/>
                  </a:lnTo>
                  <a:lnTo>
                    <a:pt x="532" y="162"/>
                  </a:lnTo>
                  <a:lnTo>
                    <a:pt x="532" y="154"/>
                  </a:lnTo>
                  <a:lnTo>
                    <a:pt x="532" y="148"/>
                  </a:lnTo>
                  <a:lnTo>
                    <a:pt x="534" y="140"/>
                  </a:lnTo>
                  <a:lnTo>
                    <a:pt x="536" y="132"/>
                  </a:lnTo>
                  <a:lnTo>
                    <a:pt x="536" y="126"/>
                  </a:lnTo>
                  <a:lnTo>
                    <a:pt x="540" y="118"/>
                  </a:lnTo>
                  <a:lnTo>
                    <a:pt x="542" y="114"/>
                  </a:lnTo>
                  <a:lnTo>
                    <a:pt x="542" y="114"/>
                  </a:lnTo>
                  <a:lnTo>
                    <a:pt x="542" y="110"/>
                  </a:lnTo>
                  <a:lnTo>
                    <a:pt x="540" y="108"/>
                  </a:lnTo>
                  <a:lnTo>
                    <a:pt x="538" y="106"/>
                  </a:lnTo>
                  <a:lnTo>
                    <a:pt x="538" y="106"/>
                  </a:lnTo>
                  <a:lnTo>
                    <a:pt x="538" y="106"/>
                  </a:lnTo>
                  <a:lnTo>
                    <a:pt x="534" y="104"/>
                  </a:lnTo>
                  <a:lnTo>
                    <a:pt x="534" y="104"/>
                  </a:lnTo>
                  <a:lnTo>
                    <a:pt x="534" y="104"/>
                  </a:lnTo>
                  <a:lnTo>
                    <a:pt x="530" y="104"/>
                  </a:lnTo>
                  <a:lnTo>
                    <a:pt x="530" y="104"/>
                  </a:lnTo>
                  <a:lnTo>
                    <a:pt x="528" y="104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4" y="102"/>
                  </a:lnTo>
                  <a:lnTo>
                    <a:pt x="520" y="104"/>
                  </a:lnTo>
                  <a:lnTo>
                    <a:pt x="516" y="104"/>
                  </a:lnTo>
                  <a:lnTo>
                    <a:pt x="506" y="106"/>
                  </a:lnTo>
                  <a:lnTo>
                    <a:pt x="506" y="106"/>
                  </a:lnTo>
                  <a:lnTo>
                    <a:pt x="506" y="106"/>
                  </a:lnTo>
                  <a:lnTo>
                    <a:pt x="504" y="108"/>
                  </a:lnTo>
                  <a:lnTo>
                    <a:pt x="504" y="108"/>
                  </a:lnTo>
                  <a:lnTo>
                    <a:pt x="502" y="108"/>
                  </a:lnTo>
                  <a:lnTo>
                    <a:pt x="502" y="112"/>
                  </a:lnTo>
                  <a:lnTo>
                    <a:pt x="502" y="112"/>
                  </a:lnTo>
                  <a:lnTo>
                    <a:pt x="500" y="112"/>
                  </a:lnTo>
                  <a:lnTo>
                    <a:pt x="500" y="114"/>
                  </a:lnTo>
                  <a:lnTo>
                    <a:pt x="500" y="114"/>
                  </a:lnTo>
                  <a:lnTo>
                    <a:pt x="500" y="114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500" y="118"/>
                  </a:lnTo>
                  <a:lnTo>
                    <a:pt x="496" y="114"/>
                  </a:lnTo>
                  <a:lnTo>
                    <a:pt x="496" y="114"/>
                  </a:lnTo>
                  <a:lnTo>
                    <a:pt x="496" y="114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4" y="112"/>
                  </a:lnTo>
                  <a:lnTo>
                    <a:pt x="492" y="110"/>
                  </a:lnTo>
                  <a:lnTo>
                    <a:pt x="492" y="110"/>
                  </a:lnTo>
                  <a:lnTo>
                    <a:pt x="488" y="110"/>
                  </a:lnTo>
                  <a:lnTo>
                    <a:pt x="488" y="110"/>
                  </a:lnTo>
                  <a:lnTo>
                    <a:pt x="486" y="110"/>
                  </a:lnTo>
                  <a:lnTo>
                    <a:pt x="486" y="114"/>
                  </a:lnTo>
                  <a:lnTo>
                    <a:pt x="486" y="114"/>
                  </a:lnTo>
                  <a:lnTo>
                    <a:pt x="486" y="114"/>
                  </a:lnTo>
                  <a:lnTo>
                    <a:pt x="484" y="118"/>
                  </a:lnTo>
                  <a:lnTo>
                    <a:pt x="482" y="124"/>
                  </a:lnTo>
                  <a:lnTo>
                    <a:pt x="482" y="128"/>
                  </a:lnTo>
                  <a:lnTo>
                    <a:pt x="482" y="140"/>
                  </a:lnTo>
                  <a:lnTo>
                    <a:pt x="484" y="150"/>
                  </a:lnTo>
                  <a:lnTo>
                    <a:pt x="486" y="162"/>
                  </a:lnTo>
                  <a:lnTo>
                    <a:pt x="486" y="168"/>
                  </a:lnTo>
                  <a:lnTo>
                    <a:pt x="488" y="174"/>
                  </a:lnTo>
                  <a:lnTo>
                    <a:pt x="490" y="178"/>
                  </a:lnTo>
                  <a:lnTo>
                    <a:pt x="492" y="182"/>
                  </a:lnTo>
                  <a:lnTo>
                    <a:pt x="494" y="186"/>
                  </a:lnTo>
                  <a:lnTo>
                    <a:pt x="496" y="190"/>
                  </a:lnTo>
                  <a:lnTo>
                    <a:pt x="496" y="190"/>
                  </a:lnTo>
                  <a:lnTo>
                    <a:pt x="496" y="190"/>
                  </a:lnTo>
                  <a:lnTo>
                    <a:pt x="496" y="192"/>
                  </a:lnTo>
                  <a:lnTo>
                    <a:pt x="494" y="192"/>
                  </a:lnTo>
                  <a:lnTo>
                    <a:pt x="494" y="194"/>
                  </a:lnTo>
                  <a:lnTo>
                    <a:pt x="492" y="194"/>
                  </a:lnTo>
                  <a:lnTo>
                    <a:pt x="492" y="194"/>
                  </a:lnTo>
                  <a:lnTo>
                    <a:pt x="492" y="194"/>
                  </a:lnTo>
                  <a:lnTo>
                    <a:pt x="490" y="196"/>
                  </a:lnTo>
                  <a:lnTo>
                    <a:pt x="490" y="196"/>
                  </a:lnTo>
                  <a:lnTo>
                    <a:pt x="490" y="196"/>
                  </a:lnTo>
                  <a:lnTo>
                    <a:pt x="490" y="194"/>
                  </a:lnTo>
                  <a:lnTo>
                    <a:pt x="490" y="194"/>
                  </a:lnTo>
                  <a:lnTo>
                    <a:pt x="490" y="194"/>
                  </a:lnTo>
                  <a:lnTo>
                    <a:pt x="488" y="192"/>
                  </a:lnTo>
                  <a:lnTo>
                    <a:pt x="488" y="186"/>
                  </a:lnTo>
                  <a:lnTo>
                    <a:pt x="486" y="178"/>
                  </a:lnTo>
                  <a:lnTo>
                    <a:pt x="484" y="172"/>
                  </a:lnTo>
                  <a:lnTo>
                    <a:pt x="482" y="164"/>
                  </a:lnTo>
                  <a:lnTo>
                    <a:pt x="478" y="156"/>
                  </a:lnTo>
                  <a:lnTo>
                    <a:pt x="474" y="150"/>
                  </a:lnTo>
                  <a:lnTo>
                    <a:pt x="470" y="144"/>
                  </a:lnTo>
                  <a:lnTo>
                    <a:pt x="464" y="138"/>
                  </a:lnTo>
                  <a:lnTo>
                    <a:pt x="464" y="138"/>
                  </a:lnTo>
                  <a:lnTo>
                    <a:pt x="462" y="138"/>
                  </a:lnTo>
                  <a:lnTo>
                    <a:pt x="462" y="138"/>
                  </a:lnTo>
                  <a:lnTo>
                    <a:pt x="460" y="140"/>
                  </a:lnTo>
                  <a:lnTo>
                    <a:pt x="458" y="142"/>
                  </a:lnTo>
                  <a:lnTo>
                    <a:pt x="458" y="142"/>
                  </a:lnTo>
                  <a:lnTo>
                    <a:pt x="458" y="142"/>
                  </a:lnTo>
                  <a:lnTo>
                    <a:pt x="456" y="146"/>
                  </a:lnTo>
                  <a:lnTo>
                    <a:pt x="456" y="156"/>
                  </a:lnTo>
                  <a:lnTo>
                    <a:pt x="454" y="160"/>
                  </a:lnTo>
                  <a:lnTo>
                    <a:pt x="454" y="162"/>
                  </a:lnTo>
                  <a:lnTo>
                    <a:pt x="452" y="164"/>
                  </a:lnTo>
                  <a:lnTo>
                    <a:pt x="452" y="164"/>
                  </a:lnTo>
                  <a:lnTo>
                    <a:pt x="450" y="164"/>
                  </a:lnTo>
                  <a:lnTo>
                    <a:pt x="448" y="166"/>
                  </a:lnTo>
                  <a:lnTo>
                    <a:pt x="448" y="166"/>
                  </a:lnTo>
                  <a:lnTo>
                    <a:pt x="446" y="166"/>
                  </a:lnTo>
                  <a:lnTo>
                    <a:pt x="440" y="168"/>
                  </a:lnTo>
                  <a:lnTo>
                    <a:pt x="436" y="168"/>
                  </a:lnTo>
                  <a:lnTo>
                    <a:pt x="432" y="166"/>
                  </a:lnTo>
                  <a:lnTo>
                    <a:pt x="432" y="166"/>
                  </a:lnTo>
                  <a:lnTo>
                    <a:pt x="432" y="162"/>
                  </a:lnTo>
                  <a:lnTo>
                    <a:pt x="434" y="160"/>
                  </a:lnTo>
                  <a:lnTo>
                    <a:pt x="434" y="156"/>
                  </a:lnTo>
                  <a:lnTo>
                    <a:pt x="434" y="156"/>
                  </a:lnTo>
                  <a:lnTo>
                    <a:pt x="434" y="154"/>
                  </a:lnTo>
                  <a:lnTo>
                    <a:pt x="434" y="152"/>
                  </a:lnTo>
                  <a:lnTo>
                    <a:pt x="432" y="148"/>
                  </a:lnTo>
                  <a:lnTo>
                    <a:pt x="432" y="148"/>
                  </a:lnTo>
                  <a:lnTo>
                    <a:pt x="432" y="148"/>
                  </a:lnTo>
                  <a:lnTo>
                    <a:pt x="430" y="144"/>
                  </a:lnTo>
                  <a:lnTo>
                    <a:pt x="430" y="144"/>
                  </a:lnTo>
                  <a:lnTo>
                    <a:pt x="428" y="144"/>
                  </a:lnTo>
                  <a:lnTo>
                    <a:pt x="426" y="142"/>
                  </a:lnTo>
                  <a:lnTo>
                    <a:pt x="426" y="142"/>
                  </a:lnTo>
                  <a:lnTo>
                    <a:pt x="424" y="142"/>
                  </a:lnTo>
                  <a:lnTo>
                    <a:pt x="422" y="140"/>
                  </a:lnTo>
                  <a:lnTo>
                    <a:pt x="420" y="138"/>
                  </a:lnTo>
                  <a:lnTo>
                    <a:pt x="420" y="138"/>
                  </a:lnTo>
                  <a:lnTo>
                    <a:pt x="418" y="138"/>
                  </a:lnTo>
                  <a:lnTo>
                    <a:pt x="414" y="138"/>
                  </a:lnTo>
                  <a:lnTo>
                    <a:pt x="412" y="138"/>
                  </a:lnTo>
                  <a:lnTo>
                    <a:pt x="412" y="138"/>
                  </a:lnTo>
                  <a:lnTo>
                    <a:pt x="410" y="138"/>
                  </a:lnTo>
                  <a:lnTo>
                    <a:pt x="408" y="140"/>
                  </a:lnTo>
                  <a:lnTo>
                    <a:pt x="408" y="140"/>
                  </a:lnTo>
                  <a:lnTo>
                    <a:pt x="406" y="140"/>
                  </a:lnTo>
                  <a:lnTo>
                    <a:pt x="404" y="140"/>
                  </a:lnTo>
                  <a:lnTo>
                    <a:pt x="404" y="140"/>
                  </a:lnTo>
                  <a:lnTo>
                    <a:pt x="404" y="142"/>
                  </a:lnTo>
                  <a:lnTo>
                    <a:pt x="404" y="142"/>
                  </a:lnTo>
                  <a:lnTo>
                    <a:pt x="400" y="146"/>
                  </a:lnTo>
                  <a:lnTo>
                    <a:pt x="400" y="150"/>
                  </a:lnTo>
                  <a:lnTo>
                    <a:pt x="398" y="152"/>
                  </a:lnTo>
                  <a:lnTo>
                    <a:pt x="398" y="152"/>
                  </a:lnTo>
                  <a:lnTo>
                    <a:pt x="398" y="152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6"/>
                  </a:lnTo>
                  <a:lnTo>
                    <a:pt x="398" y="156"/>
                  </a:lnTo>
                  <a:lnTo>
                    <a:pt x="398" y="156"/>
                  </a:lnTo>
                  <a:lnTo>
                    <a:pt x="396" y="154"/>
                  </a:lnTo>
                  <a:lnTo>
                    <a:pt x="396" y="154"/>
                  </a:lnTo>
                  <a:lnTo>
                    <a:pt x="394" y="154"/>
                  </a:lnTo>
                  <a:lnTo>
                    <a:pt x="394" y="152"/>
                  </a:lnTo>
                  <a:lnTo>
                    <a:pt x="394" y="150"/>
                  </a:lnTo>
                  <a:lnTo>
                    <a:pt x="394" y="146"/>
                  </a:lnTo>
                  <a:lnTo>
                    <a:pt x="394" y="142"/>
                  </a:lnTo>
                  <a:lnTo>
                    <a:pt x="394" y="136"/>
                  </a:lnTo>
                  <a:lnTo>
                    <a:pt x="394" y="132"/>
                  </a:lnTo>
                  <a:lnTo>
                    <a:pt x="394" y="126"/>
                  </a:lnTo>
                  <a:lnTo>
                    <a:pt x="394" y="126"/>
                  </a:lnTo>
                  <a:lnTo>
                    <a:pt x="394" y="124"/>
                  </a:lnTo>
                  <a:lnTo>
                    <a:pt x="394" y="124"/>
                  </a:lnTo>
                  <a:lnTo>
                    <a:pt x="390" y="124"/>
                  </a:lnTo>
                  <a:lnTo>
                    <a:pt x="390" y="124"/>
                  </a:lnTo>
                  <a:lnTo>
                    <a:pt x="388" y="124"/>
                  </a:lnTo>
                  <a:lnTo>
                    <a:pt x="386" y="126"/>
                  </a:lnTo>
                  <a:lnTo>
                    <a:pt x="384" y="126"/>
                  </a:lnTo>
                  <a:lnTo>
                    <a:pt x="382" y="128"/>
                  </a:lnTo>
                  <a:lnTo>
                    <a:pt x="382" y="128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28"/>
                  </a:lnTo>
                  <a:lnTo>
                    <a:pt x="380" y="130"/>
                  </a:lnTo>
                  <a:lnTo>
                    <a:pt x="376" y="130"/>
                  </a:lnTo>
                  <a:lnTo>
                    <a:pt x="370" y="132"/>
                  </a:lnTo>
                  <a:lnTo>
                    <a:pt x="362" y="134"/>
                  </a:lnTo>
                  <a:lnTo>
                    <a:pt x="358" y="136"/>
                  </a:lnTo>
                  <a:lnTo>
                    <a:pt x="358" y="136"/>
                  </a:lnTo>
                  <a:lnTo>
                    <a:pt x="360" y="134"/>
                  </a:lnTo>
                  <a:lnTo>
                    <a:pt x="362" y="132"/>
                  </a:lnTo>
                  <a:lnTo>
                    <a:pt x="364" y="128"/>
                  </a:lnTo>
                  <a:lnTo>
                    <a:pt x="366" y="128"/>
                  </a:lnTo>
                  <a:lnTo>
                    <a:pt x="366" y="126"/>
                  </a:lnTo>
                  <a:lnTo>
                    <a:pt x="368" y="126"/>
                  </a:lnTo>
                  <a:lnTo>
                    <a:pt x="368" y="126"/>
                  </a:lnTo>
                  <a:lnTo>
                    <a:pt x="370" y="126"/>
                  </a:lnTo>
                  <a:lnTo>
                    <a:pt x="372" y="126"/>
                  </a:lnTo>
                  <a:lnTo>
                    <a:pt x="376" y="124"/>
                  </a:lnTo>
                  <a:lnTo>
                    <a:pt x="380" y="124"/>
                  </a:lnTo>
                  <a:lnTo>
                    <a:pt x="380" y="124"/>
                  </a:lnTo>
                  <a:lnTo>
                    <a:pt x="382" y="124"/>
                  </a:lnTo>
                  <a:lnTo>
                    <a:pt x="382" y="120"/>
                  </a:lnTo>
                  <a:lnTo>
                    <a:pt x="382" y="118"/>
                  </a:lnTo>
                  <a:lnTo>
                    <a:pt x="380" y="114"/>
                  </a:lnTo>
                  <a:lnTo>
                    <a:pt x="380" y="108"/>
                  </a:lnTo>
                  <a:lnTo>
                    <a:pt x="380" y="108"/>
                  </a:lnTo>
                  <a:lnTo>
                    <a:pt x="378" y="106"/>
                  </a:lnTo>
                  <a:lnTo>
                    <a:pt x="376" y="102"/>
                  </a:lnTo>
                  <a:lnTo>
                    <a:pt x="374" y="98"/>
                  </a:lnTo>
                  <a:lnTo>
                    <a:pt x="372" y="96"/>
                  </a:lnTo>
                  <a:lnTo>
                    <a:pt x="372" y="94"/>
                  </a:lnTo>
                  <a:lnTo>
                    <a:pt x="372" y="92"/>
                  </a:lnTo>
                  <a:lnTo>
                    <a:pt x="372" y="92"/>
                  </a:lnTo>
                  <a:lnTo>
                    <a:pt x="372" y="92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70" y="88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6" y="86"/>
                  </a:lnTo>
                  <a:lnTo>
                    <a:pt x="364" y="84"/>
                  </a:lnTo>
                  <a:lnTo>
                    <a:pt x="362" y="84"/>
                  </a:lnTo>
                  <a:lnTo>
                    <a:pt x="360" y="80"/>
                  </a:lnTo>
                  <a:lnTo>
                    <a:pt x="358" y="78"/>
                  </a:lnTo>
                  <a:lnTo>
                    <a:pt x="354" y="76"/>
                  </a:lnTo>
                  <a:lnTo>
                    <a:pt x="352" y="72"/>
                  </a:lnTo>
                  <a:lnTo>
                    <a:pt x="352" y="72"/>
                  </a:lnTo>
                  <a:lnTo>
                    <a:pt x="350" y="72"/>
                  </a:lnTo>
                  <a:lnTo>
                    <a:pt x="346" y="72"/>
                  </a:lnTo>
                  <a:lnTo>
                    <a:pt x="342" y="72"/>
                  </a:lnTo>
                  <a:lnTo>
                    <a:pt x="338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4" y="72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30" y="74"/>
                  </a:lnTo>
                  <a:lnTo>
                    <a:pt x="328" y="76"/>
                  </a:lnTo>
                  <a:lnTo>
                    <a:pt x="328" y="76"/>
                  </a:lnTo>
                  <a:lnTo>
                    <a:pt x="326" y="76"/>
                  </a:lnTo>
                  <a:lnTo>
                    <a:pt x="324" y="78"/>
                  </a:lnTo>
                  <a:lnTo>
                    <a:pt x="324" y="78"/>
                  </a:lnTo>
                  <a:lnTo>
                    <a:pt x="324" y="78"/>
                  </a:lnTo>
                  <a:lnTo>
                    <a:pt x="322" y="82"/>
                  </a:lnTo>
                  <a:lnTo>
                    <a:pt x="322" y="84"/>
                  </a:lnTo>
                  <a:lnTo>
                    <a:pt x="320" y="84"/>
                  </a:lnTo>
                  <a:lnTo>
                    <a:pt x="316" y="80"/>
                  </a:lnTo>
                  <a:lnTo>
                    <a:pt x="314" y="78"/>
                  </a:lnTo>
                  <a:lnTo>
                    <a:pt x="310" y="74"/>
                  </a:lnTo>
                  <a:lnTo>
                    <a:pt x="308" y="72"/>
                  </a:lnTo>
                  <a:lnTo>
                    <a:pt x="304" y="68"/>
                  </a:lnTo>
                  <a:lnTo>
                    <a:pt x="304" y="68"/>
                  </a:lnTo>
                  <a:lnTo>
                    <a:pt x="304" y="68"/>
                  </a:lnTo>
                  <a:lnTo>
                    <a:pt x="300" y="66"/>
                  </a:lnTo>
                  <a:lnTo>
                    <a:pt x="300" y="66"/>
                  </a:lnTo>
                  <a:lnTo>
                    <a:pt x="300" y="66"/>
                  </a:lnTo>
                  <a:lnTo>
                    <a:pt x="296" y="64"/>
                  </a:lnTo>
                  <a:lnTo>
                    <a:pt x="296" y="64"/>
                  </a:lnTo>
                  <a:lnTo>
                    <a:pt x="296" y="60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8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4" y="56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2" y="56"/>
                  </a:lnTo>
                  <a:lnTo>
                    <a:pt x="290" y="56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8" y="56"/>
                  </a:lnTo>
                  <a:lnTo>
                    <a:pt x="286" y="58"/>
                  </a:lnTo>
                  <a:lnTo>
                    <a:pt x="284" y="60"/>
                  </a:lnTo>
                  <a:lnTo>
                    <a:pt x="282" y="62"/>
                  </a:lnTo>
                  <a:lnTo>
                    <a:pt x="280" y="62"/>
                  </a:lnTo>
                  <a:lnTo>
                    <a:pt x="274" y="60"/>
                  </a:lnTo>
                  <a:lnTo>
                    <a:pt x="270" y="60"/>
                  </a:lnTo>
                  <a:lnTo>
                    <a:pt x="266" y="58"/>
                  </a:lnTo>
                  <a:lnTo>
                    <a:pt x="266" y="58"/>
                  </a:lnTo>
                  <a:lnTo>
                    <a:pt x="264" y="58"/>
                  </a:lnTo>
                  <a:lnTo>
                    <a:pt x="258" y="62"/>
                  </a:lnTo>
                  <a:lnTo>
                    <a:pt x="254" y="64"/>
                  </a:lnTo>
                  <a:lnTo>
                    <a:pt x="248" y="66"/>
                  </a:lnTo>
                  <a:lnTo>
                    <a:pt x="246" y="68"/>
                  </a:lnTo>
                  <a:lnTo>
                    <a:pt x="242" y="68"/>
                  </a:lnTo>
                  <a:lnTo>
                    <a:pt x="242" y="68"/>
                  </a:lnTo>
                  <a:lnTo>
                    <a:pt x="240" y="70"/>
                  </a:lnTo>
                  <a:lnTo>
                    <a:pt x="240" y="70"/>
                  </a:lnTo>
                  <a:lnTo>
                    <a:pt x="240" y="72"/>
                  </a:lnTo>
                  <a:lnTo>
                    <a:pt x="242" y="74"/>
                  </a:lnTo>
                  <a:lnTo>
                    <a:pt x="242" y="78"/>
                  </a:lnTo>
                  <a:lnTo>
                    <a:pt x="242" y="82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2" y="86"/>
                  </a:lnTo>
                  <a:lnTo>
                    <a:pt x="244" y="88"/>
                  </a:lnTo>
                  <a:lnTo>
                    <a:pt x="244" y="88"/>
                  </a:lnTo>
                  <a:lnTo>
                    <a:pt x="244" y="90"/>
                  </a:lnTo>
                  <a:lnTo>
                    <a:pt x="246" y="90"/>
                  </a:lnTo>
                  <a:lnTo>
                    <a:pt x="246" y="90"/>
                  </a:lnTo>
                  <a:lnTo>
                    <a:pt x="246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48" y="92"/>
                  </a:lnTo>
                  <a:lnTo>
                    <a:pt x="250" y="92"/>
                  </a:lnTo>
                  <a:lnTo>
                    <a:pt x="250" y="94"/>
                  </a:lnTo>
                  <a:lnTo>
                    <a:pt x="250" y="96"/>
                  </a:lnTo>
                  <a:lnTo>
                    <a:pt x="250" y="100"/>
                  </a:lnTo>
                  <a:lnTo>
                    <a:pt x="250" y="106"/>
                  </a:lnTo>
                  <a:lnTo>
                    <a:pt x="250" y="112"/>
                  </a:lnTo>
                  <a:lnTo>
                    <a:pt x="248" y="120"/>
                  </a:lnTo>
                  <a:lnTo>
                    <a:pt x="246" y="126"/>
                  </a:lnTo>
                  <a:lnTo>
                    <a:pt x="244" y="128"/>
                  </a:lnTo>
                  <a:lnTo>
                    <a:pt x="242" y="130"/>
                  </a:lnTo>
                  <a:lnTo>
                    <a:pt x="242" y="132"/>
                  </a:lnTo>
                  <a:lnTo>
                    <a:pt x="242" y="132"/>
                  </a:lnTo>
                  <a:lnTo>
                    <a:pt x="240" y="132"/>
                  </a:lnTo>
                  <a:lnTo>
                    <a:pt x="240" y="132"/>
                  </a:lnTo>
                  <a:lnTo>
                    <a:pt x="240" y="136"/>
                  </a:lnTo>
                  <a:lnTo>
                    <a:pt x="240" y="140"/>
                  </a:lnTo>
                  <a:lnTo>
                    <a:pt x="240" y="142"/>
                  </a:lnTo>
                  <a:lnTo>
                    <a:pt x="240" y="144"/>
                  </a:lnTo>
                  <a:lnTo>
                    <a:pt x="240" y="146"/>
                  </a:lnTo>
                  <a:lnTo>
                    <a:pt x="240" y="148"/>
                  </a:lnTo>
                  <a:lnTo>
                    <a:pt x="238" y="150"/>
                  </a:lnTo>
                  <a:lnTo>
                    <a:pt x="236" y="152"/>
                  </a:lnTo>
                  <a:lnTo>
                    <a:pt x="234" y="156"/>
                  </a:lnTo>
                  <a:lnTo>
                    <a:pt x="234" y="156"/>
                  </a:lnTo>
                  <a:lnTo>
                    <a:pt x="234" y="158"/>
                  </a:lnTo>
                  <a:lnTo>
                    <a:pt x="234" y="160"/>
                  </a:lnTo>
                  <a:lnTo>
                    <a:pt x="232" y="162"/>
                  </a:lnTo>
                  <a:lnTo>
                    <a:pt x="232" y="164"/>
                  </a:lnTo>
                  <a:lnTo>
                    <a:pt x="230" y="168"/>
                  </a:lnTo>
                  <a:lnTo>
                    <a:pt x="228" y="170"/>
                  </a:lnTo>
                  <a:lnTo>
                    <a:pt x="226" y="172"/>
                  </a:lnTo>
                  <a:lnTo>
                    <a:pt x="224" y="174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22" y="176"/>
                  </a:lnTo>
                  <a:lnTo>
                    <a:pt x="220" y="178"/>
                  </a:lnTo>
                  <a:lnTo>
                    <a:pt x="220" y="178"/>
                  </a:lnTo>
                  <a:lnTo>
                    <a:pt x="220" y="180"/>
                  </a:lnTo>
                  <a:lnTo>
                    <a:pt x="220" y="182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4"/>
                  </a:lnTo>
                  <a:lnTo>
                    <a:pt x="218" y="188"/>
                  </a:lnTo>
                  <a:lnTo>
                    <a:pt x="218" y="188"/>
                  </a:lnTo>
                  <a:lnTo>
                    <a:pt x="220" y="190"/>
                  </a:lnTo>
                  <a:lnTo>
                    <a:pt x="222" y="190"/>
                  </a:lnTo>
                  <a:lnTo>
                    <a:pt x="226" y="192"/>
                  </a:lnTo>
                  <a:lnTo>
                    <a:pt x="232" y="192"/>
                  </a:lnTo>
                  <a:lnTo>
                    <a:pt x="236" y="192"/>
                  </a:lnTo>
                  <a:lnTo>
                    <a:pt x="242" y="192"/>
                  </a:lnTo>
                  <a:lnTo>
                    <a:pt x="242" y="192"/>
                  </a:lnTo>
                  <a:lnTo>
                    <a:pt x="242" y="194"/>
                  </a:lnTo>
                  <a:lnTo>
                    <a:pt x="242" y="194"/>
                  </a:lnTo>
                  <a:lnTo>
                    <a:pt x="244" y="196"/>
                  </a:lnTo>
                  <a:lnTo>
                    <a:pt x="246" y="200"/>
                  </a:lnTo>
                  <a:lnTo>
                    <a:pt x="246" y="200"/>
                  </a:lnTo>
                  <a:lnTo>
                    <a:pt x="246" y="200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48" y="202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2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4" y="204"/>
                  </a:lnTo>
                  <a:lnTo>
                    <a:pt x="256" y="206"/>
                  </a:lnTo>
                  <a:lnTo>
                    <a:pt x="256" y="210"/>
                  </a:lnTo>
                  <a:lnTo>
                    <a:pt x="258" y="216"/>
                  </a:lnTo>
                  <a:lnTo>
                    <a:pt x="260" y="220"/>
                  </a:lnTo>
                  <a:lnTo>
                    <a:pt x="262" y="224"/>
                  </a:lnTo>
                  <a:lnTo>
                    <a:pt x="262" y="224"/>
                  </a:lnTo>
                  <a:lnTo>
                    <a:pt x="262" y="224"/>
                  </a:lnTo>
                  <a:lnTo>
                    <a:pt x="264" y="226"/>
                  </a:lnTo>
                  <a:lnTo>
                    <a:pt x="264" y="226"/>
                  </a:lnTo>
                  <a:lnTo>
                    <a:pt x="264" y="228"/>
                  </a:lnTo>
                  <a:lnTo>
                    <a:pt x="266" y="230"/>
                  </a:lnTo>
                  <a:lnTo>
                    <a:pt x="266" y="230"/>
                  </a:lnTo>
                  <a:lnTo>
                    <a:pt x="270" y="230"/>
                  </a:lnTo>
                  <a:lnTo>
                    <a:pt x="272" y="230"/>
                  </a:lnTo>
                  <a:lnTo>
                    <a:pt x="276" y="228"/>
                  </a:lnTo>
                  <a:lnTo>
                    <a:pt x="278" y="228"/>
                  </a:lnTo>
                  <a:lnTo>
                    <a:pt x="280" y="226"/>
                  </a:lnTo>
                  <a:lnTo>
                    <a:pt x="280" y="226"/>
                  </a:lnTo>
                  <a:lnTo>
                    <a:pt x="280" y="226"/>
                  </a:lnTo>
                  <a:lnTo>
                    <a:pt x="282" y="224"/>
                  </a:lnTo>
                  <a:lnTo>
                    <a:pt x="284" y="220"/>
                  </a:lnTo>
                  <a:lnTo>
                    <a:pt x="286" y="218"/>
                  </a:lnTo>
                  <a:lnTo>
                    <a:pt x="290" y="216"/>
                  </a:lnTo>
                  <a:lnTo>
                    <a:pt x="290" y="216"/>
                  </a:lnTo>
                  <a:lnTo>
                    <a:pt x="294" y="214"/>
                  </a:lnTo>
                  <a:lnTo>
                    <a:pt x="296" y="214"/>
                  </a:lnTo>
                  <a:lnTo>
                    <a:pt x="298" y="214"/>
                  </a:lnTo>
                  <a:lnTo>
                    <a:pt x="298" y="214"/>
                  </a:lnTo>
                  <a:lnTo>
                    <a:pt x="300" y="212"/>
                  </a:lnTo>
                  <a:lnTo>
                    <a:pt x="302" y="210"/>
                  </a:lnTo>
                  <a:lnTo>
                    <a:pt x="302" y="210"/>
                  </a:lnTo>
                  <a:lnTo>
                    <a:pt x="304" y="210"/>
                  </a:lnTo>
                  <a:lnTo>
                    <a:pt x="304" y="208"/>
                  </a:lnTo>
                  <a:lnTo>
                    <a:pt x="304" y="208"/>
                  </a:lnTo>
                  <a:lnTo>
                    <a:pt x="304" y="206"/>
                  </a:lnTo>
                  <a:lnTo>
                    <a:pt x="306" y="204"/>
                  </a:lnTo>
                  <a:lnTo>
                    <a:pt x="306" y="204"/>
                  </a:lnTo>
                  <a:lnTo>
                    <a:pt x="306" y="204"/>
                  </a:lnTo>
                  <a:lnTo>
                    <a:pt x="306" y="202"/>
                  </a:lnTo>
                  <a:lnTo>
                    <a:pt x="306" y="202"/>
                  </a:lnTo>
                  <a:lnTo>
                    <a:pt x="306" y="200"/>
                  </a:lnTo>
                  <a:lnTo>
                    <a:pt x="308" y="196"/>
                  </a:lnTo>
                  <a:lnTo>
                    <a:pt x="308" y="192"/>
                  </a:lnTo>
                  <a:lnTo>
                    <a:pt x="308" y="188"/>
                  </a:lnTo>
                  <a:lnTo>
                    <a:pt x="308" y="188"/>
                  </a:lnTo>
                  <a:lnTo>
                    <a:pt x="308" y="186"/>
                  </a:lnTo>
                  <a:lnTo>
                    <a:pt x="310" y="186"/>
                  </a:lnTo>
                  <a:lnTo>
                    <a:pt x="312" y="184"/>
                  </a:lnTo>
                  <a:lnTo>
                    <a:pt x="316" y="184"/>
                  </a:lnTo>
                  <a:lnTo>
                    <a:pt x="320" y="184"/>
                  </a:lnTo>
                  <a:lnTo>
                    <a:pt x="320" y="184"/>
                  </a:lnTo>
                  <a:lnTo>
                    <a:pt x="320" y="184"/>
                  </a:lnTo>
                  <a:lnTo>
                    <a:pt x="322" y="182"/>
                  </a:lnTo>
                  <a:lnTo>
                    <a:pt x="322" y="178"/>
                  </a:lnTo>
                  <a:lnTo>
                    <a:pt x="322" y="176"/>
                  </a:lnTo>
                  <a:lnTo>
                    <a:pt x="324" y="170"/>
                  </a:lnTo>
                  <a:lnTo>
                    <a:pt x="324" y="166"/>
                  </a:lnTo>
                  <a:lnTo>
                    <a:pt x="324" y="164"/>
                  </a:lnTo>
                  <a:lnTo>
                    <a:pt x="324" y="162"/>
                  </a:lnTo>
                  <a:lnTo>
                    <a:pt x="326" y="160"/>
                  </a:lnTo>
                  <a:lnTo>
                    <a:pt x="326" y="160"/>
                  </a:lnTo>
                  <a:lnTo>
                    <a:pt x="328" y="158"/>
                  </a:lnTo>
                  <a:lnTo>
                    <a:pt x="330" y="156"/>
                  </a:lnTo>
                  <a:lnTo>
                    <a:pt x="332" y="156"/>
                  </a:lnTo>
                  <a:lnTo>
                    <a:pt x="338" y="152"/>
                  </a:lnTo>
                  <a:lnTo>
                    <a:pt x="340" y="150"/>
                  </a:lnTo>
                  <a:lnTo>
                    <a:pt x="342" y="150"/>
                  </a:lnTo>
                  <a:lnTo>
                    <a:pt x="342" y="150"/>
                  </a:lnTo>
                  <a:lnTo>
                    <a:pt x="344" y="148"/>
                  </a:lnTo>
                  <a:lnTo>
                    <a:pt x="344" y="146"/>
                  </a:lnTo>
                  <a:lnTo>
                    <a:pt x="346" y="144"/>
                  </a:lnTo>
                  <a:lnTo>
                    <a:pt x="348" y="140"/>
                  </a:lnTo>
                  <a:lnTo>
                    <a:pt x="348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50" y="140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2"/>
                  </a:lnTo>
                  <a:lnTo>
                    <a:pt x="346" y="146"/>
                  </a:lnTo>
                  <a:lnTo>
                    <a:pt x="344" y="150"/>
                  </a:lnTo>
                  <a:lnTo>
                    <a:pt x="342" y="152"/>
                  </a:lnTo>
                  <a:lnTo>
                    <a:pt x="342" y="154"/>
                  </a:lnTo>
                  <a:lnTo>
                    <a:pt x="340" y="156"/>
                  </a:lnTo>
                  <a:lnTo>
                    <a:pt x="338" y="158"/>
                  </a:lnTo>
                  <a:lnTo>
                    <a:pt x="338" y="158"/>
                  </a:lnTo>
                  <a:lnTo>
                    <a:pt x="336" y="158"/>
                  </a:lnTo>
                  <a:lnTo>
                    <a:pt x="336" y="158"/>
                  </a:lnTo>
                  <a:lnTo>
                    <a:pt x="336" y="158"/>
                  </a:lnTo>
                  <a:lnTo>
                    <a:pt x="334" y="160"/>
                  </a:lnTo>
                  <a:lnTo>
                    <a:pt x="334" y="160"/>
                  </a:lnTo>
                  <a:lnTo>
                    <a:pt x="334" y="160"/>
                  </a:lnTo>
                  <a:lnTo>
                    <a:pt x="332" y="162"/>
                  </a:lnTo>
                  <a:lnTo>
                    <a:pt x="332" y="162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2" y="164"/>
                  </a:lnTo>
                  <a:lnTo>
                    <a:pt x="330" y="166"/>
                  </a:lnTo>
                  <a:lnTo>
                    <a:pt x="330" y="168"/>
                  </a:lnTo>
                  <a:lnTo>
                    <a:pt x="330" y="168"/>
                  </a:lnTo>
                  <a:lnTo>
                    <a:pt x="332" y="168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2" y="170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4" y="172"/>
                  </a:lnTo>
                  <a:lnTo>
                    <a:pt x="336" y="174"/>
                  </a:lnTo>
                  <a:lnTo>
                    <a:pt x="336" y="174"/>
                  </a:lnTo>
                  <a:lnTo>
                    <a:pt x="332" y="178"/>
                  </a:lnTo>
                  <a:lnTo>
                    <a:pt x="330" y="180"/>
                  </a:lnTo>
                  <a:lnTo>
                    <a:pt x="328" y="184"/>
                  </a:lnTo>
                  <a:lnTo>
                    <a:pt x="328" y="184"/>
                  </a:lnTo>
                  <a:lnTo>
                    <a:pt x="326" y="184"/>
                  </a:lnTo>
                  <a:lnTo>
                    <a:pt x="326" y="188"/>
                  </a:lnTo>
                  <a:lnTo>
                    <a:pt x="326" y="190"/>
                  </a:lnTo>
                  <a:lnTo>
                    <a:pt x="324" y="192"/>
                  </a:lnTo>
                  <a:lnTo>
                    <a:pt x="322" y="196"/>
                  </a:lnTo>
                  <a:lnTo>
                    <a:pt x="322" y="198"/>
                  </a:lnTo>
                  <a:lnTo>
                    <a:pt x="320" y="200"/>
                  </a:lnTo>
                  <a:lnTo>
                    <a:pt x="320" y="200"/>
                  </a:lnTo>
                  <a:lnTo>
                    <a:pt x="320" y="202"/>
                  </a:lnTo>
                  <a:lnTo>
                    <a:pt x="320" y="204"/>
                  </a:lnTo>
                  <a:lnTo>
                    <a:pt x="322" y="206"/>
                  </a:lnTo>
                  <a:lnTo>
                    <a:pt x="324" y="208"/>
                  </a:lnTo>
                  <a:lnTo>
                    <a:pt x="326" y="208"/>
                  </a:lnTo>
                  <a:lnTo>
                    <a:pt x="328" y="208"/>
                  </a:lnTo>
                  <a:lnTo>
                    <a:pt x="328" y="208"/>
                  </a:lnTo>
                  <a:lnTo>
                    <a:pt x="328" y="210"/>
                  </a:lnTo>
                  <a:lnTo>
                    <a:pt x="330" y="210"/>
                  </a:lnTo>
                  <a:lnTo>
                    <a:pt x="330" y="210"/>
                  </a:lnTo>
                  <a:lnTo>
                    <a:pt x="332" y="210"/>
                  </a:lnTo>
                  <a:lnTo>
                    <a:pt x="334" y="210"/>
                  </a:lnTo>
                  <a:lnTo>
                    <a:pt x="336" y="208"/>
                  </a:lnTo>
                  <a:lnTo>
                    <a:pt x="338" y="208"/>
                  </a:lnTo>
                  <a:lnTo>
                    <a:pt x="340" y="208"/>
                  </a:lnTo>
                  <a:lnTo>
                    <a:pt x="344" y="208"/>
                  </a:lnTo>
                  <a:lnTo>
                    <a:pt x="348" y="208"/>
                  </a:lnTo>
                  <a:lnTo>
                    <a:pt x="352" y="208"/>
                  </a:lnTo>
                  <a:lnTo>
                    <a:pt x="360" y="208"/>
                  </a:lnTo>
                  <a:lnTo>
                    <a:pt x="366" y="208"/>
                  </a:lnTo>
                  <a:lnTo>
                    <a:pt x="370" y="208"/>
                  </a:lnTo>
                  <a:lnTo>
                    <a:pt x="372" y="210"/>
                  </a:lnTo>
                  <a:lnTo>
                    <a:pt x="376" y="210"/>
                  </a:lnTo>
                  <a:lnTo>
                    <a:pt x="374" y="210"/>
                  </a:lnTo>
                  <a:lnTo>
                    <a:pt x="372" y="210"/>
                  </a:lnTo>
                  <a:lnTo>
                    <a:pt x="368" y="214"/>
                  </a:lnTo>
                  <a:lnTo>
                    <a:pt x="364" y="216"/>
                  </a:lnTo>
                  <a:lnTo>
                    <a:pt x="358" y="218"/>
                  </a:lnTo>
                  <a:lnTo>
                    <a:pt x="354" y="220"/>
                  </a:lnTo>
                  <a:lnTo>
                    <a:pt x="352" y="222"/>
                  </a:lnTo>
                  <a:lnTo>
                    <a:pt x="348" y="222"/>
                  </a:lnTo>
                  <a:lnTo>
                    <a:pt x="344" y="222"/>
                  </a:lnTo>
                  <a:lnTo>
                    <a:pt x="340" y="222"/>
                  </a:lnTo>
                  <a:lnTo>
                    <a:pt x="340" y="222"/>
                  </a:lnTo>
                  <a:lnTo>
                    <a:pt x="338" y="224"/>
                  </a:lnTo>
                  <a:lnTo>
                    <a:pt x="336" y="224"/>
                  </a:lnTo>
                  <a:lnTo>
                    <a:pt x="336" y="224"/>
                  </a:lnTo>
                  <a:lnTo>
                    <a:pt x="336" y="224"/>
                  </a:lnTo>
                  <a:lnTo>
                    <a:pt x="334" y="226"/>
                  </a:lnTo>
                  <a:lnTo>
                    <a:pt x="334" y="226"/>
                  </a:lnTo>
                  <a:lnTo>
                    <a:pt x="334" y="226"/>
                  </a:lnTo>
                  <a:lnTo>
                    <a:pt x="330" y="230"/>
                  </a:lnTo>
                  <a:lnTo>
                    <a:pt x="330" y="230"/>
                  </a:lnTo>
                  <a:lnTo>
                    <a:pt x="330" y="230"/>
                  </a:lnTo>
                  <a:lnTo>
                    <a:pt x="328" y="232"/>
                  </a:lnTo>
                  <a:lnTo>
                    <a:pt x="328" y="232"/>
                  </a:lnTo>
                  <a:lnTo>
                    <a:pt x="328" y="234"/>
                  </a:lnTo>
                  <a:lnTo>
                    <a:pt x="328" y="236"/>
                  </a:lnTo>
                  <a:lnTo>
                    <a:pt x="328" y="236"/>
                  </a:lnTo>
                  <a:lnTo>
                    <a:pt x="328" y="236"/>
                  </a:lnTo>
                  <a:lnTo>
                    <a:pt x="328" y="240"/>
                  </a:lnTo>
                  <a:lnTo>
                    <a:pt x="328" y="240"/>
                  </a:lnTo>
                  <a:lnTo>
                    <a:pt x="328" y="240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28" y="242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0" y="244"/>
                  </a:lnTo>
                  <a:lnTo>
                    <a:pt x="332" y="246"/>
                  </a:lnTo>
                  <a:lnTo>
                    <a:pt x="332" y="246"/>
                  </a:lnTo>
                  <a:lnTo>
                    <a:pt x="336" y="246"/>
                  </a:lnTo>
                  <a:lnTo>
                    <a:pt x="340" y="248"/>
                  </a:lnTo>
                  <a:lnTo>
                    <a:pt x="348" y="248"/>
                  </a:lnTo>
                  <a:lnTo>
                    <a:pt x="354" y="248"/>
                  </a:lnTo>
                  <a:lnTo>
                    <a:pt x="360" y="248"/>
                  </a:lnTo>
                  <a:lnTo>
                    <a:pt x="360" y="248"/>
                  </a:lnTo>
                  <a:lnTo>
                    <a:pt x="364" y="248"/>
                  </a:lnTo>
                  <a:lnTo>
                    <a:pt x="374" y="250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0" y="252"/>
                  </a:lnTo>
                  <a:lnTo>
                    <a:pt x="384" y="252"/>
                  </a:lnTo>
                  <a:lnTo>
                    <a:pt x="388" y="252"/>
                  </a:lnTo>
                  <a:lnTo>
                    <a:pt x="392" y="252"/>
                  </a:lnTo>
                  <a:lnTo>
                    <a:pt x="398" y="250"/>
                  </a:lnTo>
                  <a:lnTo>
                    <a:pt x="402" y="250"/>
                  </a:lnTo>
                  <a:lnTo>
                    <a:pt x="408" y="250"/>
                  </a:lnTo>
                  <a:lnTo>
                    <a:pt x="412" y="250"/>
                  </a:lnTo>
                  <a:lnTo>
                    <a:pt x="416" y="250"/>
                  </a:lnTo>
                  <a:lnTo>
                    <a:pt x="418" y="250"/>
                  </a:lnTo>
                  <a:lnTo>
                    <a:pt x="422" y="250"/>
                  </a:lnTo>
                  <a:lnTo>
                    <a:pt x="426" y="250"/>
                  </a:lnTo>
                  <a:lnTo>
                    <a:pt x="428" y="252"/>
                  </a:lnTo>
                  <a:lnTo>
                    <a:pt x="428" y="252"/>
                  </a:lnTo>
                  <a:lnTo>
                    <a:pt x="428" y="254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30" y="256"/>
                  </a:lnTo>
                  <a:lnTo>
                    <a:pt x="434" y="258"/>
                  </a:lnTo>
                  <a:lnTo>
                    <a:pt x="434" y="258"/>
                  </a:lnTo>
                  <a:lnTo>
                    <a:pt x="434" y="260"/>
                  </a:lnTo>
                  <a:lnTo>
                    <a:pt x="434" y="260"/>
                  </a:lnTo>
                  <a:lnTo>
                    <a:pt x="432" y="262"/>
                  </a:lnTo>
                  <a:lnTo>
                    <a:pt x="432" y="262"/>
                  </a:lnTo>
                  <a:lnTo>
                    <a:pt x="430" y="264"/>
                  </a:lnTo>
                  <a:lnTo>
                    <a:pt x="428" y="264"/>
                  </a:lnTo>
                  <a:lnTo>
                    <a:pt x="428" y="264"/>
                  </a:lnTo>
                  <a:lnTo>
                    <a:pt x="424" y="264"/>
                  </a:lnTo>
                  <a:lnTo>
                    <a:pt x="418" y="264"/>
                  </a:lnTo>
                  <a:lnTo>
                    <a:pt x="414" y="262"/>
                  </a:lnTo>
                  <a:lnTo>
                    <a:pt x="408" y="260"/>
                  </a:lnTo>
                  <a:lnTo>
                    <a:pt x="404" y="260"/>
                  </a:lnTo>
                  <a:lnTo>
                    <a:pt x="400" y="258"/>
                  </a:lnTo>
                  <a:lnTo>
                    <a:pt x="396" y="258"/>
                  </a:lnTo>
                  <a:lnTo>
                    <a:pt x="390" y="258"/>
                  </a:lnTo>
                  <a:lnTo>
                    <a:pt x="386" y="256"/>
                  </a:lnTo>
                  <a:lnTo>
                    <a:pt x="382" y="258"/>
                  </a:lnTo>
                  <a:lnTo>
                    <a:pt x="378" y="258"/>
                  </a:lnTo>
                  <a:lnTo>
                    <a:pt x="374" y="258"/>
                  </a:lnTo>
                  <a:lnTo>
                    <a:pt x="374" y="258"/>
                  </a:lnTo>
                  <a:lnTo>
                    <a:pt x="372" y="258"/>
                  </a:lnTo>
                  <a:lnTo>
                    <a:pt x="368" y="260"/>
                  </a:lnTo>
                  <a:lnTo>
                    <a:pt x="364" y="264"/>
                  </a:lnTo>
                  <a:lnTo>
                    <a:pt x="360" y="266"/>
                  </a:lnTo>
                  <a:lnTo>
                    <a:pt x="358" y="266"/>
                  </a:lnTo>
                  <a:lnTo>
                    <a:pt x="356" y="266"/>
                  </a:lnTo>
                  <a:lnTo>
                    <a:pt x="356" y="266"/>
                  </a:lnTo>
                  <a:lnTo>
                    <a:pt x="354" y="268"/>
                  </a:lnTo>
                  <a:lnTo>
                    <a:pt x="352" y="268"/>
                  </a:lnTo>
                  <a:lnTo>
                    <a:pt x="350" y="270"/>
                  </a:lnTo>
                  <a:lnTo>
                    <a:pt x="350" y="270"/>
                  </a:lnTo>
                  <a:lnTo>
                    <a:pt x="350" y="270"/>
                  </a:lnTo>
                  <a:lnTo>
                    <a:pt x="348" y="274"/>
                  </a:lnTo>
                  <a:lnTo>
                    <a:pt x="348" y="274"/>
                  </a:lnTo>
                  <a:lnTo>
                    <a:pt x="348" y="274"/>
                  </a:lnTo>
                  <a:lnTo>
                    <a:pt x="348" y="276"/>
                  </a:lnTo>
                  <a:lnTo>
                    <a:pt x="348" y="276"/>
                  </a:lnTo>
                  <a:lnTo>
                    <a:pt x="348" y="278"/>
                  </a:lnTo>
                  <a:lnTo>
                    <a:pt x="348" y="280"/>
                  </a:lnTo>
                  <a:lnTo>
                    <a:pt x="348" y="280"/>
                  </a:lnTo>
                  <a:lnTo>
                    <a:pt x="348" y="280"/>
                  </a:lnTo>
                  <a:lnTo>
                    <a:pt x="350" y="282"/>
                  </a:lnTo>
                  <a:lnTo>
                    <a:pt x="352" y="286"/>
                  </a:lnTo>
                  <a:lnTo>
                    <a:pt x="354" y="288"/>
                  </a:lnTo>
                  <a:lnTo>
                    <a:pt x="356" y="292"/>
                  </a:lnTo>
                  <a:lnTo>
                    <a:pt x="356" y="292"/>
                  </a:lnTo>
                  <a:lnTo>
                    <a:pt x="358" y="292"/>
                  </a:lnTo>
                  <a:lnTo>
                    <a:pt x="360" y="292"/>
                  </a:lnTo>
                  <a:lnTo>
                    <a:pt x="362" y="292"/>
                  </a:lnTo>
                  <a:lnTo>
                    <a:pt x="362" y="292"/>
                  </a:lnTo>
                  <a:lnTo>
                    <a:pt x="362" y="294"/>
                  </a:lnTo>
                  <a:lnTo>
                    <a:pt x="362" y="294"/>
                  </a:lnTo>
                  <a:lnTo>
                    <a:pt x="362" y="296"/>
                  </a:lnTo>
                  <a:lnTo>
                    <a:pt x="362" y="298"/>
                  </a:lnTo>
                  <a:lnTo>
                    <a:pt x="362" y="298"/>
                  </a:lnTo>
                  <a:lnTo>
                    <a:pt x="364" y="298"/>
                  </a:lnTo>
                  <a:lnTo>
                    <a:pt x="364" y="300"/>
                  </a:lnTo>
                  <a:lnTo>
                    <a:pt x="364" y="300"/>
                  </a:lnTo>
                  <a:lnTo>
                    <a:pt x="366" y="300"/>
                  </a:lnTo>
                  <a:lnTo>
                    <a:pt x="370" y="302"/>
                  </a:lnTo>
                  <a:lnTo>
                    <a:pt x="370" y="302"/>
                  </a:lnTo>
                  <a:lnTo>
                    <a:pt x="370" y="302"/>
                  </a:lnTo>
                  <a:lnTo>
                    <a:pt x="374" y="304"/>
                  </a:lnTo>
                  <a:lnTo>
                    <a:pt x="378" y="304"/>
                  </a:lnTo>
                  <a:lnTo>
                    <a:pt x="384" y="304"/>
                  </a:lnTo>
                  <a:lnTo>
                    <a:pt x="390" y="304"/>
                  </a:lnTo>
                  <a:lnTo>
                    <a:pt x="394" y="306"/>
                  </a:lnTo>
                  <a:lnTo>
                    <a:pt x="400" y="306"/>
                  </a:lnTo>
                  <a:lnTo>
                    <a:pt x="402" y="306"/>
                  </a:lnTo>
                  <a:lnTo>
                    <a:pt x="402" y="308"/>
                  </a:lnTo>
                  <a:lnTo>
                    <a:pt x="404" y="310"/>
                  </a:lnTo>
                  <a:lnTo>
                    <a:pt x="404" y="312"/>
                  </a:lnTo>
                  <a:lnTo>
                    <a:pt x="404" y="312"/>
                  </a:lnTo>
                  <a:lnTo>
                    <a:pt x="404" y="314"/>
                  </a:lnTo>
                  <a:lnTo>
                    <a:pt x="404" y="314"/>
                  </a:lnTo>
                  <a:lnTo>
                    <a:pt x="402" y="316"/>
                  </a:lnTo>
                  <a:lnTo>
                    <a:pt x="400" y="320"/>
                  </a:lnTo>
                  <a:lnTo>
                    <a:pt x="400" y="320"/>
                  </a:lnTo>
                  <a:lnTo>
                    <a:pt x="400" y="320"/>
                  </a:lnTo>
                  <a:lnTo>
                    <a:pt x="400" y="322"/>
                  </a:lnTo>
                  <a:lnTo>
                    <a:pt x="398" y="320"/>
                  </a:lnTo>
                  <a:lnTo>
                    <a:pt x="392" y="320"/>
                  </a:lnTo>
                  <a:lnTo>
                    <a:pt x="386" y="318"/>
                  </a:lnTo>
                  <a:lnTo>
                    <a:pt x="380" y="316"/>
                  </a:lnTo>
                  <a:lnTo>
                    <a:pt x="374" y="316"/>
                  </a:lnTo>
                  <a:lnTo>
                    <a:pt x="368" y="314"/>
                  </a:lnTo>
                  <a:lnTo>
                    <a:pt x="358" y="312"/>
                  </a:lnTo>
                  <a:lnTo>
                    <a:pt x="350" y="310"/>
                  </a:lnTo>
                  <a:lnTo>
                    <a:pt x="342" y="308"/>
                  </a:lnTo>
                  <a:lnTo>
                    <a:pt x="338" y="306"/>
                  </a:lnTo>
                  <a:lnTo>
                    <a:pt x="332" y="304"/>
                  </a:lnTo>
                  <a:lnTo>
                    <a:pt x="328" y="304"/>
                  </a:lnTo>
                  <a:lnTo>
                    <a:pt x="322" y="300"/>
                  </a:lnTo>
                  <a:lnTo>
                    <a:pt x="310" y="296"/>
                  </a:lnTo>
                  <a:lnTo>
                    <a:pt x="304" y="294"/>
                  </a:lnTo>
                  <a:lnTo>
                    <a:pt x="298" y="290"/>
                  </a:lnTo>
                  <a:lnTo>
                    <a:pt x="292" y="288"/>
                  </a:lnTo>
                  <a:lnTo>
                    <a:pt x="288" y="286"/>
                  </a:lnTo>
                  <a:lnTo>
                    <a:pt x="286" y="284"/>
                  </a:lnTo>
                  <a:lnTo>
                    <a:pt x="284" y="282"/>
                  </a:lnTo>
                  <a:lnTo>
                    <a:pt x="282" y="282"/>
                  </a:lnTo>
                  <a:lnTo>
                    <a:pt x="280" y="280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8" y="278"/>
                  </a:lnTo>
                  <a:lnTo>
                    <a:pt x="276" y="278"/>
                  </a:lnTo>
                  <a:lnTo>
                    <a:pt x="276" y="276"/>
                  </a:lnTo>
                  <a:lnTo>
                    <a:pt x="276" y="276"/>
                  </a:lnTo>
                  <a:lnTo>
                    <a:pt x="274" y="276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72" y="278"/>
                  </a:lnTo>
                  <a:lnTo>
                    <a:pt x="270" y="280"/>
                  </a:lnTo>
                  <a:lnTo>
                    <a:pt x="270" y="280"/>
                  </a:lnTo>
                  <a:lnTo>
                    <a:pt x="270" y="280"/>
                  </a:lnTo>
                  <a:lnTo>
                    <a:pt x="268" y="282"/>
                  </a:lnTo>
                  <a:lnTo>
                    <a:pt x="268" y="286"/>
                  </a:lnTo>
                  <a:lnTo>
                    <a:pt x="266" y="288"/>
                  </a:lnTo>
                  <a:lnTo>
                    <a:pt x="264" y="292"/>
                  </a:lnTo>
                  <a:lnTo>
                    <a:pt x="264" y="294"/>
                  </a:lnTo>
                  <a:lnTo>
                    <a:pt x="262" y="296"/>
                  </a:lnTo>
                  <a:lnTo>
                    <a:pt x="262" y="296"/>
                  </a:lnTo>
                  <a:lnTo>
                    <a:pt x="260" y="296"/>
                  </a:lnTo>
                  <a:lnTo>
                    <a:pt x="258" y="298"/>
                  </a:lnTo>
                  <a:lnTo>
                    <a:pt x="256" y="298"/>
                  </a:lnTo>
                  <a:lnTo>
                    <a:pt x="254" y="298"/>
                  </a:lnTo>
                  <a:lnTo>
                    <a:pt x="252" y="298"/>
                  </a:lnTo>
                  <a:lnTo>
                    <a:pt x="250" y="296"/>
                  </a:lnTo>
                  <a:lnTo>
                    <a:pt x="248" y="296"/>
                  </a:lnTo>
                  <a:lnTo>
                    <a:pt x="248" y="294"/>
                  </a:lnTo>
                  <a:lnTo>
                    <a:pt x="248" y="294"/>
                  </a:lnTo>
                  <a:lnTo>
                    <a:pt x="248" y="290"/>
                  </a:lnTo>
                  <a:lnTo>
                    <a:pt x="250" y="286"/>
                  </a:lnTo>
                  <a:lnTo>
                    <a:pt x="252" y="280"/>
                  </a:lnTo>
                  <a:lnTo>
                    <a:pt x="252" y="276"/>
                  </a:lnTo>
                  <a:lnTo>
                    <a:pt x="254" y="270"/>
                  </a:lnTo>
                  <a:lnTo>
                    <a:pt x="254" y="266"/>
                  </a:lnTo>
                  <a:lnTo>
                    <a:pt x="256" y="264"/>
                  </a:lnTo>
                  <a:lnTo>
                    <a:pt x="256" y="264"/>
                  </a:lnTo>
                  <a:lnTo>
                    <a:pt x="256" y="262"/>
                  </a:lnTo>
                  <a:lnTo>
                    <a:pt x="256" y="260"/>
                  </a:lnTo>
                  <a:lnTo>
                    <a:pt x="256" y="260"/>
                  </a:lnTo>
                  <a:lnTo>
                    <a:pt x="254" y="260"/>
                  </a:lnTo>
                  <a:lnTo>
                    <a:pt x="254" y="258"/>
                  </a:lnTo>
                  <a:lnTo>
                    <a:pt x="254" y="258"/>
                  </a:lnTo>
                  <a:lnTo>
                    <a:pt x="254" y="258"/>
                  </a:lnTo>
                  <a:lnTo>
                    <a:pt x="252" y="256"/>
                  </a:lnTo>
                  <a:lnTo>
                    <a:pt x="252" y="256"/>
                  </a:lnTo>
                  <a:lnTo>
                    <a:pt x="250" y="256"/>
                  </a:lnTo>
                  <a:lnTo>
                    <a:pt x="250" y="256"/>
                  </a:lnTo>
                  <a:lnTo>
                    <a:pt x="250" y="256"/>
                  </a:lnTo>
                  <a:lnTo>
                    <a:pt x="248" y="256"/>
                  </a:lnTo>
                  <a:lnTo>
                    <a:pt x="246" y="256"/>
                  </a:lnTo>
                  <a:lnTo>
                    <a:pt x="246" y="256"/>
                  </a:lnTo>
                  <a:lnTo>
                    <a:pt x="246" y="256"/>
                  </a:lnTo>
                  <a:lnTo>
                    <a:pt x="242" y="258"/>
                  </a:lnTo>
                  <a:lnTo>
                    <a:pt x="240" y="258"/>
                  </a:lnTo>
                  <a:lnTo>
                    <a:pt x="238" y="258"/>
                  </a:lnTo>
                  <a:lnTo>
                    <a:pt x="234" y="260"/>
                  </a:lnTo>
                  <a:lnTo>
                    <a:pt x="234" y="260"/>
                  </a:lnTo>
                  <a:lnTo>
                    <a:pt x="234" y="260"/>
                  </a:lnTo>
                  <a:lnTo>
                    <a:pt x="230" y="264"/>
                  </a:lnTo>
                  <a:lnTo>
                    <a:pt x="230" y="264"/>
                  </a:lnTo>
                  <a:lnTo>
                    <a:pt x="228" y="264"/>
                  </a:lnTo>
                  <a:lnTo>
                    <a:pt x="228" y="266"/>
                  </a:lnTo>
                  <a:lnTo>
                    <a:pt x="228" y="266"/>
                  </a:lnTo>
                  <a:lnTo>
                    <a:pt x="226" y="266"/>
                  </a:lnTo>
                  <a:lnTo>
                    <a:pt x="226" y="268"/>
                  </a:lnTo>
                  <a:lnTo>
                    <a:pt x="226" y="268"/>
                  </a:lnTo>
                  <a:lnTo>
                    <a:pt x="226" y="270"/>
                  </a:lnTo>
                  <a:lnTo>
                    <a:pt x="224" y="272"/>
                  </a:lnTo>
                  <a:lnTo>
                    <a:pt x="224" y="272"/>
                  </a:lnTo>
                  <a:lnTo>
                    <a:pt x="224" y="272"/>
                  </a:lnTo>
                  <a:lnTo>
                    <a:pt x="224" y="276"/>
                  </a:lnTo>
                  <a:lnTo>
                    <a:pt x="224" y="280"/>
                  </a:lnTo>
                  <a:lnTo>
                    <a:pt x="224" y="284"/>
                  </a:lnTo>
                  <a:lnTo>
                    <a:pt x="224" y="288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4" y="292"/>
                  </a:lnTo>
                  <a:lnTo>
                    <a:pt x="220" y="290"/>
                  </a:lnTo>
                  <a:lnTo>
                    <a:pt x="218" y="286"/>
                  </a:lnTo>
                  <a:lnTo>
                    <a:pt x="214" y="284"/>
                  </a:lnTo>
                  <a:lnTo>
                    <a:pt x="212" y="280"/>
                  </a:lnTo>
                  <a:lnTo>
                    <a:pt x="210" y="276"/>
                  </a:lnTo>
                  <a:lnTo>
                    <a:pt x="208" y="274"/>
                  </a:lnTo>
                  <a:lnTo>
                    <a:pt x="206" y="270"/>
                  </a:lnTo>
                  <a:lnTo>
                    <a:pt x="204" y="268"/>
                  </a:lnTo>
                  <a:lnTo>
                    <a:pt x="202" y="262"/>
                  </a:lnTo>
                  <a:lnTo>
                    <a:pt x="200" y="258"/>
                  </a:lnTo>
                  <a:lnTo>
                    <a:pt x="200" y="254"/>
                  </a:lnTo>
                  <a:lnTo>
                    <a:pt x="198" y="252"/>
                  </a:lnTo>
                  <a:lnTo>
                    <a:pt x="196" y="250"/>
                  </a:lnTo>
                  <a:lnTo>
                    <a:pt x="196" y="250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6" y="248"/>
                  </a:lnTo>
                  <a:lnTo>
                    <a:pt x="194" y="246"/>
                  </a:lnTo>
                  <a:lnTo>
                    <a:pt x="192" y="246"/>
                  </a:lnTo>
                  <a:lnTo>
                    <a:pt x="192" y="246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48"/>
                  </a:lnTo>
                  <a:lnTo>
                    <a:pt x="190" y="250"/>
                  </a:lnTo>
                  <a:lnTo>
                    <a:pt x="190" y="252"/>
                  </a:lnTo>
                  <a:lnTo>
                    <a:pt x="190" y="254"/>
                  </a:lnTo>
                  <a:lnTo>
                    <a:pt x="192" y="258"/>
                  </a:lnTo>
                  <a:lnTo>
                    <a:pt x="192" y="262"/>
                  </a:lnTo>
                  <a:lnTo>
                    <a:pt x="192" y="266"/>
                  </a:lnTo>
                  <a:lnTo>
                    <a:pt x="192" y="268"/>
                  </a:lnTo>
                  <a:lnTo>
                    <a:pt x="192" y="270"/>
                  </a:lnTo>
                  <a:lnTo>
                    <a:pt x="192" y="270"/>
                  </a:lnTo>
                  <a:lnTo>
                    <a:pt x="192" y="272"/>
                  </a:lnTo>
                  <a:lnTo>
                    <a:pt x="190" y="274"/>
                  </a:lnTo>
                  <a:lnTo>
                    <a:pt x="186" y="278"/>
                  </a:lnTo>
                  <a:lnTo>
                    <a:pt x="186" y="278"/>
                  </a:lnTo>
                  <a:lnTo>
                    <a:pt x="186" y="278"/>
                  </a:lnTo>
                  <a:lnTo>
                    <a:pt x="184" y="276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2" y="274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80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8" y="272"/>
                  </a:lnTo>
                  <a:lnTo>
                    <a:pt x="176" y="272"/>
                  </a:lnTo>
                  <a:lnTo>
                    <a:pt x="172" y="272"/>
                  </a:lnTo>
                  <a:lnTo>
                    <a:pt x="166" y="274"/>
                  </a:lnTo>
                  <a:lnTo>
                    <a:pt x="162" y="274"/>
                  </a:lnTo>
                  <a:lnTo>
                    <a:pt x="160" y="276"/>
                  </a:lnTo>
                  <a:lnTo>
                    <a:pt x="158" y="278"/>
                  </a:lnTo>
                  <a:lnTo>
                    <a:pt x="158" y="278"/>
                  </a:lnTo>
                  <a:lnTo>
                    <a:pt x="156" y="278"/>
                  </a:lnTo>
                  <a:lnTo>
                    <a:pt x="154" y="278"/>
                  </a:lnTo>
                  <a:lnTo>
                    <a:pt x="154" y="278"/>
                  </a:lnTo>
                  <a:lnTo>
                    <a:pt x="154" y="280"/>
                  </a:lnTo>
                  <a:lnTo>
                    <a:pt x="154" y="280"/>
                  </a:lnTo>
                  <a:lnTo>
                    <a:pt x="154" y="280"/>
                  </a:lnTo>
                  <a:lnTo>
                    <a:pt x="152" y="282"/>
                  </a:lnTo>
                  <a:lnTo>
                    <a:pt x="152" y="284"/>
                  </a:lnTo>
                  <a:lnTo>
                    <a:pt x="152" y="284"/>
                  </a:lnTo>
                  <a:lnTo>
                    <a:pt x="152" y="284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88"/>
                  </a:lnTo>
                  <a:lnTo>
                    <a:pt x="150" y="294"/>
                  </a:lnTo>
                  <a:lnTo>
                    <a:pt x="150" y="298"/>
                  </a:lnTo>
                  <a:lnTo>
                    <a:pt x="152" y="300"/>
                  </a:lnTo>
                  <a:lnTo>
                    <a:pt x="152" y="302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2" y="306"/>
                  </a:lnTo>
                  <a:lnTo>
                    <a:pt x="150" y="306"/>
                  </a:lnTo>
                  <a:lnTo>
                    <a:pt x="146" y="304"/>
                  </a:lnTo>
                  <a:lnTo>
                    <a:pt x="144" y="302"/>
                  </a:lnTo>
                  <a:lnTo>
                    <a:pt x="140" y="302"/>
                  </a:lnTo>
                  <a:lnTo>
                    <a:pt x="136" y="300"/>
                  </a:lnTo>
                  <a:lnTo>
                    <a:pt x="132" y="298"/>
                  </a:lnTo>
                  <a:lnTo>
                    <a:pt x="132" y="298"/>
                  </a:lnTo>
                  <a:lnTo>
                    <a:pt x="132" y="298"/>
                  </a:lnTo>
                  <a:lnTo>
                    <a:pt x="130" y="298"/>
                  </a:lnTo>
                  <a:lnTo>
                    <a:pt x="130" y="298"/>
                  </a:lnTo>
                  <a:lnTo>
                    <a:pt x="128" y="300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2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6"/>
                  </a:lnTo>
                  <a:lnTo>
                    <a:pt x="126" y="308"/>
                  </a:lnTo>
                  <a:lnTo>
                    <a:pt x="126" y="312"/>
                  </a:lnTo>
                  <a:lnTo>
                    <a:pt x="126" y="316"/>
                  </a:lnTo>
                  <a:lnTo>
                    <a:pt x="128" y="318"/>
                  </a:lnTo>
                  <a:lnTo>
                    <a:pt x="128" y="320"/>
                  </a:lnTo>
                  <a:lnTo>
                    <a:pt x="128" y="322"/>
                  </a:lnTo>
                  <a:lnTo>
                    <a:pt x="128" y="322"/>
                  </a:lnTo>
                  <a:lnTo>
                    <a:pt x="126" y="322"/>
                  </a:lnTo>
                  <a:lnTo>
                    <a:pt x="124" y="322"/>
                  </a:lnTo>
                  <a:lnTo>
                    <a:pt x="124" y="322"/>
                  </a:lnTo>
                  <a:lnTo>
                    <a:pt x="120" y="322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18" y="320"/>
                  </a:lnTo>
                  <a:lnTo>
                    <a:pt x="116" y="318"/>
                  </a:lnTo>
                  <a:lnTo>
                    <a:pt x="118" y="316"/>
                  </a:lnTo>
                  <a:lnTo>
                    <a:pt x="118" y="314"/>
                  </a:lnTo>
                  <a:lnTo>
                    <a:pt x="118" y="310"/>
                  </a:lnTo>
                  <a:lnTo>
                    <a:pt x="118" y="308"/>
                  </a:lnTo>
                  <a:lnTo>
                    <a:pt x="118" y="308"/>
                  </a:lnTo>
                  <a:lnTo>
                    <a:pt x="118" y="304"/>
                  </a:lnTo>
                  <a:lnTo>
                    <a:pt x="118" y="304"/>
                  </a:lnTo>
                  <a:lnTo>
                    <a:pt x="116" y="304"/>
                  </a:lnTo>
                  <a:lnTo>
                    <a:pt x="116" y="302"/>
                  </a:lnTo>
                  <a:lnTo>
                    <a:pt x="116" y="302"/>
                  </a:lnTo>
                  <a:lnTo>
                    <a:pt x="114" y="302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12" y="300"/>
                  </a:lnTo>
                  <a:lnTo>
                    <a:pt x="110" y="298"/>
                  </a:lnTo>
                  <a:lnTo>
                    <a:pt x="106" y="298"/>
                  </a:lnTo>
                  <a:lnTo>
                    <a:pt x="102" y="298"/>
                  </a:lnTo>
                  <a:lnTo>
                    <a:pt x="98" y="296"/>
                  </a:lnTo>
                  <a:lnTo>
                    <a:pt x="94" y="296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90" y="298"/>
                  </a:lnTo>
                  <a:lnTo>
                    <a:pt x="88" y="298"/>
                  </a:lnTo>
                  <a:lnTo>
                    <a:pt x="88" y="298"/>
                  </a:lnTo>
                  <a:lnTo>
                    <a:pt x="86" y="298"/>
                  </a:lnTo>
                  <a:lnTo>
                    <a:pt x="86" y="300"/>
                  </a:lnTo>
                  <a:lnTo>
                    <a:pt x="86" y="300"/>
                  </a:lnTo>
                  <a:lnTo>
                    <a:pt x="84" y="302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4" y="304"/>
                  </a:lnTo>
                  <a:lnTo>
                    <a:pt x="84" y="306"/>
                  </a:lnTo>
                  <a:lnTo>
                    <a:pt x="84" y="310"/>
                  </a:lnTo>
                  <a:lnTo>
                    <a:pt x="84" y="312"/>
                  </a:lnTo>
                  <a:lnTo>
                    <a:pt x="84" y="314"/>
                  </a:lnTo>
                  <a:lnTo>
                    <a:pt x="84" y="316"/>
                  </a:lnTo>
                  <a:lnTo>
                    <a:pt x="84" y="316"/>
                  </a:lnTo>
                  <a:lnTo>
                    <a:pt x="82" y="318"/>
                  </a:lnTo>
                  <a:lnTo>
                    <a:pt x="80" y="318"/>
                  </a:lnTo>
                  <a:lnTo>
                    <a:pt x="78" y="318"/>
                  </a:lnTo>
                  <a:lnTo>
                    <a:pt x="76" y="318"/>
                  </a:lnTo>
                  <a:lnTo>
                    <a:pt x="74" y="320"/>
                  </a:lnTo>
                  <a:lnTo>
                    <a:pt x="70" y="318"/>
                  </a:lnTo>
                  <a:lnTo>
                    <a:pt x="66" y="318"/>
                  </a:lnTo>
                  <a:lnTo>
                    <a:pt x="64" y="316"/>
                  </a:lnTo>
                  <a:lnTo>
                    <a:pt x="60" y="316"/>
                  </a:lnTo>
                  <a:lnTo>
                    <a:pt x="54" y="312"/>
                  </a:lnTo>
                  <a:lnTo>
                    <a:pt x="50" y="308"/>
                  </a:lnTo>
                  <a:lnTo>
                    <a:pt x="44" y="306"/>
                  </a:lnTo>
                  <a:lnTo>
                    <a:pt x="38" y="302"/>
                  </a:lnTo>
                  <a:lnTo>
                    <a:pt x="32" y="298"/>
                  </a:lnTo>
                  <a:lnTo>
                    <a:pt x="28" y="294"/>
                  </a:lnTo>
                  <a:lnTo>
                    <a:pt x="24" y="292"/>
                  </a:lnTo>
                  <a:lnTo>
                    <a:pt x="22" y="290"/>
                  </a:lnTo>
                  <a:lnTo>
                    <a:pt x="20" y="290"/>
                  </a:lnTo>
                  <a:lnTo>
                    <a:pt x="20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8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6" y="288"/>
                  </a:lnTo>
                  <a:lnTo>
                    <a:pt x="14" y="286"/>
                  </a:lnTo>
                  <a:lnTo>
                    <a:pt x="14" y="282"/>
                  </a:lnTo>
                  <a:lnTo>
                    <a:pt x="12" y="280"/>
                  </a:lnTo>
                  <a:lnTo>
                    <a:pt x="12" y="280"/>
                  </a:lnTo>
                  <a:lnTo>
                    <a:pt x="12" y="280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10" y="278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8" y="278"/>
                  </a:lnTo>
                  <a:lnTo>
                    <a:pt x="6" y="278"/>
                  </a:lnTo>
                  <a:lnTo>
                    <a:pt x="6" y="280"/>
                  </a:lnTo>
                  <a:lnTo>
                    <a:pt x="6" y="280"/>
                  </a:lnTo>
                  <a:lnTo>
                    <a:pt x="4" y="280"/>
                  </a:lnTo>
                  <a:lnTo>
                    <a:pt x="4" y="282"/>
                  </a:lnTo>
                  <a:lnTo>
                    <a:pt x="4" y="284"/>
                  </a:lnTo>
                  <a:lnTo>
                    <a:pt x="4" y="288"/>
                  </a:lnTo>
                  <a:lnTo>
                    <a:pt x="4" y="292"/>
                  </a:lnTo>
                  <a:lnTo>
                    <a:pt x="4" y="298"/>
                  </a:lnTo>
                  <a:lnTo>
                    <a:pt x="4" y="304"/>
                  </a:lnTo>
                  <a:lnTo>
                    <a:pt x="2" y="310"/>
                  </a:lnTo>
                  <a:lnTo>
                    <a:pt x="2" y="318"/>
                  </a:lnTo>
                  <a:lnTo>
                    <a:pt x="2" y="326"/>
                  </a:lnTo>
                  <a:lnTo>
                    <a:pt x="2" y="336"/>
                  </a:lnTo>
                  <a:lnTo>
                    <a:pt x="2" y="346"/>
                  </a:lnTo>
                  <a:lnTo>
                    <a:pt x="2" y="356"/>
                  </a:lnTo>
                  <a:lnTo>
                    <a:pt x="2" y="376"/>
                  </a:lnTo>
                  <a:lnTo>
                    <a:pt x="2" y="398"/>
                  </a:lnTo>
                  <a:lnTo>
                    <a:pt x="2" y="442"/>
                  </a:lnTo>
                  <a:lnTo>
                    <a:pt x="2" y="452"/>
                  </a:lnTo>
                  <a:lnTo>
                    <a:pt x="2" y="464"/>
                  </a:lnTo>
                  <a:lnTo>
                    <a:pt x="2" y="476"/>
                  </a:lnTo>
                  <a:lnTo>
                    <a:pt x="2" y="488"/>
                  </a:lnTo>
                  <a:lnTo>
                    <a:pt x="2" y="514"/>
                  </a:lnTo>
                  <a:lnTo>
                    <a:pt x="0" y="538"/>
                  </a:lnTo>
                  <a:lnTo>
                    <a:pt x="0" y="552"/>
                  </a:lnTo>
                  <a:lnTo>
                    <a:pt x="0" y="564"/>
                  </a:lnTo>
                  <a:lnTo>
                    <a:pt x="0" y="574"/>
                  </a:lnTo>
                  <a:lnTo>
                    <a:pt x="0" y="586"/>
                  </a:lnTo>
                  <a:lnTo>
                    <a:pt x="0" y="596"/>
                  </a:lnTo>
                  <a:lnTo>
                    <a:pt x="0" y="604"/>
                  </a:lnTo>
                  <a:lnTo>
                    <a:pt x="0" y="612"/>
                  </a:lnTo>
                  <a:lnTo>
                    <a:pt x="0" y="618"/>
                  </a:lnTo>
                  <a:lnTo>
                    <a:pt x="0" y="624"/>
                  </a:lnTo>
                  <a:lnTo>
                    <a:pt x="2" y="628"/>
                  </a:lnTo>
                  <a:lnTo>
                    <a:pt x="2" y="632"/>
                  </a:lnTo>
                  <a:lnTo>
                    <a:pt x="2" y="634"/>
                  </a:lnTo>
                  <a:lnTo>
                    <a:pt x="2" y="634"/>
                  </a:lnTo>
                  <a:lnTo>
                    <a:pt x="2" y="636"/>
                  </a:lnTo>
                  <a:lnTo>
                    <a:pt x="4" y="636"/>
                  </a:lnTo>
                  <a:lnTo>
                    <a:pt x="4" y="636"/>
                  </a:lnTo>
                  <a:lnTo>
                    <a:pt x="4" y="638"/>
                  </a:lnTo>
                  <a:lnTo>
                    <a:pt x="4" y="638"/>
                  </a:lnTo>
                  <a:lnTo>
                    <a:pt x="4" y="638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6" y="640"/>
                  </a:lnTo>
                  <a:lnTo>
                    <a:pt x="8" y="640"/>
                  </a:lnTo>
                  <a:lnTo>
                    <a:pt x="8" y="640"/>
                  </a:lnTo>
                  <a:lnTo>
                    <a:pt x="8" y="640"/>
                  </a:lnTo>
                  <a:lnTo>
                    <a:pt x="10" y="640"/>
                  </a:lnTo>
                  <a:lnTo>
                    <a:pt x="12" y="638"/>
                  </a:lnTo>
                  <a:lnTo>
                    <a:pt x="14" y="636"/>
                  </a:lnTo>
                  <a:lnTo>
                    <a:pt x="14" y="636"/>
                  </a:lnTo>
                  <a:lnTo>
                    <a:pt x="14" y="636"/>
                  </a:lnTo>
                  <a:lnTo>
                    <a:pt x="18" y="638"/>
                  </a:lnTo>
                  <a:lnTo>
                    <a:pt x="24" y="642"/>
                  </a:lnTo>
                  <a:lnTo>
                    <a:pt x="28" y="644"/>
                  </a:lnTo>
                  <a:lnTo>
                    <a:pt x="32" y="646"/>
                  </a:lnTo>
                  <a:lnTo>
                    <a:pt x="34" y="648"/>
                  </a:lnTo>
                  <a:lnTo>
                    <a:pt x="40" y="654"/>
                  </a:lnTo>
                  <a:lnTo>
                    <a:pt x="48" y="660"/>
                  </a:lnTo>
                  <a:lnTo>
                    <a:pt x="54" y="666"/>
                  </a:lnTo>
                  <a:lnTo>
                    <a:pt x="60" y="674"/>
                  </a:lnTo>
                  <a:lnTo>
                    <a:pt x="64" y="678"/>
                  </a:lnTo>
                  <a:lnTo>
                    <a:pt x="66" y="682"/>
                  </a:lnTo>
                  <a:lnTo>
                    <a:pt x="72" y="694"/>
                  </a:lnTo>
                  <a:lnTo>
                    <a:pt x="78" y="704"/>
                  </a:lnTo>
                  <a:lnTo>
                    <a:pt x="82" y="708"/>
                  </a:lnTo>
                  <a:lnTo>
                    <a:pt x="84" y="714"/>
                  </a:lnTo>
                  <a:lnTo>
                    <a:pt x="90" y="722"/>
                  </a:lnTo>
                  <a:lnTo>
                    <a:pt x="96" y="730"/>
                  </a:lnTo>
                  <a:lnTo>
                    <a:pt x="102" y="736"/>
                  </a:lnTo>
                  <a:lnTo>
                    <a:pt x="106" y="744"/>
                  </a:lnTo>
                  <a:lnTo>
                    <a:pt x="108" y="746"/>
                  </a:lnTo>
                  <a:lnTo>
                    <a:pt x="110" y="750"/>
                  </a:lnTo>
                  <a:lnTo>
                    <a:pt x="112" y="756"/>
                  </a:lnTo>
                  <a:lnTo>
                    <a:pt x="114" y="760"/>
                  </a:lnTo>
                  <a:lnTo>
                    <a:pt x="116" y="762"/>
                  </a:lnTo>
                  <a:lnTo>
                    <a:pt x="116" y="762"/>
                  </a:lnTo>
                  <a:lnTo>
                    <a:pt x="118" y="764"/>
                  </a:lnTo>
                  <a:lnTo>
                    <a:pt x="118" y="764"/>
                  </a:lnTo>
                  <a:lnTo>
                    <a:pt x="118" y="766"/>
                  </a:lnTo>
                  <a:lnTo>
                    <a:pt x="120" y="766"/>
                  </a:lnTo>
                  <a:lnTo>
                    <a:pt x="120" y="766"/>
                  </a:lnTo>
                  <a:lnTo>
                    <a:pt x="122" y="768"/>
                  </a:lnTo>
                  <a:lnTo>
                    <a:pt x="124" y="768"/>
                  </a:lnTo>
                  <a:lnTo>
                    <a:pt x="124" y="768"/>
                  </a:lnTo>
                  <a:lnTo>
                    <a:pt x="124" y="768"/>
                  </a:lnTo>
                  <a:lnTo>
                    <a:pt x="128" y="768"/>
                  </a:lnTo>
                  <a:lnTo>
                    <a:pt x="128" y="768"/>
                  </a:lnTo>
                  <a:lnTo>
                    <a:pt x="128" y="768"/>
                  </a:lnTo>
                  <a:lnTo>
                    <a:pt x="132" y="766"/>
                  </a:lnTo>
                  <a:lnTo>
                    <a:pt x="134" y="766"/>
                  </a:lnTo>
                  <a:lnTo>
                    <a:pt x="138" y="764"/>
                  </a:lnTo>
                  <a:lnTo>
                    <a:pt x="140" y="764"/>
                  </a:lnTo>
                  <a:lnTo>
                    <a:pt x="142" y="764"/>
                  </a:lnTo>
                  <a:lnTo>
                    <a:pt x="144" y="764"/>
                  </a:lnTo>
                  <a:lnTo>
                    <a:pt x="144" y="766"/>
                  </a:lnTo>
                  <a:lnTo>
                    <a:pt x="146" y="768"/>
                  </a:lnTo>
                  <a:lnTo>
                    <a:pt x="148" y="770"/>
                  </a:lnTo>
                  <a:lnTo>
                    <a:pt x="150" y="774"/>
                  </a:lnTo>
                  <a:lnTo>
                    <a:pt x="154" y="780"/>
                  </a:lnTo>
                  <a:lnTo>
                    <a:pt x="156" y="784"/>
                  </a:lnTo>
                  <a:lnTo>
                    <a:pt x="158" y="788"/>
                  </a:lnTo>
                  <a:lnTo>
                    <a:pt x="162" y="794"/>
                  </a:lnTo>
                  <a:lnTo>
                    <a:pt x="166" y="798"/>
                  </a:lnTo>
                  <a:lnTo>
                    <a:pt x="170" y="804"/>
                  </a:lnTo>
                  <a:lnTo>
                    <a:pt x="174" y="808"/>
                  </a:lnTo>
                  <a:lnTo>
                    <a:pt x="174" y="812"/>
                  </a:lnTo>
                  <a:lnTo>
                    <a:pt x="176" y="814"/>
                  </a:lnTo>
                  <a:lnTo>
                    <a:pt x="180" y="822"/>
                  </a:lnTo>
                  <a:lnTo>
                    <a:pt x="182" y="826"/>
                  </a:lnTo>
                  <a:lnTo>
                    <a:pt x="184" y="830"/>
                  </a:lnTo>
                  <a:lnTo>
                    <a:pt x="188" y="834"/>
                  </a:lnTo>
                  <a:lnTo>
                    <a:pt x="190" y="836"/>
                  </a:lnTo>
                  <a:lnTo>
                    <a:pt x="190" y="836"/>
                  </a:lnTo>
                  <a:lnTo>
                    <a:pt x="190" y="838"/>
                  </a:lnTo>
                  <a:lnTo>
                    <a:pt x="194" y="840"/>
                  </a:lnTo>
                  <a:lnTo>
                    <a:pt x="194" y="840"/>
                  </a:lnTo>
                  <a:lnTo>
                    <a:pt x="194" y="840"/>
                  </a:lnTo>
                  <a:lnTo>
                    <a:pt x="196" y="840"/>
                  </a:lnTo>
                  <a:lnTo>
                    <a:pt x="204" y="844"/>
                  </a:lnTo>
                  <a:lnTo>
                    <a:pt x="210" y="846"/>
                  </a:lnTo>
                  <a:lnTo>
                    <a:pt x="212" y="846"/>
                  </a:lnTo>
                  <a:lnTo>
                    <a:pt x="216" y="848"/>
                  </a:lnTo>
                  <a:lnTo>
                    <a:pt x="226" y="854"/>
                  </a:lnTo>
                  <a:lnTo>
                    <a:pt x="238" y="860"/>
                  </a:lnTo>
                  <a:lnTo>
                    <a:pt x="242" y="860"/>
                  </a:lnTo>
                  <a:lnTo>
                    <a:pt x="246" y="862"/>
                  </a:lnTo>
                  <a:lnTo>
                    <a:pt x="254" y="864"/>
                  </a:lnTo>
                  <a:lnTo>
                    <a:pt x="258" y="866"/>
                  </a:lnTo>
                  <a:lnTo>
                    <a:pt x="260" y="866"/>
                  </a:lnTo>
                  <a:lnTo>
                    <a:pt x="262" y="868"/>
                  </a:lnTo>
                  <a:lnTo>
                    <a:pt x="264" y="868"/>
                  </a:lnTo>
                  <a:lnTo>
                    <a:pt x="266" y="870"/>
                  </a:lnTo>
                  <a:lnTo>
                    <a:pt x="266" y="872"/>
                  </a:lnTo>
                  <a:lnTo>
                    <a:pt x="266" y="874"/>
                  </a:lnTo>
                  <a:lnTo>
                    <a:pt x="266" y="876"/>
                  </a:lnTo>
                  <a:lnTo>
                    <a:pt x="266" y="878"/>
                  </a:lnTo>
                  <a:lnTo>
                    <a:pt x="268" y="882"/>
                  </a:lnTo>
                  <a:lnTo>
                    <a:pt x="268" y="884"/>
                  </a:lnTo>
                  <a:lnTo>
                    <a:pt x="268" y="884"/>
                  </a:lnTo>
                  <a:lnTo>
                    <a:pt x="268" y="884"/>
                  </a:lnTo>
                  <a:lnTo>
                    <a:pt x="270" y="888"/>
                  </a:lnTo>
                  <a:lnTo>
                    <a:pt x="272" y="892"/>
                  </a:lnTo>
                  <a:lnTo>
                    <a:pt x="274" y="894"/>
                  </a:lnTo>
                  <a:lnTo>
                    <a:pt x="280" y="902"/>
                  </a:lnTo>
                  <a:lnTo>
                    <a:pt x="284" y="906"/>
                  </a:lnTo>
                  <a:lnTo>
                    <a:pt x="286" y="910"/>
                  </a:lnTo>
                  <a:lnTo>
                    <a:pt x="290" y="912"/>
                  </a:lnTo>
                  <a:lnTo>
                    <a:pt x="290" y="914"/>
                  </a:lnTo>
                  <a:lnTo>
                    <a:pt x="294" y="912"/>
                  </a:lnTo>
                  <a:lnTo>
                    <a:pt x="366" y="912"/>
                  </a:lnTo>
                  <a:lnTo>
                    <a:pt x="382" y="912"/>
                  </a:lnTo>
                  <a:lnTo>
                    <a:pt x="428" y="912"/>
                  </a:lnTo>
                  <a:lnTo>
                    <a:pt x="444" y="912"/>
                  </a:lnTo>
                  <a:lnTo>
                    <a:pt x="480" y="912"/>
                  </a:lnTo>
                  <a:lnTo>
                    <a:pt x="514" y="912"/>
                  </a:lnTo>
                  <a:lnTo>
                    <a:pt x="550" y="912"/>
                  </a:lnTo>
                  <a:lnTo>
                    <a:pt x="584" y="912"/>
                  </a:lnTo>
                  <a:lnTo>
                    <a:pt x="600" y="912"/>
                  </a:lnTo>
                  <a:lnTo>
                    <a:pt x="616" y="912"/>
                  </a:lnTo>
                  <a:lnTo>
                    <a:pt x="632" y="912"/>
                  </a:lnTo>
                  <a:lnTo>
                    <a:pt x="648" y="912"/>
                  </a:lnTo>
                  <a:lnTo>
                    <a:pt x="662" y="912"/>
                  </a:lnTo>
                  <a:lnTo>
                    <a:pt x="676" y="912"/>
                  </a:lnTo>
                  <a:lnTo>
                    <a:pt x="690" y="912"/>
                  </a:lnTo>
                  <a:lnTo>
                    <a:pt x="702" y="912"/>
                  </a:lnTo>
                  <a:lnTo>
                    <a:pt x="714" y="912"/>
                  </a:lnTo>
                  <a:lnTo>
                    <a:pt x="724" y="912"/>
                  </a:lnTo>
                  <a:lnTo>
                    <a:pt x="734" y="912"/>
                  </a:lnTo>
                  <a:lnTo>
                    <a:pt x="742" y="910"/>
                  </a:lnTo>
                  <a:lnTo>
                    <a:pt x="750" y="910"/>
                  </a:lnTo>
                  <a:lnTo>
                    <a:pt x="756" y="910"/>
                  </a:lnTo>
                  <a:lnTo>
                    <a:pt x="762" y="910"/>
                  </a:lnTo>
                  <a:lnTo>
                    <a:pt x="766" y="910"/>
                  </a:lnTo>
                  <a:lnTo>
                    <a:pt x="770" y="910"/>
                  </a:lnTo>
                  <a:lnTo>
                    <a:pt x="774" y="910"/>
                  </a:lnTo>
                  <a:lnTo>
                    <a:pt x="778" y="910"/>
                  </a:lnTo>
                  <a:lnTo>
                    <a:pt x="780" y="910"/>
                  </a:lnTo>
                  <a:lnTo>
                    <a:pt x="782" y="908"/>
                  </a:lnTo>
                  <a:lnTo>
                    <a:pt x="784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6" y="908"/>
                  </a:lnTo>
                  <a:lnTo>
                    <a:pt x="788" y="908"/>
                  </a:lnTo>
                  <a:lnTo>
                    <a:pt x="788" y="908"/>
                  </a:lnTo>
                  <a:lnTo>
                    <a:pt x="788" y="906"/>
                  </a:lnTo>
                  <a:lnTo>
                    <a:pt x="788" y="906"/>
                  </a:lnTo>
                  <a:lnTo>
                    <a:pt x="788" y="906"/>
                  </a:lnTo>
                  <a:lnTo>
                    <a:pt x="788" y="902"/>
                  </a:lnTo>
                  <a:lnTo>
                    <a:pt x="786" y="902"/>
                  </a:lnTo>
                  <a:lnTo>
                    <a:pt x="786" y="902"/>
                  </a:lnTo>
                  <a:lnTo>
                    <a:pt x="786" y="902"/>
                  </a:lnTo>
                  <a:lnTo>
                    <a:pt x="784" y="900"/>
                  </a:lnTo>
                  <a:lnTo>
                    <a:pt x="782" y="900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8"/>
                  </a:lnTo>
                  <a:lnTo>
                    <a:pt x="776" y="896"/>
                  </a:lnTo>
                  <a:lnTo>
                    <a:pt x="776" y="894"/>
                  </a:lnTo>
                  <a:lnTo>
                    <a:pt x="776" y="894"/>
                  </a:lnTo>
                  <a:lnTo>
                    <a:pt x="776" y="894"/>
                  </a:lnTo>
                  <a:lnTo>
                    <a:pt x="776" y="892"/>
                  </a:lnTo>
                  <a:lnTo>
                    <a:pt x="776" y="892"/>
                  </a:lnTo>
                  <a:lnTo>
                    <a:pt x="778" y="892"/>
                  </a:lnTo>
                  <a:lnTo>
                    <a:pt x="780" y="894"/>
                  </a:lnTo>
                  <a:lnTo>
                    <a:pt x="784" y="896"/>
                  </a:lnTo>
                  <a:lnTo>
                    <a:pt x="786" y="896"/>
                  </a:lnTo>
                  <a:lnTo>
                    <a:pt x="788" y="896"/>
                  </a:lnTo>
                  <a:lnTo>
                    <a:pt x="792" y="896"/>
                  </a:lnTo>
                  <a:lnTo>
                    <a:pt x="798" y="898"/>
                  </a:lnTo>
                  <a:lnTo>
                    <a:pt x="802" y="898"/>
                  </a:lnTo>
                  <a:lnTo>
                    <a:pt x="804" y="898"/>
                  </a:lnTo>
                  <a:lnTo>
                    <a:pt x="808" y="898"/>
                  </a:lnTo>
                  <a:lnTo>
                    <a:pt x="808" y="900"/>
                  </a:lnTo>
                  <a:lnTo>
                    <a:pt x="808" y="900"/>
                  </a:lnTo>
                  <a:lnTo>
                    <a:pt x="808" y="900"/>
                  </a:lnTo>
                  <a:lnTo>
                    <a:pt x="808" y="902"/>
                  </a:lnTo>
                  <a:lnTo>
                    <a:pt x="808" y="904"/>
                  </a:lnTo>
                  <a:lnTo>
                    <a:pt x="808" y="906"/>
                  </a:lnTo>
                  <a:lnTo>
                    <a:pt x="808" y="908"/>
                  </a:lnTo>
                  <a:lnTo>
                    <a:pt x="808" y="908"/>
                  </a:lnTo>
                  <a:lnTo>
                    <a:pt x="808" y="908"/>
                  </a:lnTo>
                  <a:lnTo>
                    <a:pt x="810" y="910"/>
                  </a:lnTo>
                  <a:lnTo>
                    <a:pt x="810" y="910"/>
                  </a:lnTo>
                  <a:lnTo>
                    <a:pt x="810" y="912"/>
                  </a:lnTo>
                  <a:lnTo>
                    <a:pt x="810" y="912"/>
                  </a:lnTo>
                  <a:lnTo>
                    <a:pt x="810" y="912"/>
                  </a:lnTo>
                  <a:lnTo>
                    <a:pt x="812" y="914"/>
                  </a:lnTo>
                  <a:lnTo>
                    <a:pt x="814" y="914"/>
                  </a:lnTo>
                  <a:lnTo>
                    <a:pt x="814" y="914"/>
                  </a:lnTo>
                  <a:lnTo>
                    <a:pt x="814" y="914"/>
                  </a:lnTo>
                  <a:lnTo>
                    <a:pt x="818" y="916"/>
                  </a:lnTo>
                  <a:lnTo>
                    <a:pt x="820" y="916"/>
                  </a:lnTo>
                  <a:lnTo>
                    <a:pt x="824" y="916"/>
                  </a:lnTo>
                  <a:lnTo>
                    <a:pt x="828" y="916"/>
                  </a:lnTo>
                  <a:lnTo>
                    <a:pt x="830" y="918"/>
                  </a:lnTo>
                  <a:lnTo>
                    <a:pt x="832" y="918"/>
                  </a:lnTo>
                  <a:lnTo>
                    <a:pt x="834" y="918"/>
                  </a:lnTo>
                  <a:lnTo>
                    <a:pt x="834" y="920"/>
                  </a:lnTo>
                  <a:lnTo>
                    <a:pt x="834" y="922"/>
                  </a:lnTo>
                  <a:lnTo>
                    <a:pt x="832" y="926"/>
                  </a:lnTo>
                  <a:lnTo>
                    <a:pt x="830" y="930"/>
                  </a:lnTo>
                  <a:lnTo>
                    <a:pt x="830" y="934"/>
                  </a:lnTo>
                  <a:lnTo>
                    <a:pt x="830" y="938"/>
                  </a:lnTo>
                  <a:lnTo>
                    <a:pt x="830" y="938"/>
                  </a:lnTo>
                  <a:lnTo>
                    <a:pt x="830" y="938"/>
                  </a:lnTo>
                  <a:lnTo>
                    <a:pt x="830" y="942"/>
                  </a:lnTo>
                  <a:lnTo>
                    <a:pt x="830" y="942"/>
                  </a:lnTo>
                  <a:lnTo>
                    <a:pt x="830" y="942"/>
                  </a:lnTo>
                  <a:lnTo>
                    <a:pt x="830" y="944"/>
                  </a:lnTo>
                  <a:lnTo>
                    <a:pt x="830" y="944"/>
                  </a:lnTo>
                  <a:lnTo>
                    <a:pt x="830" y="944"/>
                  </a:lnTo>
                  <a:lnTo>
                    <a:pt x="832" y="946"/>
                  </a:lnTo>
                  <a:lnTo>
                    <a:pt x="832" y="946"/>
                  </a:lnTo>
                  <a:lnTo>
                    <a:pt x="832" y="946"/>
                  </a:lnTo>
                  <a:lnTo>
                    <a:pt x="834" y="948"/>
                  </a:lnTo>
                  <a:lnTo>
                    <a:pt x="834" y="948"/>
                  </a:lnTo>
                  <a:lnTo>
                    <a:pt x="840" y="952"/>
                  </a:lnTo>
                  <a:lnTo>
                    <a:pt x="844" y="954"/>
                  </a:lnTo>
                  <a:lnTo>
                    <a:pt x="850" y="956"/>
                  </a:lnTo>
                  <a:lnTo>
                    <a:pt x="856" y="958"/>
                  </a:lnTo>
                  <a:lnTo>
                    <a:pt x="860" y="960"/>
                  </a:lnTo>
                  <a:lnTo>
                    <a:pt x="864" y="962"/>
                  </a:lnTo>
                  <a:lnTo>
                    <a:pt x="868" y="964"/>
                  </a:lnTo>
                  <a:lnTo>
                    <a:pt x="868" y="964"/>
                  </a:lnTo>
                  <a:lnTo>
                    <a:pt x="870" y="964"/>
                  </a:lnTo>
                  <a:lnTo>
                    <a:pt x="872" y="964"/>
                  </a:lnTo>
                  <a:lnTo>
                    <a:pt x="872" y="964"/>
                  </a:lnTo>
                  <a:lnTo>
                    <a:pt x="872" y="964"/>
                  </a:lnTo>
                  <a:lnTo>
                    <a:pt x="876" y="964"/>
                  </a:lnTo>
                  <a:lnTo>
                    <a:pt x="876" y="964"/>
                  </a:lnTo>
                  <a:lnTo>
                    <a:pt x="876" y="962"/>
                  </a:lnTo>
                  <a:lnTo>
                    <a:pt x="878" y="962"/>
                  </a:lnTo>
                  <a:lnTo>
                    <a:pt x="878" y="962"/>
                  </a:lnTo>
                  <a:lnTo>
                    <a:pt x="878" y="962"/>
                  </a:lnTo>
                  <a:lnTo>
                    <a:pt x="880" y="960"/>
                  </a:lnTo>
                  <a:lnTo>
                    <a:pt x="882" y="960"/>
                  </a:lnTo>
                  <a:lnTo>
                    <a:pt x="882" y="958"/>
                  </a:lnTo>
                  <a:lnTo>
                    <a:pt x="882" y="958"/>
                  </a:lnTo>
                  <a:lnTo>
                    <a:pt x="884" y="958"/>
                  </a:lnTo>
                  <a:lnTo>
                    <a:pt x="884" y="960"/>
                  </a:lnTo>
                  <a:lnTo>
                    <a:pt x="886" y="960"/>
                  </a:lnTo>
                  <a:lnTo>
                    <a:pt x="888" y="962"/>
                  </a:lnTo>
                  <a:lnTo>
                    <a:pt x="892" y="966"/>
                  </a:lnTo>
                  <a:lnTo>
                    <a:pt x="896" y="970"/>
                  </a:lnTo>
                  <a:lnTo>
                    <a:pt x="898" y="972"/>
                  </a:lnTo>
                  <a:lnTo>
                    <a:pt x="898" y="974"/>
                  </a:lnTo>
                  <a:lnTo>
                    <a:pt x="900" y="978"/>
                  </a:lnTo>
                  <a:lnTo>
                    <a:pt x="902" y="982"/>
                  </a:lnTo>
                  <a:lnTo>
                    <a:pt x="904" y="984"/>
                  </a:lnTo>
                  <a:lnTo>
                    <a:pt x="904" y="984"/>
                  </a:lnTo>
                  <a:lnTo>
                    <a:pt x="902" y="984"/>
                  </a:lnTo>
                  <a:lnTo>
                    <a:pt x="900" y="984"/>
                  </a:lnTo>
                  <a:lnTo>
                    <a:pt x="896" y="982"/>
                  </a:lnTo>
                  <a:lnTo>
                    <a:pt x="892" y="982"/>
                  </a:lnTo>
                  <a:lnTo>
                    <a:pt x="888" y="980"/>
                  </a:lnTo>
                  <a:lnTo>
                    <a:pt x="884" y="980"/>
                  </a:lnTo>
                  <a:lnTo>
                    <a:pt x="884" y="980"/>
                  </a:lnTo>
                  <a:lnTo>
                    <a:pt x="884" y="980"/>
                  </a:lnTo>
                  <a:lnTo>
                    <a:pt x="880" y="980"/>
                  </a:lnTo>
                  <a:lnTo>
                    <a:pt x="880" y="980"/>
                  </a:lnTo>
                  <a:lnTo>
                    <a:pt x="880" y="980"/>
                  </a:lnTo>
                  <a:lnTo>
                    <a:pt x="876" y="982"/>
                  </a:lnTo>
                  <a:lnTo>
                    <a:pt x="876" y="982"/>
                  </a:lnTo>
                  <a:lnTo>
                    <a:pt x="876" y="982"/>
                  </a:lnTo>
                  <a:lnTo>
                    <a:pt x="872" y="984"/>
                  </a:lnTo>
                  <a:lnTo>
                    <a:pt x="872" y="984"/>
                  </a:lnTo>
                  <a:lnTo>
                    <a:pt x="872" y="986"/>
                  </a:lnTo>
                  <a:lnTo>
                    <a:pt x="870" y="988"/>
                  </a:lnTo>
                  <a:lnTo>
                    <a:pt x="868" y="994"/>
                  </a:lnTo>
                  <a:lnTo>
                    <a:pt x="866" y="998"/>
                  </a:lnTo>
                  <a:lnTo>
                    <a:pt x="864" y="1008"/>
                  </a:lnTo>
                  <a:lnTo>
                    <a:pt x="862" y="1012"/>
                  </a:lnTo>
                  <a:lnTo>
                    <a:pt x="860" y="1016"/>
                  </a:lnTo>
                  <a:lnTo>
                    <a:pt x="856" y="1022"/>
                  </a:lnTo>
                  <a:lnTo>
                    <a:pt x="852" y="1030"/>
                  </a:lnTo>
                  <a:lnTo>
                    <a:pt x="850" y="1034"/>
                  </a:lnTo>
                  <a:lnTo>
                    <a:pt x="848" y="1036"/>
                  </a:lnTo>
                  <a:lnTo>
                    <a:pt x="846" y="1040"/>
                  </a:lnTo>
                  <a:lnTo>
                    <a:pt x="846" y="1042"/>
                  </a:lnTo>
                  <a:lnTo>
                    <a:pt x="846" y="1044"/>
                  </a:lnTo>
                  <a:lnTo>
                    <a:pt x="846" y="1044"/>
                  </a:lnTo>
                  <a:lnTo>
                    <a:pt x="846" y="1044"/>
                  </a:lnTo>
                  <a:lnTo>
                    <a:pt x="846" y="1046"/>
                  </a:lnTo>
                  <a:lnTo>
                    <a:pt x="846" y="1046"/>
                  </a:lnTo>
                  <a:lnTo>
                    <a:pt x="846" y="1046"/>
                  </a:lnTo>
                  <a:lnTo>
                    <a:pt x="846" y="1050"/>
                  </a:lnTo>
                  <a:lnTo>
                    <a:pt x="846" y="1050"/>
                  </a:lnTo>
                  <a:lnTo>
                    <a:pt x="846" y="1050"/>
                  </a:lnTo>
                  <a:lnTo>
                    <a:pt x="848" y="1050"/>
                  </a:lnTo>
                  <a:lnTo>
                    <a:pt x="848" y="1050"/>
                  </a:lnTo>
                  <a:lnTo>
                    <a:pt x="848" y="1052"/>
                  </a:lnTo>
                  <a:lnTo>
                    <a:pt x="848" y="1052"/>
                  </a:lnTo>
                  <a:lnTo>
                    <a:pt x="848" y="1052"/>
                  </a:lnTo>
                  <a:lnTo>
                    <a:pt x="850" y="1052"/>
                  </a:lnTo>
                  <a:lnTo>
                    <a:pt x="852" y="1052"/>
                  </a:lnTo>
                  <a:lnTo>
                    <a:pt x="852" y="1052"/>
                  </a:lnTo>
                  <a:lnTo>
                    <a:pt x="852" y="1052"/>
                  </a:lnTo>
                  <a:lnTo>
                    <a:pt x="854" y="1052"/>
                  </a:lnTo>
                  <a:lnTo>
                    <a:pt x="854" y="1052"/>
                  </a:lnTo>
                  <a:lnTo>
                    <a:pt x="854" y="1050"/>
                  </a:lnTo>
                  <a:lnTo>
                    <a:pt x="854" y="1050"/>
                  </a:lnTo>
                  <a:lnTo>
                    <a:pt x="854" y="1050"/>
                  </a:lnTo>
                  <a:lnTo>
                    <a:pt x="856" y="1048"/>
                  </a:lnTo>
                  <a:lnTo>
                    <a:pt x="856" y="1046"/>
                  </a:lnTo>
                  <a:lnTo>
                    <a:pt x="856" y="1044"/>
                  </a:lnTo>
                  <a:lnTo>
                    <a:pt x="858" y="1042"/>
                  </a:lnTo>
                  <a:lnTo>
                    <a:pt x="858" y="1038"/>
                  </a:lnTo>
                  <a:lnTo>
                    <a:pt x="860" y="1036"/>
                  </a:lnTo>
                  <a:lnTo>
                    <a:pt x="862" y="1034"/>
                  </a:lnTo>
                  <a:lnTo>
                    <a:pt x="864" y="1032"/>
                  </a:lnTo>
                  <a:lnTo>
                    <a:pt x="866" y="1032"/>
                  </a:lnTo>
                  <a:lnTo>
                    <a:pt x="868" y="1032"/>
                  </a:lnTo>
                  <a:lnTo>
                    <a:pt x="874" y="1030"/>
                  </a:lnTo>
                  <a:lnTo>
                    <a:pt x="880" y="1030"/>
                  </a:lnTo>
                  <a:lnTo>
                    <a:pt x="886" y="1030"/>
                  </a:lnTo>
                  <a:lnTo>
                    <a:pt x="892" y="1030"/>
                  </a:lnTo>
                  <a:lnTo>
                    <a:pt x="900" y="1028"/>
                  </a:lnTo>
                  <a:lnTo>
                    <a:pt x="904" y="1028"/>
                  </a:lnTo>
                  <a:lnTo>
                    <a:pt x="906" y="1028"/>
                  </a:lnTo>
                  <a:lnTo>
                    <a:pt x="908" y="1026"/>
                  </a:lnTo>
                  <a:lnTo>
                    <a:pt x="908" y="1026"/>
                  </a:lnTo>
                  <a:lnTo>
                    <a:pt x="910" y="1026"/>
                  </a:lnTo>
                  <a:lnTo>
                    <a:pt x="912" y="1024"/>
                  </a:lnTo>
                  <a:lnTo>
                    <a:pt x="912" y="1024"/>
                  </a:lnTo>
                  <a:lnTo>
                    <a:pt x="912" y="1024"/>
                  </a:lnTo>
                  <a:lnTo>
                    <a:pt x="914" y="1020"/>
                  </a:lnTo>
                  <a:lnTo>
                    <a:pt x="914" y="1020"/>
                  </a:lnTo>
                  <a:lnTo>
                    <a:pt x="914" y="1020"/>
                  </a:lnTo>
                  <a:lnTo>
                    <a:pt x="914" y="1018"/>
                  </a:lnTo>
                  <a:lnTo>
                    <a:pt x="914" y="1016"/>
                  </a:lnTo>
                  <a:lnTo>
                    <a:pt x="914" y="1014"/>
                  </a:lnTo>
                  <a:lnTo>
                    <a:pt x="914" y="1010"/>
                  </a:lnTo>
                  <a:lnTo>
                    <a:pt x="914" y="1008"/>
                  </a:lnTo>
                  <a:lnTo>
                    <a:pt x="916" y="1006"/>
                  </a:lnTo>
                  <a:lnTo>
                    <a:pt x="916" y="1006"/>
                  </a:lnTo>
                  <a:lnTo>
                    <a:pt x="918" y="1004"/>
                  </a:lnTo>
                  <a:lnTo>
                    <a:pt x="920" y="1004"/>
                  </a:lnTo>
                  <a:lnTo>
                    <a:pt x="922" y="1004"/>
                  </a:lnTo>
                  <a:lnTo>
                    <a:pt x="926" y="1004"/>
                  </a:lnTo>
                  <a:lnTo>
                    <a:pt x="932" y="1004"/>
                  </a:lnTo>
                  <a:lnTo>
                    <a:pt x="936" y="1004"/>
                  </a:lnTo>
                  <a:lnTo>
                    <a:pt x="940" y="1002"/>
                  </a:lnTo>
                  <a:lnTo>
                    <a:pt x="940" y="1002"/>
                  </a:lnTo>
                  <a:lnTo>
                    <a:pt x="940" y="1002"/>
                  </a:lnTo>
                  <a:lnTo>
                    <a:pt x="944" y="1002"/>
                  </a:lnTo>
                  <a:lnTo>
                    <a:pt x="944" y="1002"/>
                  </a:lnTo>
                  <a:lnTo>
                    <a:pt x="944" y="1002"/>
                  </a:lnTo>
                  <a:lnTo>
                    <a:pt x="948" y="1000"/>
                  </a:lnTo>
                  <a:lnTo>
                    <a:pt x="954" y="994"/>
                  </a:lnTo>
                  <a:lnTo>
                    <a:pt x="956" y="992"/>
                  </a:lnTo>
                  <a:lnTo>
                    <a:pt x="960" y="990"/>
                  </a:lnTo>
                  <a:lnTo>
                    <a:pt x="964" y="988"/>
                  </a:lnTo>
                  <a:lnTo>
                    <a:pt x="968" y="986"/>
                  </a:lnTo>
                  <a:lnTo>
                    <a:pt x="970" y="986"/>
                  </a:lnTo>
                  <a:lnTo>
                    <a:pt x="974" y="986"/>
                  </a:lnTo>
                  <a:lnTo>
                    <a:pt x="980" y="984"/>
                  </a:lnTo>
                  <a:lnTo>
                    <a:pt x="988" y="984"/>
                  </a:lnTo>
                  <a:lnTo>
                    <a:pt x="998" y="984"/>
                  </a:lnTo>
                  <a:lnTo>
                    <a:pt x="1006" y="984"/>
                  </a:lnTo>
                  <a:lnTo>
                    <a:pt x="1014" y="982"/>
                  </a:lnTo>
                  <a:lnTo>
                    <a:pt x="1018" y="982"/>
                  </a:lnTo>
                  <a:lnTo>
                    <a:pt x="1020" y="982"/>
                  </a:lnTo>
                  <a:lnTo>
                    <a:pt x="1024" y="982"/>
                  </a:lnTo>
                  <a:lnTo>
                    <a:pt x="1026" y="982"/>
                  </a:lnTo>
                  <a:lnTo>
                    <a:pt x="1030" y="980"/>
                  </a:lnTo>
                  <a:lnTo>
                    <a:pt x="1030" y="980"/>
                  </a:lnTo>
                  <a:lnTo>
                    <a:pt x="1030" y="980"/>
                  </a:lnTo>
                  <a:lnTo>
                    <a:pt x="1034" y="978"/>
                  </a:lnTo>
                  <a:lnTo>
                    <a:pt x="1034" y="978"/>
                  </a:lnTo>
                  <a:lnTo>
                    <a:pt x="1034" y="978"/>
                  </a:lnTo>
                  <a:lnTo>
                    <a:pt x="1036" y="976"/>
                  </a:lnTo>
                  <a:lnTo>
                    <a:pt x="1036" y="976"/>
                  </a:lnTo>
                  <a:lnTo>
                    <a:pt x="1036" y="976"/>
                  </a:lnTo>
                  <a:lnTo>
                    <a:pt x="1038" y="974"/>
                  </a:lnTo>
                  <a:lnTo>
                    <a:pt x="1038" y="974"/>
                  </a:lnTo>
                  <a:lnTo>
                    <a:pt x="1038" y="972"/>
                  </a:lnTo>
                  <a:lnTo>
                    <a:pt x="1038" y="970"/>
                  </a:lnTo>
                  <a:lnTo>
                    <a:pt x="1040" y="968"/>
                  </a:lnTo>
                  <a:lnTo>
                    <a:pt x="1040" y="968"/>
                  </a:lnTo>
                  <a:lnTo>
                    <a:pt x="1040" y="966"/>
                  </a:lnTo>
                  <a:lnTo>
                    <a:pt x="1046" y="960"/>
                  </a:lnTo>
                  <a:lnTo>
                    <a:pt x="1050" y="958"/>
                  </a:lnTo>
                  <a:lnTo>
                    <a:pt x="1052" y="954"/>
                  </a:lnTo>
                  <a:lnTo>
                    <a:pt x="1052" y="954"/>
                  </a:lnTo>
                  <a:lnTo>
                    <a:pt x="1052" y="952"/>
                  </a:lnTo>
                  <a:lnTo>
                    <a:pt x="1054" y="950"/>
                  </a:lnTo>
                  <a:lnTo>
                    <a:pt x="1054" y="948"/>
                  </a:lnTo>
                  <a:lnTo>
                    <a:pt x="1056" y="944"/>
                  </a:lnTo>
                  <a:lnTo>
                    <a:pt x="1058" y="940"/>
                  </a:lnTo>
                  <a:lnTo>
                    <a:pt x="1058" y="938"/>
                  </a:lnTo>
                  <a:lnTo>
                    <a:pt x="1058" y="936"/>
                  </a:lnTo>
                  <a:lnTo>
                    <a:pt x="1060" y="936"/>
                  </a:lnTo>
                  <a:lnTo>
                    <a:pt x="1062" y="934"/>
                  </a:lnTo>
                  <a:lnTo>
                    <a:pt x="1064" y="934"/>
                  </a:lnTo>
                  <a:lnTo>
                    <a:pt x="1068" y="934"/>
                  </a:lnTo>
                  <a:lnTo>
                    <a:pt x="1070" y="934"/>
                  </a:lnTo>
                  <a:lnTo>
                    <a:pt x="1074" y="932"/>
                  </a:lnTo>
                  <a:lnTo>
                    <a:pt x="1076" y="932"/>
                  </a:lnTo>
                  <a:lnTo>
                    <a:pt x="1076" y="932"/>
                  </a:lnTo>
                  <a:lnTo>
                    <a:pt x="1076" y="932"/>
                  </a:lnTo>
                  <a:lnTo>
                    <a:pt x="1076" y="934"/>
                  </a:lnTo>
                  <a:lnTo>
                    <a:pt x="1076" y="934"/>
                  </a:lnTo>
                  <a:lnTo>
                    <a:pt x="1078" y="936"/>
                  </a:lnTo>
                  <a:lnTo>
                    <a:pt x="1078" y="938"/>
                  </a:lnTo>
                  <a:lnTo>
                    <a:pt x="1078" y="942"/>
                  </a:lnTo>
                  <a:lnTo>
                    <a:pt x="1078" y="948"/>
                  </a:lnTo>
                  <a:lnTo>
                    <a:pt x="1078" y="950"/>
                  </a:lnTo>
                  <a:lnTo>
                    <a:pt x="1078" y="952"/>
                  </a:lnTo>
                  <a:lnTo>
                    <a:pt x="1076" y="958"/>
                  </a:lnTo>
                  <a:lnTo>
                    <a:pt x="1076" y="962"/>
                  </a:lnTo>
                  <a:lnTo>
                    <a:pt x="1078" y="966"/>
                  </a:lnTo>
                  <a:lnTo>
                    <a:pt x="1078" y="966"/>
                  </a:lnTo>
                  <a:lnTo>
                    <a:pt x="1078" y="968"/>
                  </a:lnTo>
                  <a:lnTo>
                    <a:pt x="1078" y="968"/>
                  </a:lnTo>
                  <a:lnTo>
                    <a:pt x="1078" y="968"/>
                  </a:lnTo>
                  <a:lnTo>
                    <a:pt x="1078" y="970"/>
                  </a:lnTo>
                  <a:lnTo>
                    <a:pt x="1080" y="970"/>
                  </a:lnTo>
                  <a:lnTo>
                    <a:pt x="1080" y="970"/>
                  </a:lnTo>
                  <a:lnTo>
                    <a:pt x="1080" y="972"/>
                  </a:lnTo>
                  <a:lnTo>
                    <a:pt x="1082" y="972"/>
                  </a:lnTo>
                  <a:lnTo>
                    <a:pt x="1084" y="974"/>
                  </a:lnTo>
                  <a:lnTo>
                    <a:pt x="1088" y="978"/>
                  </a:lnTo>
                  <a:lnTo>
                    <a:pt x="1092" y="980"/>
                  </a:lnTo>
                  <a:lnTo>
                    <a:pt x="1094" y="980"/>
                  </a:lnTo>
                  <a:lnTo>
                    <a:pt x="1094" y="980"/>
                  </a:lnTo>
                  <a:lnTo>
                    <a:pt x="1094" y="982"/>
                  </a:lnTo>
                  <a:lnTo>
                    <a:pt x="1096" y="982"/>
                  </a:lnTo>
                  <a:lnTo>
                    <a:pt x="1096" y="982"/>
                  </a:lnTo>
                  <a:lnTo>
                    <a:pt x="1098" y="982"/>
                  </a:lnTo>
                  <a:lnTo>
                    <a:pt x="1098" y="980"/>
                  </a:lnTo>
                  <a:lnTo>
                    <a:pt x="1098" y="980"/>
                  </a:lnTo>
                  <a:lnTo>
                    <a:pt x="1100" y="980"/>
                  </a:lnTo>
                  <a:lnTo>
                    <a:pt x="1100" y="978"/>
                  </a:lnTo>
                  <a:lnTo>
                    <a:pt x="1100" y="978"/>
                  </a:lnTo>
                  <a:lnTo>
                    <a:pt x="1100" y="978"/>
                  </a:lnTo>
                  <a:lnTo>
                    <a:pt x="1102" y="976"/>
                  </a:lnTo>
                  <a:lnTo>
                    <a:pt x="1102" y="976"/>
                  </a:lnTo>
                  <a:lnTo>
                    <a:pt x="1102" y="976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2" y="974"/>
                  </a:lnTo>
                  <a:lnTo>
                    <a:pt x="1104" y="976"/>
                  </a:lnTo>
                  <a:lnTo>
                    <a:pt x="1104" y="976"/>
                  </a:lnTo>
                  <a:lnTo>
                    <a:pt x="1104" y="976"/>
                  </a:lnTo>
                  <a:lnTo>
                    <a:pt x="1106" y="976"/>
                  </a:lnTo>
                  <a:lnTo>
                    <a:pt x="1106" y="976"/>
                  </a:lnTo>
                  <a:lnTo>
                    <a:pt x="1106" y="976"/>
                  </a:lnTo>
                  <a:lnTo>
                    <a:pt x="1108" y="976"/>
                  </a:lnTo>
                  <a:lnTo>
                    <a:pt x="1110" y="974"/>
                  </a:lnTo>
                  <a:lnTo>
                    <a:pt x="1114" y="974"/>
                  </a:lnTo>
                  <a:lnTo>
                    <a:pt x="1118" y="972"/>
                  </a:lnTo>
                  <a:lnTo>
                    <a:pt x="1120" y="970"/>
                  </a:lnTo>
                  <a:lnTo>
                    <a:pt x="1120" y="970"/>
                  </a:lnTo>
                  <a:lnTo>
                    <a:pt x="1120" y="970"/>
                  </a:lnTo>
                  <a:lnTo>
                    <a:pt x="1120" y="974"/>
                  </a:lnTo>
                  <a:lnTo>
                    <a:pt x="1120" y="974"/>
                  </a:lnTo>
                  <a:lnTo>
                    <a:pt x="1122" y="976"/>
                  </a:lnTo>
                  <a:lnTo>
                    <a:pt x="1124" y="976"/>
                  </a:lnTo>
                  <a:lnTo>
                    <a:pt x="1106" y="982"/>
                  </a:lnTo>
                  <a:lnTo>
                    <a:pt x="1106" y="982"/>
                  </a:lnTo>
                  <a:lnTo>
                    <a:pt x="1104" y="984"/>
                  </a:lnTo>
                  <a:lnTo>
                    <a:pt x="1094" y="1002"/>
                  </a:lnTo>
                  <a:lnTo>
                    <a:pt x="1094" y="1002"/>
                  </a:lnTo>
                  <a:lnTo>
                    <a:pt x="1096" y="1004"/>
                  </a:lnTo>
                  <a:lnTo>
                    <a:pt x="1108" y="1022"/>
                  </a:lnTo>
                  <a:lnTo>
                    <a:pt x="1108" y="1022"/>
                  </a:lnTo>
                  <a:lnTo>
                    <a:pt x="1110" y="1024"/>
                  </a:lnTo>
                  <a:lnTo>
                    <a:pt x="1110" y="1024"/>
                  </a:lnTo>
                  <a:lnTo>
                    <a:pt x="1112" y="1022"/>
                  </a:lnTo>
                  <a:lnTo>
                    <a:pt x="1134" y="996"/>
                  </a:lnTo>
                  <a:lnTo>
                    <a:pt x="1142" y="1000"/>
                  </a:lnTo>
                  <a:lnTo>
                    <a:pt x="1142" y="1000"/>
                  </a:lnTo>
                  <a:lnTo>
                    <a:pt x="1146" y="998"/>
                  </a:lnTo>
                  <a:lnTo>
                    <a:pt x="1154" y="992"/>
                  </a:lnTo>
                  <a:lnTo>
                    <a:pt x="1186" y="980"/>
                  </a:lnTo>
                  <a:lnTo>
                    <a:pt x="1186" y="980"/>
                  </a:lnTo>
                  <a:lnTo>
                    <a:pt x="1188" y="980"/>
                  </a:lnTo>
                  <a:lnTo>
                    <a:pt x="1188" y="978"/>
                  </a:lnTo>
                  <a:lnTo>
                    <a:pt x="1188" y="972"/>
                  </a:lnTo>
                  <a:lnTo>
                    <a:pt x="1206" y="964"/>
                  </a:lnTo>
                  <a:lnTo>
                    <a:pt x="1206" y="964"/>
                  </a:lnTo>
                  <a:lnTo>
                    <a:pt x="1208" y="960"/>
                  </a:lnTo>
                  <a:lnTo>
                    <a:pt x="1208" y="960"/>
                  </a:lnTo>
                  <a:lnTo>
                    <a:pt x="1206" y="958"/>
                  </a:lnTo>
                  <a:lnTo>
                    <a:pt x="1196" y="954"/>
                  </a:lnTo>
                  <a:lnTo>
                    <a:pt x="1196" y="946"/>
                  </a:lnTo>
                  <a:lnTo>
                    <a:pt x="1196" y="946"/>
                  </a:lnTo>
                  <a:lnTo>
                    <a:pt x="1196" y="946"/>
                  </a:lnTo>
                  <a:lnTo>
                    <a:pt x="1194" y="936"/>
                  </a:lnTo>
                  <a:lnTo>
                    <a:pt x="1194" y="936"/>
                  </a:lnTo>
                  <a:lnTo>
                    <a:pt x="1190" y="934"/>
                  </a:lnTo>
                  <a:lnTo>
                    <a:pt x="1190" y="934"/>
                  </a:lnTo>
                  <a:lnTo>
                    <a:pt x="1188" y="936"/>
                  </a:lnTo>
                  <a:lnTo>
                    <a:pt x="1182" y="946"/>
                  </a:lnTo>
                  <a:lnTo>
                    <a:pt x="1174" y="956"/>
                  </a:lnTo>
                  <a:lnTo>
                    <a:pt x="1174" y="956"/>
                  </a:lnTo>
                  <a:lnTo>
                    <a:pt x="1172" y="958"/>
                  </a:lnTo>
                  <a:lnTo>
                    <a:pt x="1174" y="966"/>
                  </a:lnTo>
                  <a:lnTo>
                    <a:pt x="1174" y="966"/>
                  </a:lnTo>
                  <a:lnTo>
                    <a:pt x="1174" y="964"/>
                  </a:lnTo>
                  <a:lnTo>
                    <a:pt x="1174" y="964"/>
                  </a:lnTo>
                  <a:lnTo>
                    <a:pt x="1172" y="962"/>
                  </a:lnTo>
                  <a:lnTo>
                    <a:pt x="1172" y="962"/>
                  </a:lnTo>
                  <a:lnTo>
                    <a:pt x="1168" y="962"/>
                  </a:lnTo>
                  <a:lnTo>
                    <a:pt x="1164" y="964"/>
                  </a:lnTo>
                  <a:lnTo>
                    <a:pt x="1166" y="960"/>
                  </a:lnTo>
                  <a:lnTo>
                    <a:pt x="1172" y="954"/>
                  </a:lnTo>
                  <a:lnTo>
                    <a:pt x="1172" y="954"/>
                  </a:lnTo>
                  <a:lnTo>
                    <a:pt x="1172" y="950"/>
                  </a:lnTo>
                  <a:lnTo>
                    <a:pt x="1172" y="950"/>
                  </a:lnTo>
                  <a:lnTo>
                    <a:pt x="1168" y="948"/>
                  </a:lnTo>
                  <a:lnTo>
                    <a:pt x="1162" y="948"/>
                  </a:lnTo>
                  <a:lnTo>
                    <a:pt x="1150" y="946"/>
                  </a:lnTo>
                  <a:lnTo>
                    <a:pt x="1140" y="942"/>
                  </a:lnTo>
                  <a:lnTo>
                    <a:pt x="1138" y="938"/>
                  </a:lnTo>
                  <a:lnTo>
                    <a:pt x="1138" y="938"/>
                  </a:lnTo>
                  <a:lnTo>
                    <a:pt x="1136" y="936"/>
                  </a:lnTo>
                  <a:lnTo>
                    <a:pt x="1136" y="936"/>
                  </a:lnTo>
                  <a:lnTo>
                    <a:pt x="1134" y="936"/>
                  </a:lnTo>
                  <a:lnTo>
                    <a:pt x="1128" y="944"/>
                  </a:lnTo>
                  <a:lnTo>
                    <a:pt x="1128" y="944"/>
                  </a:lnTo>
                  <a:lnTo>
                    <a:pt x="1128" y="946"/>
                  </a:lnTo>
                  <a:lnTo>
                    <a:pt x="1130" y="948"/>
                  </a:lnTo>
                  <a:lnTo>
                    <a:pt x="1136" y="954"/>
                  </a:lnTo>
                  <a:lnTo>
                    <a:pt x="1136" y="954"/>
                  </a:lnTo>
                  <a:lnTo>
                    <a:pt x="1136" y="956"/>
                  </a:lnTo>
                  <a:lnTo>
                    <a:pt x="1134" y="956"/>
                  </a:lnTo>
                  <a:lnTo>
                    <a:pt x="1134" y="956"/>
                  </a:lnTo>
                  <a:lnTo>
                    <a:pt x="1134" y="956"/>
                  </a:lnTo>
                  <a:lnTo>
                    <a:pt x="1132" y="954"/>
                  </a:lnTo>
                  <a:lnTo>
                    <a:pt x="1130" y="952"/>
                  </a:lnTo>
                  <a:lnTo>
                    <a:pt x="1128" y="950"/>
                  </a:lnTo>
                  <a:lnTo>
                    <a:pt x="1126" y="948"/>
                  </a:lnTo>
                  <a:lnTo>
                    <a:pt x="1124" y="946"/>
                  </a:lnTo>
                  <a:lnTo>
                    <a:pt x="1124" y="946"/>
                  </a:lnTo>
                  <a:lnTo>
                    <a:pt x="1124" y="946"/>
                  </a:lnTo>
                  <a:lnTo>
                    <a:pt x="1124" y="944"/>
                  </a:lnTo>
                  <a:lnTo>
                    <a:pt x="1126" y="944"/>
                  </a:lnTo>
                  <a:lnTo>
                    <a:pt x="1126" y="942"/>
                  </a:lnTo>
                  <a:lnTo>
                    <a:pt x="1128" y="942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28" y="940"/>
                  </a:lnTo>
                  <a:lnTo>
                    <a:pt x="1130" y="938"/>
                  </a:lnTo>
                  <a:lnTo>
                    <a:pt x="1130" y="936"/>
                  </a:lnTo>
                  <a:lnTo>
                    <a:pt x="1130" y="936"/>
                  </a:lnTo>
                  <a:lnTo>
                    <a:pt x="1128" y="934"/>
                  </a:lnTo>
                  <a:lnTo>
                    <a:pt x="1128" y="934"/>
                  </a:lnTo>
                  <a:lnTo>
                    <a:pt x="1128" y="934"/>
                  </a:lnTo>
                  <a:lnTo>
                    <a:pt x="1126" y="934"/>
                  </a:lnTo>
                  <a:lnTo>
                    <a:pt x="1124" y="934"/>
                  </a:lnTo>
                  <a:lnTo>
                    <a:pt x="1122" y="934"/>
                  </a:lnTo>
                  <a:lnTo>
                    <a:pt x="1120" y="934"/>
                  </a:lnTo>
                  <a:lnTo>
                    <a:pt x="1120" y="934"/>
                  </a:lnTo>
                  <a:lnTo>
                    <a:pt x="1120" y="934"/>
                  </a:lnTo>
                  <a:lnTo>
                    <a:pt x="1122" y="930"/>
                  </a:lnTo>
                  <a:lnTo>
                    <a:pt x="1122" y="928"/>
                  </a:lnTo>
                  <a:lnTo>
                    <a:pt x="1124" y="926"/>
                  </a:lnTo>
                  <a:lnTo>
                    <a:pt x="1126" y="924"/>
                  </a:lnTo>
                  <a:lnTo>
                    <a:pt x="1126" y="922"/>
                  </a:lnTo>
                  <a:lnTo>
                    <a:pt x="1126" y="922"/>
                  </a:lnTo>
                  <a:lnTo>
                    <a:pt x="1128" y="920"/>
                  </a:lnTo>
                  <a:lnTo>
                    <a:pt x="1128" y="920"/>
                  </a:lnTo>
                  <a:lnTo>
                    <a:pt x="1128" y="920"/>
                  </a:lnTo>
                  <a:lnTo>
                    <a:pt x="1126" y="918"/>
                  </a:lnTo>
                  <a:lnTo>
                    <a:pt x="1126" y="916"/>
                  </a:lnTo>
                  <a:lnTo>
                    <a:pt x="1126" y="916"/>
                  </a:lnTo>
                  <a:lnTo>
                    <a:pt x="1124" y="916"/>
                  </a:lnTo>
                  <a:lnTo>
                    <a:pt x="1124" y="916"/>
                  </a:lnTo>
                  <a:lnTo>
                    <a:pt x="1124" y="916"/>
                  </a:lnTo>
                  <a:lnTo>
                    <a:pt x="1122" y="916"/>
                  </a:lnTo>
                  <a:lnTo>
                    <a:pt x="1120" y="916"/>
                  </a:lnTo>
                  <a:lnTo>
                    <a:pt x="1118" y="916"/>
                  </a:lnTo>
                  <a:lnTo>
                    <a:pt x="1114" y="916"/>
                  </a:lnTo>
                  <a:lnTo>
                    <a:pt x="1114" y="916"/>
                  </a:lnTo>
                  <a:lnTo>
                    <a:pt x="1112" y="916"/>
                  </a:lnTo>
                  <a:lnTo>
                    <a:pt x="1112" y="916"/>
                  </a:lnTo>
                  <a:lnTo>
                    <a:pt x="1110" y="914"/>
                  </a:lnTo>
                  <a:lnTo>
                    <a:pt x="1104" y="912"/>
                  </a:lnTo>
                  <a:lnTo>
                    <a:pt x="1102" y="910"/>
                  </a:lnTo>
                  <a:lnTo>
                    <a:pt x="1102" y="910"/>
                  </a:lnTo>
                  <a:lnTo>
                    <a:pt x="1100" y="908"/>
                  </a:lnTo>
                  <a:lnTo>
                    <a:pt x="1100" y="908"/>
                  </a:lnTo>
                  <a:lnTo>
                    <a:pt x="1102" y="906"/>
                  </a:lnTo>
                  <a:lnTo>
                    <a:pt x="1106" y="904"/>
                  </a:lnTo>
                  <a:lnTo>
                    <a:pt x="1108" y="902"/>
                  </a:lnTo>
                  <a:lnTo>
                    <a:pt x="1112" y="900"/>
                  </a:lnTo>
                  <a:lnTo>
                    <a:pt x="1114" y="898"/>
                  </a:lnTo>
                  <a:lnTo>
                    <a:pt x="1114" y="898"/>
                  </a:lnTo>
                  <a:lnTo>
                    <a:pt x="1114" y="898"/>
                  </a:lnTo>
                  <a:lnTo>
                    <a:pt x="1116" y="896"/>
                  </a:lnTo>
                  <a:lnTo>
                    <a:pt x="1116" y="896"/>
                  </a:lnTo>
                  <a:lnTo>
                    <a:pt x="1116" y="894"/>
                  </a:lnTo>
                  <a:lnTo>
                    <a:pt x="1118" y="894"/>
                  </a:lnTo>
                  <a:lnTo>
                    <a:pt x="1118" y="894"/>
                  </a:lnTo>
                  <a:lnTo>
                    <a:pt x="1118" y="894"/>
                  </a:lnTo>
                  <a:lnTo>
                    <a:pt x="1118" y="892"/>
                  </a:lnTo>
                  <a:lnTo>
                    <a:pt x="1118" y="892"/>
                  </a:lnTo>
                  <a:lnTo>
                    <a:pt x="1118" y="890"/>
                  </a:lnTo>
                  <a:lnTo>
                    <a:pt x="1116" y="890"/>
                  </a:lnTo>
                  <a:lnTo>
                    <a:pt x="1116" y="890"/>
                  </a:lnTo>
                  <a:lnTo>
                    <a:pt x="1116" y="888"/>
                  </a:lnTo>
                  <a:lnTo>
                    <a:pt x="1114" y="886"/>
                  </a:lnTo>
                  <a:lnTo>
                    <a:pt x="1114" y="886"/>
                  </a:lnTo>
                  <a:lnTo>
                    <a:pt x="1114" y="886"/>
                  </a:lnTo>
                  <a:lnTo>
                    <a:pt x="1110" y="884"/>
                  </a:lnTo>
                  <a:lnTo>
                    <a:pt x="1108" y="882"/>
                  </a:lnTo>
                  <a:lnTo>
                    <a:pt x="1104" y="882"/>
                  </a:lnTo>
                  <a:lnTo>
                    <a:pt x="1100" y="880"/>
                  </a:lnTo>
                  <a:lnTo>
                    <a:pt x="1100" y="880"/>
                  </a:lnTo>
                  <a:lnTo>
                    <a:pt x="1098" y="880"/>
                  </a:lnTo>
                  <a:lnTo>
                    <a:pt x="1094" y="880"/>
                  </a:lnTo>
                  <a:lnTo>
                    <a:pt x="1094" y="880"/>
                  </a:lnTo>
                  <a:lnTo>
                    <a:pt x="1094" y="880"/>
                  </a:lnTo>
                  <a:lnTo>
                    <a:pt x="1090" y="880"/>
                  </a:lnTo>
                  <a:lnTo>
                    <a:pt x="1090" y="880"/>
                  </a:lnTo>
                  <a:lnTo>
                    <a:pt x="1090" y="880"/>
                  </a:lnTo>
                  <a:lnTo>
                    <a:pt x="1086" y="882"/>
                  </a:lnTo>
                  <a:lnTo>
                    <a:pt x="1082" y="884"/>
                  </a:lnTo>
                  <a:lnTo>
                    <a:pt x="1076" y="886"/>
                  </a:lnTo>
                  <a:lnTo>
                    <a:pt x="1070" y="890"/>
                  </a:lnTo>
                  <a:lnTo>
                    <a:pt x="1066" y="894"/>
                  </a:lnTo>
                  <a:lnTo>
                    <a:pt x="1060" y="898"/>
                  </a:lnTo>
                  <a:lnTo>
                    <a:pt x="1056" y="902"/>
                  </a:lnTo>
                  <a:lnTo>
                    <a:pt x="1052" y="906"/>
                  </a:lnTo>
                  <a:lnTo>
                    <a:pt x="1046" y="912"/>
                  </a:lnTo>
                  <a:lnTo>
                    <a:pt x="1042" y="918"/>
                  </a:lnTo>
                  <a:lnTo>
                    <a:pt x="1040" y="924"/>
                  </a:lnTo>
                  <a:lnTo>
                    <a:pt x="1036" y="930"/>
                  </a:lnTo>
                  <a:lnTo>
                    <a:pt x="1032" y="936"/>
                  </a:lnTo>
                  <a:lnTo>
                    <a:pt x="1028" y="942"/>
                  </a:lnTo>
                  <a:lnTo>
                    <a:pt x="1026" y="948"/>
                  </a:lnTo>
                  <a:lnTo>
                    <a:pt x="1024" y="950"/>
                  </a:lnTo>
                  <a:lnTo>
                    <a:pt x="1022" y="954"/>
                  </a:lnTo>
                  <a:lnTo>
                    <a:pt x="1020" y="956"/>
                  </a:lnTo>
                  <a:lnTo>
                    <a:pt x="1018" y="956"/>
                  </a:lnTo>
                  <a:lnTo>
                    <a:pt x="1016" y="958"/>
                  </a:lnTo>
                  <a:lnTo>
                    <a:pt x="1016" y="958"/>
                  </a:lnTo>
                  <a:lnTo>
                    <a:pt x="1014" y="958"/>
                  </a:lnTo>
                  <a:lnTo>
                    <a:pt x="1012" y="960"/>
                  </a:lnTo>
                  <a:lnTo>
                    <a:pt x="1010" y="960"/>
                  </a:lnTo>
                  <a:lnTo>
                    <a:pt x="1008" y="962"/>
                  </a:lnTo>
                  <a:lnTo>
                    <a:pt x="1006" y="962"/>
                  </a:lnTo>
                  <a:lnTo>
                    <a:pt x="1000" y="966"/>
                  </a:lnTo>
                  <a:lnTo>
                    <a:pt x="994" y="968"/>
                  </a:lnTo>
                  <a:lnTo>
                    <a:pt x="994" y="968"/>
                  </a:lnTo>
                  <a:lnTo>
                    <a:pt x="996" y="966"/>
                  </a:lnTo>
                  <a:lnTo>
                    <a:pt x="1002" y="962"/>
                  </a:lnTo>
                  <a:lnTo>
                    <a:pt x="1010" y="958"/>
                  </a:lnTo>
                  <a:lnTo>
                    <a:pt x="1016" y="952"/>
                  </a:lnTo>
                  <a:lnTo>
                    <a:pt x="1020" y="950"/>
                  </a:lnTo>
                  <a:lnTo>
                    <a:pt x="1022" y="948"/>
                  </a:lnTo>
                  <a:lnTo>
                    <a:pt x="1026" y="942"/>
                  </a:lnTo>
                  <a:lnTo>
                    <a:pt x="1030" y="938"/>
                  </a:lnTo>
                  <a:lnTo>
                    <a:pt x="1032" y="932"/>
                  </a:lnTo>
                  <a:lnTo>
                    <a:pt x="1034" y="926"/>
                  </a:lnTo>
                  <a:lnTo>
                    <a:pt x="1038" y="920"/>
                  </a:lnTo>
                  <a:lnTo>
                    <a:pt x="1040" y="916"/>
                  </a:lnTo>
                  <a:lnTo>
                    <a:pt x="1042" y="910"/>
                  </a:lnTo>
                  <a:lnTo>
                    <a:pt x="1046" y="906"/>
                  </a:lnTo>
                  <a:lnTo>
                    <a:pt x="1056" y="898"/>
                  </a:lnTo>
                  <a:lnTo>
                    <a:pt x="1060" y="894"/>
                  </a:lnTo>
                  <a:lnTo>
                    <a:pt x="1066" y="890"/>
                  </a:lnTo>
                  <a:lnTo>
                    <a:pt x="1072" y="886"/>
                  </a:lnTo>
                  <a:lnTo>
                    <a:pt x="1078" y="882"/>
                  </a:lnTo>
                  <a:lnTo>
                    <a:pt x="1086" y="878"/>
                  </a:lnTo>
                  <a:lnTo>
                    <a:pt x="1094" y="876"/>
                  </a:lnTo>
                  <a:lnTo>
                    <a:pt x="1100" y="876"/>
                  </a:lnTo>
                  <a:lnTo>
                    <a:pt x="1106" y="874"/>
                  </a:lnTo>
                  <a:lnTo>
                    <a:pt x="1112" y="874"/>
                  </a:lnTo>
                  <a:lnTo>
                    <a:pt x="1118" y="872"/>
                  </a:lnTo>
                  <a:lnTo>
                    <a:pt x="1134" y="872"/>
                  </a:lnTo>
                  <a:lnTo>
                    <a:pt x="1148" y="870"/>
                  </a:lnTo>
                  <a:lnTo>
                    <a:pt x="1164" y="870"/>
                  </a:lnTo>
                  <a:lnTo>
                    <a:pt x="1170" y="870"/>
                  </a:lnTo>
                  <a:lnTo>
                    <a:pt x="1178" y="870"/>
                  </a:lnTo>
                  <a:lnTo>
                    <a:pt x="1184" y="870"/>
                  </a:lnTo>
                  <a:lnTo>
                    <a:pt x="1188" y="868"/>
                  </a:lnTo>
                  <a:lnTo>
                    <a:pt x="1194" y="868"/>
                  </a:lnTo>
                  <a:lnTo>
                    <a:pt x="1198" y="868"/>
                  </a:lnTo>
                  <a:lnTo>
                    <a:pt x="1202" y="866"/>
                  </a:lnTo>
                  <a:lnTo>
                    <a:pt x="1204" y="866"/>
                  </a:lnTo>
                  <a:lnTo>
                    <a:pt x="1206" y="866"/>
                  </a:lnTo>
                  <a:lnTo>
                    <a:pt x="1208" y="866"/>
                  </a:lnTo>
                  <a:lnTo>
                    <a:pt x="1208" y="866"/>
                  </a:lnTo>
                  <a:lnTo>
                    <a:pt x="1208" y="864"/>
                  </a:lnTo>
                  <a:lnTo>
                    <a:pt x="1208" y="864"/>
                  </a:lnTo>
                  <a:lnTo>
                    <a:pt x="1208" y="864"/>
                  </a:lnTo>
                  <a:lnTo>
                    <a:pt x="1210" y="864"/>
                  </a:lnTo>
                  <a:lnTo>
                    <a:pt x="1210" y="862"/>
                  </a:lnTo>
                  <a:lnTo>
                    <a:pt x="1210" y="862"/>
                  </a:lnTo>
                  <a:lnTo>
                    <a:pt x="1210" y="862"/>
                  </a:lnTo>
                  <a:lnTo>
                    <a:pt x="1210" y="860"/>
                  </a:lnTo>
                  <a:lnTo>
                    <a:pt x="1210" y="860"/>
                  </a:lnTo>
                  <a:lnTo>
                    <a:pt x="1210" y="858"/>
                  </a:lnTo>
                  <a:lnTo>
                    <a:pt x="1208" y="858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08" y="856"/>
                  </a:lnTo>
                  <a:lnTo>
                    <a:pt x="1210" y="852"/>
                  </a:lnTo>
                  <a:lnTo>
                    <a:pt x="1214" y="850"/>
                  </a:lnTo>
                  <a:lnTo>
                    <a:pt x="1220" y="842"/>
                  </a:lnTo>
                  <a:lnTo>
                    <a:pt x="1222" y="840"/>
                  </a:lnTo>
                  <a:lnTo>
                    <a:pt x="1224" y="838"/>
                  </a:lnTo>
                  <a:lnTo>
                    <a:pt x="1224" y="838"/>
                  </a:lnTo>
                  <a:lnTo>
                    <a:pt x="1224" y="840"/>
                  </a:lnTo>
                  <a:lnTo>
                    <a:pt x="1228" y="842"/>
                  </a:lnTo>
                  <a:lnTo>
                    <a:pt x="1230" y="844"/>
                  </a:lnTo>
                  <a:lnTo>
                    <a:pt x="1230" y="844"/>
                  </a:lnTo>
                  <a:lnTo>
                    <a:pt x="1230" y="844"/>
                  </a:lnTo>
                  <a:lnTo>
                    <a:pt x="1232" y="844"/>
                  </a:lnTo>
                  <a:lnTo>
                    <a:pt x="1232" y="844"/>
                  </a:lnTo>
                  <a:lnTo>
                    <a:pt x="1232" y="844"/>
                  </a:lnTo>
                  <a:lnTo>
                    <a:pt x="1234" y="844"/>
                  </a:lnTo>
                  <a:lnTo>
                    <a:pt x="1234" y="846"/>
                  </a:lnTo>
                  <a:lnTo>
                    <a:pt x="1234" y="848"/>
                  </a:lnTo>
                  <a:lnTo>
                    <a:pt x="1232" y="850"/>
                  </a:lnTo>
                  <a:lnTo>
                    <a:pt x="1228" y="852"/>
                  </a:lnTo>
                  <a:lnTo>
                    <a:pt x="1228" y="852"/>
                  </a:lnTo>
                  <a:lnTo>
                    <a:pt x="1228" y="852"/>
                  </a:lnTo>
                  <a:lnTo>
                    <a:pt x="1226" y="854"/>
                  </a:lnTo>
                  <a:lnTo>
                    <a:pt x="1224" y="856"/>
                  </a:lnTo>
                  <a:lnTo>
                    <a:pt x="1222" y="858"/>
                  </a:lnTo>
                  <a:lnTo>
                    <a:pt x="1222" y="858"/>
                  </a:lnTo>
                  <a:lnTo>
                    <a:pt x="1222" y="858"/>
                  </a:lnTo>
                  <a:lnTo>
                    <a:pt x="1220" y="860"/>
                  </a:lnTo>
                  <a:lnTo>
                    <a:pt x="1220" y="860"/>
                  </a:lnTo>
                  <a:lnTo>
                    <a:pt x="1220" y="862"/>
                  </a:lnTo>
                  <a:lnTo>
                    <a:pt x="1220" y="864"/>
                  </a:lnTo>
                  <a:lnTo>
                    <a:pt x="1220" y="866"/>
                  </a:lnTo>
                  <a:lnTo>
                    <a:pt x="1218" y="874"/>
                  </a:lnTo>
                  <a:lnTo>
                    <a:pt x="1218" y="880"/>
                  </a:lnTo>
                  <a:lnTo>
                    <a:pt x="1216" y="888"/>
                  </a:lnTo>
                  <a:lnTo>
                    <a:pt x="1214" y="894"/>
                  </a:lnTo>
                  <a:lnTo>
                    <a:pt x="1212" y="896"/>
                  </a:lnTo>
                  <a:lnTo>
                    <a:pt x="1212" y="898"/>
                  </a:lnTo>
                  <a:lnTo>
                    <a:pt x="1210" y="900"/>
                  </a:lnTo>
                  <a:lnTo>
                    <a:pt x="1208" y="902"/>
                  </a:lnTo>
                  <a:lnTo>
                    <a:pt x="1206" y="902"/>
                  </a:lnTo>
                  <a:lnTo>
                    <a:pt x="1202" y="904"/>
                  </a:lnTo>
                  <a:lnTo>
                    <a:pt x="1202" y="904"/>
                  </a:lnTo>
                  <a:lnTo>
                    <a:pt x="1202" y="904"/>
                  </a:lnTo>
                  <a:lnTo>
                    <a:pt x="1200" y="904"/>
                  </a:lnTo>
                  <a:lnTo>
                    <a:pt x="1200" y="904"/>
                  </a:lnTo>
                  <a:lnTo>
                    <a:pt x="1200" y="906"/>
                  </a:lnTo>
                  <a:lnTo>
                    <a:pt x="1200" y="906"/>
                  </a:lnTo>
                  <a:lnTo>
                    <a:pt x="1200" y="906"/>
                  </a:lnTo>
                  <a:lnTo>
                    <a:pt x="1198" y="906"/>
                  </a:lnTo>
                  <a:lnTo>
                    <a:pt x="1198" y="908"/>
                  </a:lnTo>
                  <a:lnTo>
                    <a:pt x="1198" y="908"/>
                  </a:lnTo>
                  <a:lnTo>
                    <a:pt x="1198" y="910"/>
                  </a:lnTo>
                  <a:lnTo>
                    <a:pt x="1198" y="912"/>
                  </a:lnTo>
                  <a:lnTo>
                    <a:pt x="1198" y="912"/>
                  </a:lnTo>
                  <a:lnTo>
                    <a:pt x="1198" y="912"/>
                  </a:lnTo>
                  <a:lnTo>
                    <a:pt x="1198" y="914"/>
                  </a:lnTo>
                  <a:lnTo>
                    <a:pt x="1200" y="914"/>
                  </a:lnTo>
                  <a:lnTo>
                    <a:pt x="1200" y="914"/>
                  </a:lnTo>
                  <a:lnTo>
                    <a:pt x="1198" y="914"/>
                  </a:lnTo>
                  <a:lnTo>
                    <a:pt x="1198" y="916"/>
                  </a:lnTo>
                  <a:lnTo>
                    <a:pt x="1198" y="916"/>
                  </a:lnTo>
                  <a:lnTo>
                    <a:pt x="1196" y="918"/>
                  </a:lnTo>
                  <a:lnTo>
                    <a:pt x="1196" y="918"/>
                  </a:lnTo>
                  <a:lnTo>
                    <a:pt x="1194" y="920"/>
                  </a:lnTo>
                  <a:lnTo>
                    <a:pt x="1194" y="922"/>
                  </a:lnTo>
                  <a:lnTo>
                    <a:pt x="1196" y="924"/>
                  </a:lnTo>
                  <a:lnTo>
                    <a:pt x="1196" y="924"/>
                  </a:lnTo>
                  <a:lnTo>
                    <a:pt x="1196" y="924"/>
                  </a:lnTo>
                  <a:lnTo>
                    <a:pt x="1198" y="926"/>
                  </a:lnTo>
                  <a:lnTo>
                    <a:pt x="1198" y="926"/>
                  </a:lnTo>
                  <a:lnTo>
                    <a:pt x="1198" y="926"/>
                  </a:lnTo>
                  <a:lnTo>
                    <a:pt x="1200" y="928"/>
                  </a:lnTo>
                  <a:lnTo>
                    <a:pt x="1200" y="928"/>
                  </a:lnTo>
                  <a:lnTo>
                    <a:pt x="1202" y="928"/>
                  </a:lnTo>
                  <a:lnTo>
                    <a:pt x="1204" y="928"/>
                  </a:lnTo>
                  <a:lnTo>
                    <a:pt x="1204" y="928"/>
                  </a:lnTo>
                  <a:lnTo>
                    <a:pt x="1204" y="928"/>
                  </a:lnTo>
                  <a:lnTo>
                    <a:pt x="1210" y="928"/>
                  </a:lnTo>
                  <a:lnTo>
                    <a:pt x="1210" y="928"/>
                  </a:lnTo>
                  <a:lnTo>
                    <a:pt x="1210" y="928"/>
                  </a:lnTo>
                  <a:lnTo>
                    <a:pt x="1214" y="928"/>
                  </a:lnTo>
                  <a:lnTo>
                    <a:pt x="1220" y="928"/>
                  </a:lnTo>
                  <a:lnTo>
                    <a:pt x="1224" y="928"/>
                  </a:lnTo>
                  <a:lnTo>
                    <a:pt x="1224" y="928"/>
                  </a:lnTo>
                  <a:lnTo>
                    <a:pt x="1226" y="928"/>
                  </a:lnTo>
                  <a:lnTo>
                    <a:pt x="1228" y="930"/>
                  </a:lnTo>
                  <a:lnTo>
                    <a:pt x="1230" y="930"/>
                  </a:lnTo>
                  <a:lnTo>
                    <a:pt x="1230" y="932"/>
                  </a:lnTo>
                  <a:lnTo>
                    <a:pt x="1232" y="936"/>
                  </a:lnTo>
                  <a:lnTo>
                    <a:pt x="1232" y="936"/>
                  </a:lnTo>
                  <a:lnTo>
                    <a:pt x="1232" y="936"/>
                  </a:lnTo>
                  <a:lnTo>
                    <a:pt x="1234" y="940"/>
                  </a:lnTo>
                  <a:lnTo>
                    <a:pt x="1234" y="940"/>
                  </a:lnTo>
                  <a:lnTo>
                    <a:pt x="1236" y="942"/>
                  </a:lnTo>
                  <a:lnTo>
                    <a:pt x="1238" y="946"/>
                  </a:lnTo>
                  <a:lnTo>
                    <a:pt x="1240" y="948"/>
                  </a:lnTo>
                  <a:lnTo>
                    <a:pt x="1244" y="950"/>
                  </a:lnTo>
                  <a:lnTo>
                    <a:pt x="1244" y="950"/>
                  </a:lnTo>
                  <a:lnTo>
                    <a:pt x="1246" y="950"/>
                  </a:lnTo>
                  <a:lnTo>
                    <a:pt x="1250" y="948"/>
                  </a:lnTo>
                  <a:lnTo>
                    <a:pt x="1252" y="946"/>
                  </a:lnTo>
                  <a:lnTo>
                    <a:pt x="1254" y="944"/>
                  </a:lnTo>
                  <a:lnTo>
                    <a:pt x="1256" y="944"/>
                  </a:lnTo>
                  <a:lnTo>
                    <a:pt x="1258" y="942"/>
                  </a:lnTo>
                  <a:lnTo>
                    <a:pt x="1260" y="942"/>
                  </a:lnTo>
                  <a:lnTo>
                    <a:pt x="1262" y="940"/>
                  </a:lnTo>
                  <a:lnTo>
                    <a:pt x="1266" y="940"/>
                  </a:lnTo>
                  <a:lnTo>
                    <a:pt x="1266" y="940"/>
                  </a:lnTo>
                  <a:lnTo>
                    <a:pt x="1266" y="940"/>
                  </a:lnTo>
                  <a:lnTo>
                    <a:pt x="1268" y="938"/>
                  </a:lnTo>
                  <a:lnTo>
                    <a:pt x="1268" y="938"/>
                  </a:lnTo>
                  <a:lnTo>
                    <a:pt x="1270" y="938"/>
                  </a:lnTo>
                  <a:lnTo>
                    <a:pt x="1270" y="940"/>
                  </a:lnTo>
                  <a:lnTo>
                    <a:pt x="1270" y="942"/>
                  </a:lnTo>
                  <a:lnTo>
                    <a:pt x="1272" y="948"/>
                  </a:lnTo>
                  <a:lnTo>
                    <a:pt x="1272" y="948"/>
                  </a:lnTo>
                  <a:lnTo>
                    <a:pt x="1272" y="950"/>
                  </a:lnTo>
                  <a:lnTo>
                    <a:pt x="1274" y="950"/>
                  </a:lnTo>
                  <a:lnTo>
                    <a:pt x="1282" y="950"/>
                  </a:lnTo>
                  <a:lnTo>
                    <a:pt x="1288" y="950"/>
                  </a:lnTo>
                  <a:lnTo>
                    <a:pt x="1288" y="950"/>
                  </a:lnTo>
                  <a:lnTo>
                    <a:pt x="1288" y="950"/>
                  </a:lnTo>
                  <a:lnTo>
                    <a:pt x="1292" y="950"/>
                  </a:lnTo>
                  <a:lnTo>
                    <a:pt x="1292" y="950"/>
                  </a:lnTo>
                  <a:lnTo>
                    <a:pt x="1294" y="948"/>
                  </a:lnTo>
                  <a:lnTo>
                    <a:pt x="1296" y="948"/>
                  </a:lnTo>
                  <a:lnTo>
                    <a:pt x="1296" y="948"/>
                  </a:lnTo>
                  <a:lnTo>
                    <a:pt x="1296" y="946"/>
                  </a:lnTo>
                  <a:lnTo>
                    <a:pt x="1298" y="946"/>
                  </a:lnTo>
                  <a:lnTo>
                    <a:pt x="1298" y="946"/>
                  </a:lnTo>
                  <a:lnTo>
                    <a:pt x="1298" y="944"/>
                  </a:lnTo>
                  <a:lnTo>
                    <a:pt x="1298" y="942"/>
                  </a:lnTo>
                  <a:lnTo>
                    <a:pt x="1298" y="940"/>
                  </a:lnTo>
                  <a:lnTo>
                    <a:pt x="1300" y="938"/>
                  </a:lnTo>
                  <a:lnTo>
                    <a:pt x="1300" y="938"/>
                  </a:lnTo>
                  <a:lnTo>
                    <a:pt x="1300" y="936"/>
                  </a:lnTo>
                  <a:lnTo>
                    <a:pt x="1302" y="936"/>
                  </a:lnTo>
                  <a:lnTo>
                    <a:pt x="1302" y="936"/>
                  </a:lnTo>
                  <a:lnTo>
                    <a:pt x="1304" y="934"/>
                  </a:lnTo>
                  <a:lnTo>
                    <a:pt x="1304" y="932"/>
                  </a:lnTo>
                  <a:lnTo>
                    <a:pt x="1304" y="932"/>
                  </a:lnTo>
                  <a:close/>
                  <a:moveTo>
                    <a:pt x="748" y="432"/>
                  </a:moveTo>
                  <a:lnTo>
                    <a:pt x="752" y="432"/>
                  </a:lnTo>
                  <a:lnTo>
                    <a:pt x="758" y="432"/>
                  </a:lnTo>
                  <a:lnTo>
                    <a:pt x="762" y="434"/>
                  </a:lnTo>
                  <a:lnTo>
                    <a:pt x="768" y="434"/>
                  </a:lnTo>
                  <a:lnTo>
                    <a:pt x="768" y="434"/>
                  </a:lnTo>
                  <a:lnTo>
                    <a:pt x="770" y="436"/>
                  </a:lnTo>
                  <a:lnTo>
                    <a:pt x="772" y="436"/>
                  </a:lnTo>
                  <a:lnTo>
                    <a:pt x="774" y="438"/>
                  </a:lnTo>
                  <a:lnTo>
                    <a:pt x="776" y="442"/>
                  </a:lnTo>
                  <a:lnTo>
                    <a:pt x="778" y="444"/>
                  </a:lnTo>
                  <a:lnTo>
                    <a:pt x="780" y="448"/>
                  </a:lnTo>
                  <a:lnTo>
                    <a:pt x="780" y="448"/>
                  </a:lnTo>
                  <a:lnTo>
                    <a:pt x="776" y="446"/>
                  </a:lnTo>
                  <a:lnTo>
                    <a:pt x="772" y="446"/>
                  </a:lnTo>
                  <a:lnTo>
                    <a:pt x="768" y="444"/>
                  </a:lnTo>
                  <a:lnTo>
                    <a:pt x="766" y="442"/>
                  </a:lnTo>
                  <a:lnTo>
                    <a:pt x="760" y="440"/>
                  </a:lnTo>
                  <a:lnTo>
                    <a:pt x="756" y="438"/>
                  </a:lnTo>
                  <a:lnTo>
                    <a:pt x="750" y="434"/>
                  </a:lnTo>
                  <a:lnTo>
                    <a:pt x="746" y="432"/>
                  </a:lnTo>
                  <a:lnTo>
                    <a:pt x="746" y="432"/>
                  </a:lnTo>
                  <a:lnTo>
                    <a:pt x="748" y="432"/>
                  </a:lnTo>
                  <a:close/>
                  <a:moveTo>
                    <a:pt x="710" y="500"/>
                  </a:moveTo>
                  <a:lnTo>
                    <a:pt x="714" y="500"/>
                  </a:lnTo>
                  <a:lnTo>
                    <a:pt x="716" y="500"/>
                  </a:lnTo>
                  <a:lnTo>
                    <a:pt x="720" y="500"/>
                  </a:lnTo>
                  <a:lnTo>
                    <a:pt x="716" y="500"/>
                  </a:lnTo>
                  <a:lnTo>
                    <a:pt x="710" y="500"/>
                  </a:lnTo>
                  <a:lnTo>
                    <a:pt x="708" y="500"/>
                  </a:lnTo>
                  <a:lnTo>
                    <a:pt x="710" y="500"/>
                  </a:lnTo>
                  <a:close/>
                  <a:moveTo>
                    <a:pt x="504" y="126"/>
                  </a:moveTo>
                  <a:lnTo>
                    <a:pt x="504" y="126"/>
                  </a:lnTo>
                  <a:lnTo>
                    <a:pt x="506" y="126"/>
                  </a:lnTo>
                  <a:lnTo>
                    <a:pt x="508" y="126"/>
                  </a:lnTo>
                  <a:lnTo>
                    <a:pt x="510" y="128"/>
                  </a:lnTo>
                  <a:lnTo>
                    <a:pt x="510" y="128"/>
                  </a:lnTo>
                  <a:lnTo>
                    <a:pt x="512" y="130"/>
                  </a:lnTo>
                  <a:lnTo>
                    <a:pt x="514" y="134"/>
                  </a:lnTo>
                  <a:lnTo>
                    <a:pt x="516" y="136"/>
                  </a:lnTo>
                  <a:lnTo>
                    <a:pt x="516" y="138"/>
                  </a:lnTo>
                  <a:lnTo>
                    <a:pt x="514" y="136"/>
                  </a:lnTo>
                  <a:lnTo>
                    <a:pt x="512" y="134"/>
                  </a:lnTo>
                  <a:lnTo>
                    <a:pt x="510" y="134"/>
                  </a:lnTo>
                  <a:lnTo>
                    <a:pt x="508" y="132"/>
                  </a:lnTo>
                  <a:lnTo>
                    <a:pt x="506" y="130"/>
                  </a:lnTo>
                  <a:lnTo>
                    <a:pt x="506" y="130"/>
                  </a:lnTo>
                  <a:lnTo>
                    <a:pt x="504" y="126"/>
                  </a:lnTo>
                  <a:lnTo>
                    <a:pt x="504" y="124"/>
                  </a:lnTo>
                  <a:lnTo>
                    <a:pt x="504" y="126"/>
                  </a:lnTo>
                  <a:close/>
                  <a:moveTo>
                    <a:pt x="1152" y="962"/>
                  </a:moveTo>
                  <a:lnTo>
                    <a:pt x="1154" y="964"/>
                  </a:lnTo>
                  <a:lnTo>
                    <a:pt x="1150" y="962"/>
                  </a:lnTo>
                  <a:lnTo>
                    <a:pt x="1146" y="960"/>
                  </a:lnTo>
                  <a:lnTo>
                    <a:pt x="1152" y="962"/>
                  </a:lnTo>
                  <a:close/>
                  <a:moveTo>
                    <a:pt x="1238" y="832"/>
                  </a:moveTo>
                  <a:lnTo>
                    <a:pt x="1238" y="834"/>
                  </a:lnTo>
                  <a:lnTo>
                    <a:pt x="1236" y="834"/>
                  </a:lnTo>
                  <a:lnTo>
                    <a:pt x="1236" y="834"/>
                  </a:lnTo>
                  <a:lnTo>
                    <a:pt x="1234" y="836"/>
                  </a:lnTo>
                  <a:lnTo>
                    <a:pt x="1232" y="836"/>
                  </a:lnTo>
                  <a:lnTo>
                    <a:pt x="1232" y="836"/>
                  </a:lnTo>
                  <a:lnTo>
                    <a:pt x="1232" y="836"/>
                  </a:lnTo>
                  <a:lnTo>
                    <a:pt x="1230" y="836"/>
                  </a:lnTo>
                  <a:lnTo>
                    <a:pt x="1226" y="836"/>
                  </a:lnTo>
                  <a:lnTo>
                    <a:pt x="1226" y="836"/>
                  </a:lnTo>
                  <a:lnTo>
                    <a:pt x="1226" y="836"/>
                  </a:lnTo>
                  <a:lnTo>
                    <a:pt x="1228" y="834"/>
                  </a:lnTo>
                  <a:lnTo>
                    <a:pt x="1230" y="830"/>
                  </a:lnTo>
                  <a:lnTo>
                    <a:pt x="1232" y="830"/>
                  </a:lnTo>
                  <a:lnTo>
                    <a:pt x="1232" y="830"/>
                  </a:lnTo>
                  <a:lnTo>
                    <a:pt x="1234" y="830"/>
                  </a:lnTo>
                  <a:lnTo>
                    <a:pt x="1236" y="830"/>
                  </a:lnTo>
                  <a:lnTo>
                    <a:pt x="1238" y="830"/>
                  </a:lnTo>
                  <a:lnTo>
                    <a:pt x="1238" y="830"/>
                  </a:lnTo>
                  <a:lnTo>
                    <a:pt x="1238" y="830"/>
                  </a:lnTo>
                  <a:lnTo>
                    <a:pt x="1240" y="830"/>
                  </a:lnTo>
                  <a:lnTo>
                    <a:pt x="1238" y="832"/>
                  </a:lnTo>
                  <a:close/>
                  <a:moveTo>
                    <a:pt x="156" y="818"/>
                  </a:moveTo>
                  <a:lnTo>
                    <a:pt x="152" y="816"/>
                  </a:lnTo>
                  <a:lnTo>
                    <a:pt x="150" y="814"/>
                  </a:lnTo>
                  <a:lnTo>
                    <a:pt x="148" y="814"/>
                  </a:lnTo>
                  <a:lnTo>
                    <a:pt x="148" y="814"/>
                  </a:lnTo>
                  <a:lnTo>
                    <a:pt x="148" y="812"/>
                  </a:lnTo>
                  <a:lnTo>
                    <a:pt x="148" y="810"/>
                  </a:lnTo>
                  <a:lnTo>
                    <a:pt x="148" y="806"/>
                  </a:lnTo>
                  <a:lnTo>
                    <a:pt x="148" y="804"/>
                  </a:lnTo>
                  <a:lnTo>
                    <a:pt x="148" y="800"/>
                  </a:lnTo>
                  <a:lnTo>
                    <a:pt x="148" y="800"/>
                  </a:lnTo>
                  <a:lnTo>
                    <a:pt x="148" y="800"/>
                  </a:lnTo>
                  <a:lnTo>
                    <a:pt x="146" y="796"/>
                  </a:lnTo>
                  <a:lnTo>
                    <a:pt x="146" y="794"/>
                  </a:lnTo>
                  <a:lnTo>
                    <a:pt x="144" y="792"/>
                  </a:lnTo>
                  <a:lnTo>
                    <a:pt x="144" y="788"/>
                  </a:lnTo>
                  <a:lnTo>
                    <a:pt x="146" y="782"/>
                  </a:lnTo>
                  <a:lnTo>
                    <a:pt x="148" y="776"/>
                  </a:lnTo>
                  <a:lnTo>
                    <a:pt x="148" y="776"/>
                  </a:lnTo>
                  <a:lnTo>
                    <a:pt x="146" y="772"/>
                  </a:lnTo>
                  <a:lnTo>
                    <a:pt x="146" y="772"/>
                  </a:lnTo>
                  <a:lnTo>
                    <a:pt x="146" y="772"/>
                  </a:lnTo>
                  <a:lnTo>
                    <a:pt x="144" y="770"/>
                  </a:lnTo>
                  <a:lnTo>
                    <a:pt x="142" y="770"/>
                  </a:lnTo>
                  <a:lnTo>
                    <a:pt x="142" y="770"/>
                  </a:lnTo>
                  <a:lnTo>
                    <a:pt x="140" y="770"/>
                  </a:lnTo>
                  <a:lnTo>
                    <a:pt x="138" y="770"/>
                  </a:lnTo>
                  <a:lnTo>
                    <a:pt x="134" y="770"/>
                  </a:lnTo>
                  <a:lnTo>
                    <a:pt x="126" y="772"/>
                  </a:lnTo>
                  <a:lnTo>
                    <a:pt x="124" y="774"/>
                  </a:lnTo>
                  <a:lnTo>
                    <a:pt x="120" y="774"/>
                  </a:lnTo>
                  <a:lnTo>
                    <a:pt x="120" y="774"/>
                  </a:lnTo>
                  <a:lnTo>
                    <a:pt x="118" y="774"/>
                  </a:lnTo>
                  <a:lnTo>
                    <a:pt x="116" y="776"/>
                  </a:lnTo>
                  <a:lnTo>
                    <a:pt x="116" y="776"/>
                  </a:lnTo>
                  <a:lnTo>
                    <a:pt x="116" y="778"/>
                  </a:lnTo>
                  <a:lnTo>
                    <a:pt x="114" y="780"/>
                  </a:lnTo>
                  <a:lnTo>
                    <a:pt x="114" y="780"/>
                  </a:lnTo>
                  <a:lnTo>
                    <a:pt x="114" y="782"/>
                  </a:lnTo>
                  <a:lnTo>
                    <a:pt x="114" y="784"/>
                  </a:lnTo>
                  <a:lnTo>
                    <a:pt x="114" y="784"/>
                  </a:lnTo>
                  <a:lnTo>
                    <a:pt x="114" y="784"/>
                  </a:lnTo>
                  <a:lnTo>
                    <a:pt x="114" y="788"/>
                  </a:lnTo>
                  <a:lnTo>
                    <a:pt x="116" y="790"/>
                  </a:lnTo>
                  <a:lnTo>
                    <a:pt x="116" y="794"/>
                  </a:lnTo>
                  <a:lnTo>
                    <a:pt x="118" y="796"/>
                  </a:lnTo>
                  <a:lnTo>
                    <a:pt x="118" y="800"/>
                  </a:lnTo>
                  <a:lnTo>
                    <a:pt x="118" y="800"/>
                  </a:lnTo>
                  <a:lnTo>
                    <a:pt x="118" y="802"/>
                  </a:lnTo>
                  <a:lnTo>
                    <a:pt x="120" y="804"/>
                  </a:lnTo>
                  <a:lnTo>
                    <a:pt x="120" y="804"/>
                  </a:lnTo>
                  <a:lnTo>
                    <a:pt x="122" y="808"/>
                  </a:lnTo>
                  <a:lnTo>
                    <a:pt x="124" y="812"/>
                  </a:lnTo>
                  <a:lnTo>
                    <a:pt x="124" y="816"/>
                  </a:lnTo>
                  <a:lnTo>
                    <a:pt x="124" y="816"/>
                  </a:lnTo>
                  <a:lnTo>
                    <a:pt x="126" y="818"/>
                  </a:lnTo>
                  <a:lnTo>
                    <a:pt x="128" y="818"/>
                  </a:lnTo>
                  <a:lnTo>
                    <a:pt x="130" y="818"/>
                  </a:lnTo>
                  <a:lnTo>
                    <a:pt x="130" y="820"/>
                  </a:lnTo>
                  <a:lnTo>
                    <a:pt x="132" y="820"/>
                  </a:lnTo>
                  <a:lnTo>
                    <a:pt x="132" y="822"/>
                  </a:lnTo>
                  <a:lnTo>
                    <a:pt x="132" y="824"/>
                  </a:lnTo>
                  <a:lnTo>
                    <a:pt x="132" y="826"/>
                  </a:lnTo>
                  <a:lnTo>
                    <a:pt x="132" y="826"/>
                  </a:lnTo>
                  <a:lnTo>
                    <a:pt x="132" y="826"/>
                  </a:lnTo>
                  <a:lnTo>
                    <a:pt x="134" y="830"/>
                  </a:lnTo>
                  <a:lnTo>
                    <a:pt x="134" y="830"/>
                  </a:lnTo>
                  <a:lnTo>
                    <a:pt x="134" y="830"/>
                  </a:lnTo>
                  <a:lnTo>
                    <a:pt x="136" y="832"/>
                  </a:lnTo>
                  <a:lnTo>
                    <a:pt x="136" y="832"/>
                  </a:lnTo>
                  <a:lnTo>
                    <a:pt x="136" y="832"/>
                  </a:lnTo>
                  <a:lnTo>
                    <a:pt x="138" y="834"/>
                  </a:lnTo>
                  <a:lnTo>
                    <a:pt x="138" y="834"/>
                  </a:lnTo>
                  <a:lnTo>
                    <a:pt x="138" y="834"/>
                  </a:lnTo>
                  <a:lnTo>
                    <a:pt x="140" y="834"/>
                  </a:lnTo>
                  <a:lnTo>
                    <a:pt x="140" y="834"/>
                  </a:lnTo>
                  <a:lnTo>
                    <a:pt x="140" y="834"/>
                  </a:lnTo>
                  <a:lnTo>
                    <a:pt x="146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48" y="836"/>
                  </a:lnTo>
                  <a:lnTo>
                    <a:pt x="150" y="836"/>
                  </a:lnTo>
                  <a:lnTo>
                    <a:pt x="150" y="836"/>
                  </a:lnTo>
                  <a:lnTo>
                    <a:pt x="152" y="836"/>
                  </a:lnTo>
                  <a:lnTo>
                    <a:pt x="154" y="834"/>
                  </a:lnTo>
                  <a:lnTo>
                    <a:pt x="154" y="834"/>
                  </a:lnTo>
                  <a:lnTo>
                    <a:pt x="154" y="834"/>
                  </a:lnTo>
                  <a:lnTo>
                    <a:pt x="156" y="832"/>
                  </a:lnTo>
                  <a:lnTo>
                    <a:pt x="156" y="832"/>
                  </a:lnTo>
                  <a:lnTo>
                    <a:pt x="156" y="832"/>
                  </a:lnTo>
                  <a:lnTo>
                    <a:pt x="156" y="828"/>
                  </a:lnTo>
                  <a:lnTo>
                    <a:pt x="156" y="826"/>
                  </a:lnTo>
                  <a:lnTo>
                    <a:pt x="156" y="820"/>
                  </a:lnTo>
                  <a:lnTo>
                    <a:pt x="156" y="820"/>
                  </a:lnTo>
                  <a:lnTo>
                    <a:pt x="156" y="818"/>
                  </a:lnTo>
                  <a:lnTo>
                    <a:pt x="156" y="818"/>
                  </a:lnTo>
                  <a:close/>
                  <a:moveTo>
                    <a:pt x="632" y="94"/>
                  </a:moveTo>
                  <a:lnTo>
                    <a:pt x="628" y="94"/>
                  </a:lnTo>
                  <a:lnTo>
                    <a:pt x="624" y="94"/>
                  </a:lnTo>
                  <a:lnTo>
                    <a:pt x="620" y="96"/>
                  </a:lnTo>
                  <a:lnTo>
                    <a:pt x="616" y="96"/>
                  </a:lnTo>
                  <a:lnTo>
                    <a:pt x="610" y="98"/>
                  </a:lnTo>
                  <a:lnTo>
                    <a:pt x="608" y="98"/>
                  </a:lnTo>
                  <a:lnTo>
                    <a:pt x="604" y="98"/>
                  </a:lnTo>
                  <a:lnTo>
                    <a:pt x="600" y="100"/>
                  </a:lnTo>
                  <a:lnTo>
                    <a:pt x="598" y="100"/>
                  </a:lnTo>
                  <a:lnTo>
                    <a:pt x="596" y="100"/>
                  </a:lnTo>
                  <a:lnTo>
                    <a:pt x="594" y="100"/>
                  </a:lnTo>
                  <a:lnTo>
                    <a:pt x="594" y="100"/>
                  </a:lnTo>
                  <a:lnTo>
                    <a:pt x="594" y="100"/>
                  </a:lnTo>
                  <a:lnTo>
                    <a:pt x="592" y="102"/>
                  </a:lnTo>
                  <a:lnTo>
                    <a:pt x="592" y="102"/>
                  </a:lnTo>
                  <a:lnTo>
                    <a:pt x="592" y="104"/>
                  </a:lnTo>
                  <a:lnTo>
                    <a:pt x="596" y="122"/>
                  </a:lnTo>
                  <a:lnTo>
                    <a:pt x="598" y="142"/>
                  </a:lnTo>
                  <a:lnTo>
                    <a:pt x="598" y="144"/>
                  </a:lnTo>
                  <a:lnTo>
                    <a:pt x="598" y="146"/>
                  </a:lnTo>
                  <a:lnTo>
                    <a:pt x="596" y="146"/>
                  </a:lnTo>
                  <a:lnTo>
                    <a:pt x="596" y="148"/>
                  </a:lnTo>
                  <a:lnTo>
                    <a:pt x="590" y="152"/>
                  </a:lnTo>
                  <a:lnTo>
                    <a:pt x="588" y="154"/>
                  </a:lnTo>
                  <a:lnTo>
                    <a:pt x="588" y="154"/>
                  </a:lnTo>
                  <a:lnTo>
                    <a:pt x="586" y="152"/>
                  </a:lnTo>
                  <a:lnTo>
                    <a:pt x="586" y="150"/>
                  </a:lnTo>
                  <a:lnTo>
                    <a:pt x="586" y="150"/>
                  </a:lnTo>
                  <a:lnTo>
                    <a:pt x="584" y="146"/>
                  </a:lnTo>
                  <a:lnTo>
                    <a:pt x="584" y="144"/>
                  </a:lnTo>
                  <a:lnTo>
                    <a:pt x="582" y="142"/>
                  </a:lnTo>
                  <a:lnTo>
                    <a:pt x="582" y="142"/>
                  </a:lnTo>
                  <a:lnTo>
                    <a:pt x="582" y="140"/>
                  </a:lnTo>
                  <a:lnTo>
                    <a:pt x="582" y="138"/>
                  </a:lnTo>
                  <a:lnTo>
                    <a:pt x="582" y="138"/>
                  </a:lnTo>
                  <a:lnTo>
                    <a:pt x="582" y="138"/>
                  </a:lnTo>
                  <a:lnTo>
                    <a:pt x="580" y="136"/>
                  </a:lnTo>
                  <a:lnTo>
                    <a:pt x="580" y="136"/>
                  </a:lnTo>
                  <a:lnTo>
                    <a:pt x="578" y="136"/>
                  </a:lnTo>
                  <a:lnTo>
                    <a:pt x="574" y="134"/>
                  </a:lnTo>
                  <a:lnTo>
                    <a:pt x="572" y="132"/>
                  </a:lnTo>
                  <a:lnTo>
                    <a:pt x="570" y="132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70" y="130"/>
                  </a:lnTo>
                  <a:lnTo>
                    <a:pt x="566" y="132"/>
                  </a:lnTo>
                  <a:lnTo>
                    <a:pt x="566" y="132"/>
                  </a:lnTo>
                  <a:lnTo>
                    <a:pt x="566" y="134"/>
                  </a:lnTo>
                  <a:lnTo>
                    <a:pt x="566" y="142"/>
                  </a:lnTo>
                  <a:lnTo>
                    <a:pt x="566" y="150"/>
                  </a:lnTo>
                  <a:lnTo>
                    <a:pt x="568" y="158"/>
                  </a:lnTo>
                  <a:lnTo>
                    <a:pt x="570" y="164"/>
                  </a:lnTo>
                  <a:lnTo>
                    <a:pt x="570" y="164"/>
                  </a:lnTo>
                  <a:lnTo>
                    <a:pt x="572" y="166"/>
                  </a:lnTo>
                  <a:lnTo>
                    <a:pt x="574" y="172"/>
                  </a:lnTo>
                  <a:lnTo>
                    <a:pt x="574" y="172"/>
                  </a:lnTo>
                  <a:lnTo>
                    <a:pt x="576" y="172"/>
                  </a:lnTo>
                  <a:lnTo>
                    <a:pt x="578" y="174"/>
                  </a:lnTo>
                  <a:lnTo>
                    <a:pt x="580" y="178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4" y="180"/>
                  </a:lnTo>
                  <a:lnTo>
                    <a:pt x="588" y="182"/>
                  </a:lnTo>
                  <a:lnTo>
                    <a:pt x="592" y="184"/>
                  </a:lnTo>
                  <a:lnTo>
                    <a:pt x="596" y="184"/>
                  </a:lnTo>
                  <a:lnTo>
                    <a:pt x="598" y="186"/>
                  </a:lnTo>
                  <a:lnTo>
                    <a:pt x="600" y="188"/>
                  </a:lnTo>
                  <a:lnTo>
                    <a:pt x="602" y="190"/>
                  </a:lnTo>
                  <a:lnTo>
                    <a:pt x="602" y="190"/>
                  </a:lnTo>
                  <a:lnTo>
                    <a:pt x="602" y="192"/>
                  </a:lnTo>
                  <a:lnTo>
                    <a:pt x="604" y="194"/>
                  </a:lnTo>
                  <a:lnTo>
                    <a:pt x="604" y="198"/>
                  </a:lnTo>
                  <a:lnTo>
                    <a:pt x="606" y="200"/>
                  </a:lnTo>
                  <a:lnTo>
                    <a:pt x="608" y="206"/>
                  </a:lnTo>
                  <a:lnTo>
                    <a:pt x="608" y="206"/>
                  </a:lnTo>
                  <a:lnTo>
                    <a:pt x="608" y="206"/>
                  </a:lnTo>
                  <a:lnTo>
                    <a:pt x="608" y="208"/>
                  </a:lnTo>
                  <a:lnTo>
                    <a:pt x="608" y="210"/>
                  </a:lnTo>
                  <a:lnTo>
                    <a:pt x="608" y="210"/>
                  </a:lnTo>
                  <a:lnTo>
                    <a:pt x="610" y="210"/>
                  </a:lnTo>
                  <a:lnTo>
                    <a:pt x="610" y="212"/>
                  </a:lnTo>
                  <a:lnTo>
                    <a:pt x="612" y="214"/>
                  </a:lnTo>
                  <a:lnTo>
                    <a:pt x="616" y="218"/>
                  </a:lnTo>
                  <a:lnTo>
                    <a:pt x="620" y="220"/>
                  </a:lnTo>
                  <a:lnTo>
                    <a:pt x="620" y="220"/>
                  </a:lnTo>
                  <a:lnTo>
                    <a:pt x="622" y="222"/>
                  </a:lnTo>
                  <a:lnTo>
                    <a:pt x="628" y="220"/>
                  </a:lnTo>
                  <a:lnTo>
                    <a:pt x="628" y="220"/>
                  </a:lnTo>
                  <a:lnTo>
                    <a:pt x="628" y="220"/>
                  </a:lnTo>
                  <a:lnTo>
                    <a:pt x="630" y="220"/>
                  </a:lnTo>
                  <a:lnTo>
                    <a:pt x="630" y="220"/>
                  </a:lnTo>
                  <a:lnTo>
                    <a:pt x="632" y="220"/>
                  </a:lnTo>
                  <a:lnTo>
                    <a:pt x="634" y="218"/>
                  </a:lnTo>
                  <a:lnTo>
                    <a:pt x="634" y="218"/>
                  </a:lnTo>
                  <a:lnTo>
                    <a:pt x="634" y="218"/>
                  </a:lnTo>
                  <a:lnTo>
                    <a:pt x="634" y="216"/>
                  </a:lnTo>
                  <a:lnTo>
                    <a:pt x="634" y="216"/>
                  </a:lnTo>
                  <a:lnTo>
                    <a:pt x="636" y="214"/>
                  </a:lnTo>
                  <a:lnTo>
                    <a:pt x="636" y="212"/>
                  </a:lnTo>
                  <a:lnTo>
                    <a:pt x="636" y="212"/>
                  </a:lnTo>
                  <a:lnTo>
                    <a:pt x="636" y="212"/>
                  </a:lnTo>
                  <a:lnTo>
                    <a:pt x="634" y="210"/>
                  </a:lnTo>
                  <a:lnTo>
                    <a:pt x="638" y="210"/>
                  </a:lnTo>
                  <a:lnTo>
                    <a:pt x="642" y="21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8" y="208"/>
                  </a:lnTo>
                  <a:lnTo>
                    <a:pt x="648" y="208"/>
                  </a:lnTo>
                  <a:lnTo>
                    <a:pt x="648" y="208"/>
                  </a:lnTo>
                  <a:lnTo>
                    <a:pt x="650" y="208"/>
                  </a:lnTo>
                  <a:lnTo>
                    <a:pt x="650" y="208"/>
                  </a:lnTo>
                  <a:lnTo>
                    <a:pt x="652" y="206"/>
                  </a:lnTo>
                  <a:lnTo>
                    <a:pt x="652" y="206"/>
                  </a:lnTo>
                  <a:lnTo>
                    <a:pt x="652" y="206"/>
                  </a:lnTo>
                  <a:lnTo>
                    <a:pt x="654" y="204"/>
                  </a:lnTo>
                  <a:lnTo>
                    <a:pt x="654" y="202"/>
                  </a:lnTo>
                  <a:lnTo>
                    <a:pt x="656" y="198"/>
                  </a:lnTo>
                  <a:lnTo>
                    <a:pt x="656" y="198"/>
                  </a:lnTo>
                  <a:lnTo>
                    <a:pt x="658" y="196"/>
                  </a:lnTo>
                  <a:lnTo>
                    <a:pt x="656" y="190"/>
                  </a:lnTo>
                  <a:lnTo>
                    <a:pt x="656" y="184"/>
                  </a:lnTo>
                  <a:lnTo>
                    <a:pt x="656" y="178"/>
                  </a:lnTo>
                  <a:lnTo>
                    <a:pt x="656" y="172"/>
                  </a:lnTo>
                  <a:lnTo>
                    <a:pt x="656" y="166"/>
                  </a:lnTo>
                  <a:lnTo>
                    <a:pt x="656" y="162"/>
                  </a:lnTo>
                  <a:lnTo>
                    <a:pt x="656" y="158"/>
                  </a:lnTo>
                  <a:lnTo>
                    <a:pt x="654" y="154"/>
                  </a:lnTo>
                  <a:lnTo>
                    <a:pt x="654" y="154"/>
                  </a:lnTo>
                  <a:lnTo>
                    <a:pt x="654" y="154"/>
                  </a:lnTo>
                  <a:lnTo>
                    <a:pt x="652" y="150"/>
                  </a:lnTo>
                  <a:lnTo>
                    <a:pt x="652" y="150"/>
                  </a:lnTo>
                  <a:lnTo>
                    <a:pt x="652" y="150"/>
                  </a:lnTo>
                  <a:lnTo>
                    <a:pt x="650" y="148"/>
                  </a:lnTo>
                  <a:lnTo>
                    <a:pt x="650" y="148"/>
                  </a:lnTo>
                  <a:lnTo>
                    <a:pt x="650" y="146"/>
                  </a:lnTo>
                  <a:lnTo>
                    <a:pt x="648" y="144"/>
                  </a:lnTo>
                  <a:lnTo>
                    <a:pt x="648" y="144"/>
                  </a:lnTo>
                  <a:lnTo>
                    <a:pt x="648" y="144"/>
                  </a:lnTo>
                  <a:lnTo>
                    <a:pt x="644" y="142"/>
                  </a:lnTo>
                  <a:lnTo>
                    <a:pt x="644" y="142"/>
                  </a:lnTo>
                  <a:lnTo>
                    <a:pt x="644" y="142"/>
                  </a:lnTo>
                  <a:lnTo>
                    <a:pt x="640" y="140"/>
                  </a:lnTo>
                  <a:lnTo>
                    <a:pt x="634" y="138"/>
                  </a:lnTo>
                  <a:lnTo>
                    <a:pt x="628" y="138"/>
                  </a:lnTo>
                  <a:lnTo>
                    <a:pt x="624" y="136"/>
                  </a:lnTo>
                  <a:lnTo>
                    <a:pt x="626" y="136"/>
                  </a:lnTo>
                  <a:lnTo>
                    <a:pt x="626" y="134"/>
                  </a:lnTo>
                  <a:lnTo>
                    <a:pt x="626" y="134"/>
                  </a:lnTo>
                  <a:lnTo>
                    <a:pt x="628" y="132"/>
                  </a:lnTo>
                  <a:lnTo>
                    <a:pt x="628" y="132"/>
                  </a:lnTo>
                  <a:lnTo>
                    <a:pt x="630" y="130"/>
                  </a:lnTo>
                  <a:lnTo>
                    <a:pt x="634" y="128"/>
                  </a:lnTo>
                  <a:lnTo>
                    <a:pt x="634" y="128"/>
                  </a:lnTo>
                  <a:lnTo>
                    <a:pt x="634" y="128"/>
                  </a:lnTo>
                  <a:lnTo>
                    <a:pt x="636" y="126"/>
                  </a:lnTo>
                  <a:lnTo>
                    <a:pt x="638" y="124"/>
                  </a:lnTo>
                  <a:lnTo>
                    <a:pt x="640" y="122"/>
                  </a:lnTo>
                  <a:lnTo>
                    <a:pt x="640" y="122"/>
                  </a:lnTo>
                  <a:lnTo>
                    <a:pt x="640" y="122"/>
                  </a:lnTo>
                  <a:lnTo>
                    <a:pt x="642" y="120"/>
                  </a:lnTo>
                  <a:lnTo>
                    <a:pt x="642" y="120"/>
                  </a:lnTo>
                  <a:lnTo>
                    <a:pt x="642" y="118"/>
                  </a:lnTo>
                  <a:lnTo>
                    <a:pt x="642" y="116"/>
                  </a:lnTo>
                  <a:lnTo>
                    <a:pt x="642" y="114"/>
                  </a:lnTo>
                  <a:lnTo>
                    <a:pt x="642" y="112"/>
                  </a:lnTo>
                  <a:lnTo>
                    <a:pt x="642" y="112"/>
                  </a:lnTo>
                  <a:lnTo>
                    <a:pt x="644" y="110"/>
                  </a:lnTo>
                  <a:lnTo>
                    <a:pt x="644" y="108"/>
                  </a:lnTo>
                  <a:lnTo>
                    <a:pt x="646" y="106"/>
                  </a:lnTo>
                  <a:lnTo>
                    <a:pt x="646" y="106"/>
                  </a:lnTo>
                  <a:lnTo>
                    <a:pt x="646" y="104"/>
                  </a:lnTo>
                  <a:lnTo>
                    <a:pt x="646" y="100"/>
                  </a:lnTo>
                  <a:lnTo>
                    <a:pt x="646" y="98"/>
                  </a:lnTo>
                  <a:lnTo>
                    <a:pt x="646" y="96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4"/>
                  </a:lnTo>
                  <a:lnTo>
                    <a:pt x="644" y="92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42" y="92"/>
                  </a:lnTo>
                  <a:lnTo>
                    <a:pt x="640" y="92"/>
                  </a:lnTo>
                  <a:lnTo>
                    <a:pt x="640" y="92"/>
                  </a:lnTo>
                  <a:lnTo>
                    <a:pt x="640" y="92"/>
                  </a:lnTo>
                  <a:lnTo>
                    <a:pt x="638" y="92"/>
                  </a:lnTo>
                  <a:lnTo>
                    <a:pt x="636" y="92"/>
                  </a:lnTo>
                  <a:lnTo>
                    <a:pt x="634" y="92"/>
                  </a:lnTo>
                  <a:lnTo>
                    <a:pt x="632" y="94"/>
                  </a:lnTo>
                  <a:close/>
                  <a:moveTo>
                    <a:pt x="698" y="80"/>
                  </a:moveTo>
                  <a:lnTo>
                    <a:pt x="690" y="80"/>
                  </a:lnTo>
                  <a:lnTo>
                    <a:pt x="686" y="80"/>
                  </a:lnTo>
                  <a:lnTo>
                    <a:pt x="686" y="80"/>
                  </a:lnTo>
                  <a:lnTo>
                    <a:pt x="686" y="80"/>
                  </a:lnTo>
                  <a:lnTo>
                    <a:pt x="682" y="80"/>
                  </a:lnTo>
                  <a:lnTo>
                    <a:pt x="682" y="80"/>
                  </a:lnTo>
                  <a:lnTo>
                    <a:pt x="682" y="80"/>
                  </a:lnTo>
                  <a:lnTo>
                    <a:pt x="678" y="82"/>
                  </a:lnTo>
                  <a:lnTo>
                    <a:pt x="678" y="82"/>
                  </a:lnTo>
                  <a:lnTo>
                    <a:pt x="678" y="84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6" y="84"/>
                  </a:lnTo>
                  <a:lnTo>
                    <a:pt x="674" y="86"/>
                  </a:lnTo>
                  <a:lnTo>
                    <a:pt x="674" y="86"/>
                  </a:lnTo>
                  <a:lnTo>
                    <a:pt x="674" y="90"/>
                  </a:lnTo>
                  <a:lnTo>
                    <a:pt x="676" y="94"/>
                  </a:lnTo>
                  <a:lnTo>
                    <a:pt x="678" y="96"/>
                  </a:lnTo>
                  <a:lnTo>
                    <a:pt x="680" y="98"/>
                  </a:lnTo>
                  <a:lnTo>
                    <a:pt x="682" y="100"/>
                  </a:lnTo>
                  <a:lnTo>
                    <a:pt x="680" y="100"/>
                  </a:lnTo>
                  <a:lnTo>
                    <a:pt x="680" y="102"/>
                  </a:lnTo>
                  <a:lnTo>
                    <a:pt x="678" y="102"/>
                  </a:lnTo>
                  <a:lnTo>
                    <a:pt x="678" y="104"/>
                  </a:lnTo>
                  <a:lnTo>
                    <a:pt x="676" y="104"/>
                  </a:lnTo>
                  <a:lnTo>
                    <a:pt x="676" y="104"/>
                  </a:lnTo>
                  <a:lnTo>
                    <a:pt x="674" y="102"/>
                  </a:lnTo>
                  <a:lnTo>
                    <a:pt x="672" y="100"/>
                  </a:lnTo>
                  <a:lnTo>
                    <a:pt x="672" y="100"/>
                  </a:lnTo>
                  <a:lnTo>
                    <a:pt x="668" y="100"/>
                  </a:lnTo>
                  <a:lnTo>
                    <a:pt x="668" y="100"/>
                  </a:lnTo>
                  <a:lnTo>
                    <a:pt x="666" y="102"/>
                  </a:lnTo>
                  <a:lnTo>
                    <a:pt x="666" y="104"/>
                  </a:lnTo>
                  <a:lnTo>
                    <a:pt x="668" y="106"/>
                  </a:lnTo>
                  <a:lnTo>
                    <a:pt x="668" y="108"/>
                  </a:lnTo>
                  <a:lnTo>
                    <a:pt x="668" y="112"/>
                  </a:lnTo>
                  <a:lnTo>
                    <a:pt x="668" y="116"/>
                  </a:lnTo>
                  <a:lnTo>
                    <a:pt x="668" y="122"/>
                  </a:lnTo>
                  <a:lnTo>
                    <a:pt x="668" y="130"/>
                  </a:lnTo>
                  <a:lnTo>
                    <a:pt x="668" y="138"/>
                  </a:lnTo>
                  <a:lnTo>
                    <a:pt x="670" y="144"/>
                  </a:lnTo>
                  <a:lnTo>
                    <a:pt x="670" y="152"/>
                  </a:lnTo>
                  <a:lnTo>
                    <a:pt x="670" y="160"/>
                  </a:lnTo>
                  <a:lnTo>
                    <a:pt x="672" y="166"/>
                  </a:lnTo>
                  <a:lnTo>
                    <a:pt x="672" y="172"/>
                  </a:lnTo>
                  <a:lnTo>
                    <a:pt x="674" y="178"/>
                  </a:lnTo>
                  <a:lnTo>
                    <a:pt x="676" y="182"/>
                  </a:lnTo>
                  <a:lnTo>
                    <a:pt x="676" y="184"/>
                  </a:lnTo>
                  <a:lnTo>
                    <a:pt x="676" y="184"/>
                  </a:lnTo>
                  <a:lnTo>
                    <a:pt x="676" y="184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78" y="186"/>
                  </a:lnTo>
                  <a:lnTo>
                    <a:pt x="680" y="188"/>
                  </a:lnTo>
                  <a:lnTo>
                    <a:pt x="680" y="188"/>
                  </a:lnTo>
                  <a:lnTo>
                    <a:pt x="680" y="188"/>
                  </a:lnTo>
                  <a:lnTo>
                    <a:pt x="682" y="188"/>
                  </a:lnTo>
                  <a:lnTo>
                    <a:pt x="684" y="188"/>
                  </a:lnTo>
                  <a:lnTo>
                    <a:pt x="686" y="188"/>
                  </a:lnTo>
                  <a:lnTo>
                    <a:pt x="690" y="186"/>
                  </a:lnTo>
                  <a:lnTo>
                    <a:pt x="690" y="186"/>
                  </a:lnTo>
                  <a:lnTo>
                    <a:pt x="690" y="186"/>
                  </a:lnTo>
                  <a:lnTo>
                    <a:pt x="692" y="184"/>
                  </a:lnTo>
                  <a:lnTo>
                    <a:pt x="692" y="184"/>
                  </a:lnTo>
                  <a:lnTo>
                    <a:pt x="694" y="184"/>
                  </a:lnTo>
                  <a:lnTo>
                    <a:pt x="694" y="182"/>
                  </a:lnTo>
                  <a:lnTo>
                    <a:pt x="694" y="182"/>
                  </a:lnTo>
                  <a:lnTo>
                    <a:pt x="694" y="182"/>
                  </a:lnTo>
                  <a:lnTo>
                    <a:pt x="696" y="180"/>
                  </a:lnTo>
                  <a:lnTo>
                    <a:pt x="696" y="176"/>
                  </a:lnTo>
                  <a:lnTo>
                    <a:pt x="698" y="174"/>
                  </a:lnTo>
                  <a:lnTo>
                    <a:pt x="700" y="170"/>
                  </a:lnTo>
                  <a:lnTo>
                    <a:pt x="700" y="170"/>
                  </a:lnTo>
                  <a:lnTo>
                    <a:pt x="700" y="170"/>
                  </a:lnTo>
                  <a:lnTo>
                    <a:pt x="700" y="166"/>
                  </a:lnTo>
                  <a:lnTo>
                    <a:pt x="700" y="164"/>
                  </a:lnTo>
                  <a:lnTo>
                    <a:pt x="700" y="164"/>
                  </a:lnTo>
                  <a:lnTo>
                    <a:pt x="700" y="164"/>
                  </a:lnTo>
                  <a:lnTo>
                    <a:pt x="698" y="160"/>
                  </a:lnTo>
                  <a:lnTo>
                    <a:pt x="698" y="160"/>
                  </a:lnTo>
                  <a:lnTo>
                    <a:pt x="698" y="158"/>
                  </a:lnTo>
                  <a:lnTo>
                    <a:pt x="698" y="156"/>
                  </a:lnTo>
                  <a:lnTo>
                    <a:pt x="696" y="154"/>
                  </a:lnTo>
                  <a:lnTo>
                    <a:pt x="696" y="154"/>
                  </a:lnTo>
                  <a:lnTo>
                    <a:pt x="696" y="154"/>
                  </a:lnTo>
                  <a:lnTo>
                    <a:pt x="696" y="152"/>
                  </a:lnTo>
                  <a:lnTo>
                    <a:pt x="696" y="152"/>
                  </a:lnTo>
                  <a:lnTo>
                    <a:pt x="700" y="150"/>
                  </a:lnTo>
                  <a:lnTo>
                    <a:pt x="704" y="150"/>
                  </a:lnTo>
                  <a:lnTo>
                    <a:pt x="708" y="148"/>
                  </a:lnTo>
                  <a:lnTo>
                    <a:pt x="716" y="148"/>
                  </a:lnTo>
                  <a:lnTo>
                    <a:pt x="726" y="148"/>
                  </a:lnTo>
                  <a:lnTo>
                    <a:pt x="726" y="148"/>
                  </a:lnTo>
                  <a:lnTo>
                    <a:pt x="728" y="146"/>
                  </a:lnTo>
                  <a:lnTo>
                    <a:pt x="728" y="144"/>
                  </a:lnTo>
                  <a:lnTo>
                    <a:pt x="730" y="140"/>
                  </a:lnTo>
                  <a:lnTo>
                    <a:pt x="730" y="136"/>
                  </a:lnTo>
                  <a:lnTo>
                    <a:pt x="730" y="132"/>
                  </a:lnTo>
                  <a:lnTo>
                    <a:pt x="730" y="128"/>
                  </a:lnTo>
                  <a:lnTo>
                    <a:pt x="732" y="126"/>
                  </a:lnTo>
                  <a:lnTo>
                    <a:pt x="734" y="124"/>
                  </a:lnTo>
                  <a:lnTo>
                    <a:pt x="736" y="122"/>
                  </a:lnTo>
                  <a:lnTo>
                    <a:pt x="736" y="122"/>
                  </a:lnTo>
                  <a:lnTo>
                    <a:pt x="740" y="120"/>
                  </a:lnTo>
                  <a:lnTo>
                    <a:pt x="740" y="120"/>
                  </a:lnTo>
                  <a:lnTo>
                    <a:pt x="740" y="118"/>
                  </a:lnTo>
                  <a:lnTo>
                    <a:pt x="742" y="114"/>
                  </a:lnTo>
                  <a:lnTo>
                    <a:pt x="744" y="108"/>
                  </a:lnTo>
                  <a:lnTo>
                    <a:pt x="742" y="110"/>
                  </a:lnTo>
                  <a:lnTo>
                    <a:pt x="746" y="106"/>
                  </a:lnTo>
                  <a:lnTo>
                    <a:pt x="746" y="106"/>
                  </a:lnTo>
                  <a:lnTo>
                    <a:pt x="746" y="104"/>
                  </a:lnTo>
                  <a:lnTo>
                    <a:pt x="748" y="102"/>
                  </a:lnTo>
                  <a:lnTo>
                    <a:pt x="748" y="102"/>
                  </a:lnTo>
                  <a:lnTo>
                    <a:pt x="750" y="102"/>
                  </a:lnTo>
                  <a:lnTo>
                    <a:pt x="750" y="98"/>
                  </a:lnTo>
                  <a:lnTo>
                    <a:pt x="750" y="98"/>
                  </a:lnTo>
                  <a:lnTo>
                    <a:pt x="750" y="98"/>
                  </a:lnTo>
                  <a:lnTo>
                    <a:pt x="752" y="96"/>
                  </a:lnTo>
                  <a:lnTo>
                    <a:pt x="752" y="96"/>
                  </a:lnTo>
                  <a:lnTo>
                    <a:pt x="752" y="94"/>
                  </a:lnTo>
                  <a:lnTo>
                    <a:pt x="750" y="94"/>
                  </a:lnTo>
                  <a:lnTo>
                    <a:pt x="750" y="94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50" y="92"/>
                  </a:lnTo>
                  <a:lnTo>
                    <a:pt x="748" y="90"/>
                  </a:lnTo>
                  <a:lnTo>
                    <a:pt x="746" y="90"/>
                  </a:lnTo>
                  <a:lnTo>
                    <a:pt x="746" y="90"/>
                  </a:lnTo>
                  <a:lnTo>
                    <a:pt x="746" y="90"/>
                  </a:lnTo>
                  <a:lnTo>
                    <a:pt x="744" y="90"/>
                  </a:lnTo>
                  <a:lnTo>
                    <a:pt x="740" y="88"/>
                  </a:lnTo>
                  <a:lnTo>
                    <a:pt x="740" y="88"/>
                  </a:lnTo>
                  <a:lnTo>
                    <a:pt x="738" y="88"/>
                  </a:lnTo>
                  <a:lnTo>
                    <a:pt x="734" y="88"/>
                  </a:lnTo>
                  <a:lnTo>
                    <a:pt x="728" y="88"/>
                  </a:lnTo>
                  <a:lnTo>
                    <a:pt x="722" y="88"/>
                  </a:lnTo>
                  <a:lnTo>
                    <a:pt x="716" y="90"/>
                  </a:lnTo>
                  <a:lnTo>
                    <a:pt x="716" y="90"/>
                  </a:lnTo>
                  <a:lnTo>
                    <a:pt x="716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4" y="90"/>
                  </a:lnTo>
                  <a:lnTo>
                    <a:pt x="712" y="90"/>
                  </a:lnTo>
                  <a:lnTo>
                    <a:pt x="712" y="88"/>
                  </a:lnTo>
                  <a:lnTo>
                    <a:pt x="710" y="82"/>
                  </a:lnTo>
                  <a:lnTo>
                    <a:pt x="710" y="82"/>
                  </a:lnTo>
                  <a:lnTo>
                    <a:pt x="710" y="82"/>
                  </a:lnTo>
                  <a:lnTo>
                    <a:pt x="710" y="80"/>
                  </a:lnTo>
                  <a:lnTo>
                    <a:pt x="710" y="80"/>
                  </a:lnTo>
                  <a:lnTo>
                    <a:pt x="708" y="80"/>
                  </a:lnTo>
                  <a:lnTo>
                    <a:pt x="708" y="78"/>
                  </a:lnTo>
                  <a:lnTo>
                    <a:pt x="708" y="78"/>
                  </a:lnTo>
                  <a:lnTo>
                    <a:pt x="704" y="78"/>
                  </a:lnTo>
                  <a:lnTo>
                    <a:pt x="700" y="78"/>
                  </a:lnTo>
                  <a:lnTo>
                    <a:pt x="698" y="80"/>
                  </a:lnTo>
                  <a:close/>
                  <a:moveTo>
                    <a:pt x="904" y="98"/>
                  </a:moveTo>
                  <a:lnTo>
                    <a:pt x="902" y="98"/>
                  </a:lnTo>
                  <a:lnTo>
                    <a:pt x="900" y="98"/>
                  </a:lnTo>
                  <a:lnTo>
                    <a:pt x="896" y="98"/>
                  </a:lnTo>
                  <a:lnTo>
                    <a:pt x="892" y="96"/>
                  </a:lnTo>
                  <a:lnTo>
                    <a:pt x="892" y="96"/>
                  </a:lnTo>
                  <a:lnTo>
                    <a:pt x="890" y="98"/>
                  </a:lnTo>
                  <a:lnTo>
                    <a:pt x="890" y="98"/>
                  </a:lnTo>
                  <a:lnTo>
                    <a:pt x="888" y="100"/>
                  </a:lnTo>
                  <a:lnTo>
                    <a:pt x="888" y="102"/>
                  </a:lnTo>
                  <a:lnTo>
                    <a:pt x="888" y="104"/>
                  </a:lnTo>
                  <a:lnTo>
                    <a:pt x="890" y="108"/>
                  </a:lnTo>
                  <a:lnTo>
                    <a:pt x="890" y="110"/>
                  </a:lnTo>
                  <a:lnTo>
                    <a:pt x="890" y="118"/>
                  </a:lnTo>
                  <a:lnTo>
                    <a:pt x="890" y="126"/>
                  </a:lnTo>
                  <a:lnTo>
                    <a:pt x="892" y="132"/>
                  </a:lnTo>
                  <a:lnTo>
                    <a:pt x="894" y="140"/>
                  </a:lnTo>
                  <a:lnTo>
                    <a:pt x="894" y="142"/>
                  </a:lnTo>
                  <a:lnTo>
                    <a:pt x="896" y="146"/>
                  </a:lnTo>
                  <a:lnTo>
                    <a:pt x="896" y="146"/>
                  </a:lnTo>
                  <a:lnTo>
                    <a:pt x="896" y="146"/>
                  </a:lnTo>
                  <a:lnTo>
                    <a:pt x="898" y="148"/>
                  </a:lnTo>
                  <a:lnTo>
                    <a:pt x="898" y="148"/>
                  </a:lnTo>
                  <a:lnTo>
                    <a:pt x="898" y="148"/>
                  </a:lnTo>
                  <a:lnTo>
                    <a:pt x="900" y="150"/>
                  </a:lnTo>
                  <a:lnTo>
                    <a:pt x="900" y="150"/>
                  </a:lnTo>
                  <a:lnTo>
                    <a:pt x="902" y="150"/>
                  </a:lnTo>
                  <a:lnTo>
                    <a:pt x="908" y="148"/>
                  </a:lnTo>
                  <a:lnTo>
                    <a:pt x="912" y="146"/>
                  </a:lnTo>
                  <a:lnTo>
                    <a:pt x="916" y="146"/>
                  </a:lnTo>
                  <a:lnTo>
                    <a:pt x="922" y="146"/>
                  </a:lnTo>
                  <a:lnTo>
                    <a:pt x="932" y="146"/>
                  </a:lnTo>
                  <a:lnTo>
                    <a:pt x="942" y="144"/>
                  </a:lnTo>
                  <a:lnTo>
                    <a:pt x="942" y="144"/>
                  </a:lnTo>
                  <a:lnTo>
                    <a:pt x="944" y="144"/>
                  </a:lnTo>
                  <a:lnTo>
                    <a:pt x="946" y="144"/>
                  </a:lnTo>
                  <a:lnTo>
                    <a:pt x="948" y="142"/>
                  </a:lnTo>
                  <a:lnTo>
                    <a:pt x="948" y="142"/>
                  </a:lnTo>
                  <a:lnTo>
                    <a:pt x="948" y="142"/>
                  </a:lnTo>
                  <a:lnTo>
                    <a:pt x="948" y="140"/>
                  </a:lnTo>
                  <a:lnTo>
                    <a:pt x="948" y="140"/>
                  </a:lnTo>
                  <a:lnTo>
                    <a:pt x="950" y="140"/>
                  </a:lnTo>
                  <a:lnTo>
                    <a:pt x="950" y="138"/>
                  </a:lnTo>
                  <a:lnTo>
                    <a:pt x="950" y="138"/>
                  </a:lnTo>
                  <a:lnTo>
                    <a:pt x="950" y="138"/>
                  </a:lnTo>
                  <a:lnTo>
                    <a:pt x="950" y="134"/>
                  </a:lnTo>
                  <a:lnTo>
                    <a:pt x="950" y="134"/>
                  </a:lnTo>
                  <a:lnTo>
                    <a:pt x="950" y="134"/>
                  </a:lnTo>
                  <a:lnTo>
                    <a:pt x="948" y="130"/>
                  </a:lnTo>
                  <a:lnTo>
                    <a:pt x="948" y="130"/>
                  </a:lnTo>
                  <a:lnTo>
                    <a:pt x="948" y="130"/>
                  </a:lnTo>
                  <a:lnTo>
                    <a:pt x="946" y="128"/>
                  </a:lnTo>
                  <a:lnTo>
                    <a:pt x="946" y="128"/>
                  </a:lnTo>
                  <a:lnTo>
                    <a:pt x="946" y="128"/>
                  </a:lnTo>
                  <a:lnTo>
                    <a:pt x="944" y="124"/>
                  </a:lnTo>
                  <a:lnTo>
                    <a:pt x="942" y="122"/>
                  </a:lnTo>
                  <a:lnTo>
                    <a:pt x="938" y="122"/>
                  </a:lnTo>
                  <a:lnTo>
                    <a:pt x="938" y="118"/>
                  </a:lnTo>
                  <a:lnTo>
                    <a:pt x="936" y="116"/>
                  </a:lnTo>
                  <a:lnTo>
                    <a:pt x="932" y="114"/>
                  </a:lnTo>
                  <a:lnTo>
                    <a:pt x="930" y="112"/>
                  </a:lnTo>
                  <a:lnTo>
                    <a:pt x="930" y="112"/>
                  </a:lnTo>
                  <a:lnTo>
                    <a:pt x="930" y="110"/>
                  </a:lnTo>
                  <a:lnTo>
                    <a:pt x="924" y="108"/>
                  </a:lnTo>
                  <a:lnTo>
                    <a:pt x="924" y="108"/>
                  </a:lnTo>
                  <a:lnTo>
                    <a:pt x="924" y="108"/>
                  </a:lnTo>
                  <a:lnTo>
                    <a:pt x="918" y="106"/>
                  </a:lnTo>
                  <a:lnTo>
                    <a:pt x="918" y="106"/>
                  </a:lnTo>
                  <a:lnTo>
                    <a:pt x="916" y="104"/>
                  </a:lnTo>
                  <a:lnTo>
                    <a:pt x="916" y="102"/>
                  </a:lnTo>
                  <a:lnTo>
                    <a:pt x="916" y="102"/>
                  </a:lnTo>
                  <a:lnTo>
                    <a:pt x="914" y="102"/>
                  </a:lnTo>
                  <a:lnTo>
                    <a:pt x="914" y="100"/>
                  </a:lnTo>
                  <a:lnTo>
                    <a:pt x="914" y="100"/>
                  </a:lnTo>
                  <a:lnTo>
                    <a:pt x="912" y="100"/>
                  </a:lnTo>
                  <a:lnTo>
                    <a:pt x="912" y="98"/>
                  </a:lnTo>
                  <a:lnTo>
                    <a:pt x="912" y="98"/>
                  </a:lnTo>
                  <a:lnTo>
                    <a:pt x="910" y="98"/>
                  </a:lnTo>
                  <a:lnTo>
                    <a:pt x="908" y="98"/>
                  </a:lnTo>
                  <a:lnTo>
                    <a:pt x="906" y="98"/>
                  </a:lnTo>
                  <a:lnTo>
                    <a:pt x="904" y="98"/>
                  </a:lnTo>
                  <a:close/>
                  <a:moveTo>
                    <a:pt x="938" y="358"/>
                  </a:moveTo>
                  <a:lnTo>
                    <a:pt x="936" y="362"/>
                  </a:lnTo>
                  <a:lnTo>
                    <a:pt x="934" y="366"/>
                  </a:lnTo>
                  <a:lnTo>
                    <a:pt x="934" y="366"/>
                  </a:lnTo>
                  <a:lnTo>
                    <a:pt x="934" y="366"/>
                  </a:lnTo>
                  <a:lnTo>
                    <a:pt x="932" y="370"/>
                  </a:lnTo>
                  <a:lnTo>
                    <a:pt x="932" y="370"/>
                  </a:lnTo>
                  <a:lnTo>
                    <a:pt x="932" y="370"/>
                  </a:lnTo>
                  <a:lnTo>
                    <a:pt x="932" y="374"/>
                  </a:lnTo>
                  <a:lnTo>
                    <a:pt x="932" y="374"/>
                  </a:lnTo>
                  <a:lnTo>
                    <a:pt x="932" y="376"/>
                  </a:lnTo>
                  <a:lnTo>
                    <a:pt x="932" y="378"/>
                  </a:lnTo>
                  <a:lnTo>
                    <a:pt x="932" y="378"/>
                  </a:lnTo>
                  <a:lnTo>
                    <a:pt x="932" y="378"/>
                  </a:lnTo>
                  <a:lnTo>
                    <a:pt x="932" y="380"/>
                  </a:lnTo>
                  <a:lnTo>
                    <a:pt x="932" y="380"/>
                  </a:lnTo>
                  <a:lnTo>
                    <a:pt x="932" y="380"/>
                  </a:lnTo>
                  <a:lnTo>
                    <a:pt x="934" y="382"/>
                  </a:lnTo>
                  <a:lnTo>
                    <a:pt x="934" y="382"/>
                  </a:lnTo>
                  <a:lnTo>
                    <a:pt x="934" y="382"/>
                  </a:lnTo>
                  <a:lnTo>
                    <a:pt x="934" y="386"/>
                  </a:lnTo>
                  <a:lnTo>
                    <a:pt x="934" y="386"/>
                  </a:lnTo>
                  <a:lnTo>
                    <a:pt x="936" y="386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38" y="388"/>
                  </a:lnTo>
                  <a:lnTo>
                    <a:pt x="940" y="388"/>
                  </a:lnTo>
                  <a:lnTo>
                    <a:pt x="940" y="388"/>
                  </a:lnTo>
                  <a:lnTo>
                    <a:pt x="942" y="388"/>
                  </a:lnTo>
                  <a:lnTo>
                    <a:pt x="944" y="390"/>
                  </a:lnTo>
                  <a:lnTo>
                    <a:pt x="944" y="390"/>
                  </a:lnTo>
                  <a:lnTo>
                    <a:pt x="944" y="390"/>
                  </a:lnTo>
                  <a:lnTo>
                    <a:pt x="948" y="390"/>
                  </a:lnTo>
                  <a:lnTo>
                    <a:pt x="954" y="388"/>
                  </a:lnTo>
                  <a:lnTo>
                    <a:pt x="956" y="388"/>
                  </a:lnTo>
                  <a:lnTo>
                    <a:pt x="960" y="388"/>
                  </a:lnTo>
                  <a:lnTo>
                    <a:pt x="960" y="388"/>
                  </a:lnTo>
                  <a:lnTo>
                    <a:pt x="962" y="388"/>
                  </a:lnTo>
                  <a:lnTo>
                    <a:pt x="962" y="386"/>
                  </a:lnTo>
                  <a:lnTo>
                    <a:pt x="962" y="386"/>
                  </a:lnTo>
                  <a:lnTo>
                    <a:pt x="962" y="386"/>
                  </a:lnTo>
                  <a:lnTo>
                    <a:pt x="964" y="384"/>
                  </a:lnTo>
                  <a:lnTo>
                    <a:pt x="964" y="382"/>
                  </a:lnTo>
                  <a:lnTo>
                    <a:pt x="966" y="380"/>
                  </a:lnTo>
                  <a:lnTo>
                    <a:pt x="966" y="378"/>
                  </a:lnTo>
                  <a:lnTo>
                    <a:pt x="968" y="374"/>
                  </a:lnTo>
                  <a:lnTo>
                    <a:pt x="970" y="368"/>
                  </a:lnTo>
                  <a:lnTo>
                    <a:pt x="972" y="360"/>
                  </a:lnTo>
                  <a:lnTo>
                    <a:pt x="972" y="358"/>
                  </a:lnTo>
                  <a:lnTo>
                    <a:pt x="972" y="354"/>
                  </a:lnTo>
                  <a:lnTo>
                    <a:pt x="972" y="352"/>
                  </a:lnTo>
                  <a:lnTo>
                    <a:pt x="972" y="352"/>
                  </a:lnTo>
                  <a:lnTo>
                    <a:pt x="972" y="350"/>
                  </a:lnTo>
                  <a:lnTo>
                    <a:pt x="972" y="350"/>
                  </a:lnTo>
                  <a:lnTo>
                    <a:pt x="970" y="348"/>
                  </a:lnTo>
                  <a:lnTo>
                    <a:pt x="970" y="348"/>
                  </a:lnTo>
                  <a:lnTo>
                    <a:pt x="970" y="348"/>
                  </a:lnTo>
                  <a:lnTo>
                    <a:pt x="970" y="346"/>
                  </a:lnTo>
                  <a:lnTo>
                    <a:pt x="968" y="346"/>
                  </a:lnTo>
                  <a:lnTo>
                    <a:pt x="968" y="346"/>
                  </a:lnTo>
                  <a:lnTo>
                    <a:pt x="966" y="346"/>
                  </a:lnTo>
                  <a:lnTo>
                    <a:pt x="960" y="344"/>
                  </a:lnTo>
                  <a:lnTo>
                    <a:pt x="954" y="344"/>
                  </a:lnTo>
                  <a:lnTo>
                    <a:pt x="950" y="344"/>
                  </a:lnTo>
                  <a:lnTo>
                    <a:pt x="944" y="344"/>
                  </a:lnTo>
                  <a:lnTo>
                    <a:pt x="944" y="344"/>
                  </a:lnTo>
                  <a:lnTo>
                    <a:pt x="942" y="344"/>
                  </a:lnTo>
                  <a:lnTo>
                    <a:pt x="942" y="344"/>
                  </a:lnTo>
                  <a:lnTo>
                    <a:pt x="940" y="346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48"/>
                  </a:lnTo>
                  <a:lnTo>
                    <a:pt x="940" y="350"/>
                  </a:lnTo>
                  <a:lnTo>
                    <a:pt x="942" y="350"/>
                  </a:lnTo>
                  <a:lnTo>
                    <a:pt x="942" y="352"/>
                  </a:lnTo>
                  <a:lnTo>
                    <a:pt x="942" y="352"/>
                  </a:lnTo>
                  <a:lnTo>
                    <a:pt x="940" y="354"/>
                  </a:lnTo>
                  <a:lnTo>
                    <a:pt x="938" y="358"/>
                  </a:lnTo>
                  <a:close/>
                  <a:moveTo>
                    <a:pt x="870" y="536"/>
                  </a:moveTo>
                  <a:lnTo>
                    <a:pt x="870" y="534"/>
                  </a:lnTo>
                  <a:lnTo>
                    <a:pt x="870" y="534"/>
                  </a:lnTo>
                  <a:lnTo>
                    <a:pt x="870" y="534"/>
                  </a:lnTo>
                  <a:lnTo>
                    <a:pt x="868" y="534"/>
                  </a:lnTo>
                  <a:lnTo>
                    <a:pt x="868" y="534"/>
                  </a:lnTo>
                  <a:lnTo>
                    <a:pt x="868" y="532"/>
                  </a:lnTo>
                  <a:lnTo>
                    <a:pt x="866" y="532"/>
                  </a:lnTo>
                  <a:lnTo>
                    <a:pt x="866" y="532"/>
                  </a:lnTo>
                  <a:lnTo>
                    <a:pt x="866" y="532"/>
                  </a:lnTo>
                  <a:lnTo>
                    <a:pt x="864" y="532"/>
                  </a:lnTo>
                  <a:lnTo>
                    <a:pt x="860" y="532"/>
                  </a:lnTo>
                  <a:lnTo>
                    <a:pt x="856" y="532"/>
                  </a:lnTo>
                  <a:lnTo>
                    <a:pt x="850" y="532"/>
                  </a:lnTo>
                  <a:lnTo>
                    <a:pt x="848" y="532"/>
                  </a:lnTo>
                  <a:lnTo>
                    <a:pt x="844" y="532"/>
                  </a:lnTo>
                  <a:lnTo>
                    <a:pt x="842" y="534"/>
                  </a:lnTo>
                  <a:lnTo>
                    <a:pt x="842" y="534"/>
                  </a:lnTo>
                  <a:lnTo>
                    <a:pt x="840" y="534"/>
                  </a:lnTo>
                  <a:lnTo>
                    <a:pt x="836" y="540"/>
                  </a:lnTo>
                  <a:lnTo>
                    <a:pt x="836" y="544"/>
                  </a:lnTo>
                  <a:lnTo>
                    <a:pt x="836" y="546"/>
                  </a:lnTo>
                  <a:lnTo>
                    <a:pt x="836" y="546"/>
                  </a:lnTo>
                  <a:lnTo>
                    <a:pt x="836" y="546"/>
                  </a:lnTo>
                  <a:lnTo>
                    <a:pt x="836" y="550"/>
                  </a:lnTo>
                  <a:lnTo>
                    <a:pt x="836" y="550"/>
                  </a:lnTo>
                  <a:lnTo>
                    <a:pt x="836" y="550"/>
                  </a:lnTo>
                  <a:lnTo>
                    <a:pt x="836" y="552"/>
                  </a:lnTo>
                  <a:lnTo>
                    <a:pt x="836" y="552"/>
                  </a:lnTo>
                  <a:lnTo>
                    <a:pt x="838" y="554"/>
                  </a:lnTo>
                  <a:lnTo>
                    <a:pt x="840" y="554"/>
                  </a:lnTo>
                  <a:lnTo>
                    <a:pt x="840" y="554"/>
                  </a:lnTo>
                  <a:lnTo>
                    <a:pt x="840" y="554"/>
                  </a:lnTo>
                  <a:lnTo>
                    <a:pt x="844" y="556"/>
                  </a:lnTo>
                  <a:lnTo>
                    <a:pt x="844" y="556"/>
                  </a:lnTo>
                  <a:lnTo>
                    <a:pt x="844" y="556"/>
                  </a:lnTo>
                  <a:lnTo>
                    <a:pt x="846" y="556"/>
                  </a:lnTo>
                  <a:lnTo>
                    <a:pt x="850" y="556"/>
                  </a:lnTo>
                  <a:lnTo>
                    <a:pt x="854" y="556"/>
                  </a:lnTo>
                  <a:lnTo>
                    <a:pt x="858" y="556"/>
                  </a:lnTo>
                  <a:lnTo>
                    <a:pt x="860" y="554"/>
                  </a:lnTo>
                  <a:lnTo>
                    <a:pt x="860" y="554"/>
                  </a:lnTo>
                  <a:lnTo>
                    <a:pt x="862" y="554"/>
                  </a:lnTo>
                  <a:lnTo>
                    <a:pt x="864" y="554"/>
                  </a:lnTo>
                  <a:lnTo>
                    <a:pt x="864" y="554"/>
                  </a:lnTo>
                  <a:lnTo>
                    <a:pt x="864" y="554"/>
                  </a:lnTo>
                  <a:lnTo>
                    <a:pt x="866" y="552"/>
                  </a:lnTo>
                  <a:lnTo>
                    <a:pt x="866" y="552"/>
                  </a:lnTo>
                  <a:lnTo>
                    <a:pt x="868" y="550"/>
                  </a:lnTo>
                  <a:lnTo>
                    <a:pt x="870" y="548"/>
                  </a:lnTo>
                  <a:lnTo>
                    <a:pt x="870" y="548"/>
                  </a:lnTo>
                  <a:lnTo>
                    <a:pt x="870" y="548"/>
                  </a:lnTo>
                  <a:lnTo>
                    <a:pt x="872" y="544"/>
                  </a:lnTo>
                  <a:lnTo>
                    <a:pt x="872" y="544"/>
                  </a:lnTo>
                  <a:lnTo>
                    <a:pt x="872" y="542"/>
                  </a:lnTo>
                  <a:lnTo>
                    <a:pt x="872" y="542"/>
                  </a:lnTo>
                  <a:lnTo>
                    <a:pt x="872" y="542"/>
                  </a:lnTo>
                  <a:lnTo>
                    <a:pt x="872" y="540"/>
                  </a:lnTo>
                  <a:lnTo>
                    <a:pt x="872" y="538"/>
                  </a:lnTo>
                  <a:lnTo>
                    <a:pt x="872" y="538"/>
                  </a:lnTo>
                  <a:lnTo>
                    <a:pt x="872" y="538"/>
                  </a:lnTo>
                  <a:lnTo>
                    <a:pt x="872" y="536"/>
                  </a:lnTo>
                  <a:lnTo>
                    <a:pt x="872" y="536"/>
                  </a:lnTo>
                  <a:lnTo>
                    <a:pt x="870" y="536"/>
                  </a:lnTo>
                  <a:lnTo>
                    <a:pt x="870" y="536"/>
                  </a:lnTo>
                  <a:close/>
                  <a:moveTo>
                    <a:pt x="890" y="574"/>
                  </a:moveTo>
                  <a:lnTo>
                    <a:pt x="890" y="574"/>
                  </a:lnTo>
                  <a:lnTo>
                    <a:pt x="892" y="574"/>
                  </a:lnTo>
                  <a:lnTo>
                    <a:pt x="892" y="574"/>
                  </a:lnTo>
                  <a:lnTo>
                    <a:pt x="892" y="574"/>
                  </a:lnTo>
                  <a:lnTo>
                    <a:pt x="894" y="574"/>
                  </a:lnTo>
                  <a:lnTo>
                    <a:pt x="896" y="576"/>
                  </a:lnTo>
                  <a:lnTo>
                    <a:pt x="898" y="576"/>
                  </a:lnTo>
                  <a:lnTo>
                    <a:pt x="898" y="576"/>
                  </a:lnTo>
                  <a:lnTo>
                    <a:pt x="900" y="576"/>
                  </a:lnTo>
                  <a:lnTo>
                    <a:pt x="902" y="576"/>
                  </a:lnTo>
                  <a:lnTo>
                    <a:pt x="902" y="576"/>
                  </a:lnTo>
                  <a:lnTo>
                    <a:pt x="902" y="576"/>
                  </a:lnTo>
                  <a:lnTo>
                    <a:pt x="904" y="574"/>
                  </a:lnTo>
                  <a:lnTo>
                    <a:pt x="904" y="574"/>
                  </a:lnTo>
                  <a:lnTo>
                    <a:pt x="906" y="574"/>
                  </a:lnTo>
                  <a:lnTo>
                    <a:pt x="908" y="570"/>
                  </a:lnTo>
                  <a:lnTo>
                    <a:pt x="908" y="570"/>
                  </a:lnTo>
                  <a:lnTo>
                    <a:pt x="910" y="570"/>
                  </a:lnTo>
                  <a:lnTo>
                    <a:pt x="910" y="566"/>
                  </a:lnTo>
                  <a:lnTo>
                    <a:pt x="910" y="566"/>
                  </a:lnTo>
                  <a:lnTo>
                    <a:pt x="910" y="564"/>
                  </a:lnTo>
                  <a:lnTo>
                    <a:pt x="912" y="560"/>
                  </a:lnTo>
                  <a:lnTo>
                    <a:pt x="912" y="560"/>
                  </a:lnTo>
                  <a:lnTo>
                    <a:pt x="912" y="560"/>
                  </a:lnTo>
                  <a:lnTo>
                    <a:pt x="910" y="556"/>
                  </a:lnTo>
                  <a:lnTo>
                    <a:pt x="910" y="556"/>
                  </a:lnTo>
                  <a:lnTo>
                    <a:pt x="910" y="554"/>
                  </a:lnTo>
                  <a:lnTo>
                    <a:pt x="908" y="550"/>
                  </a:lnTo>
                  <a:lnTo>
                    <a:pt x="908" y="550"/>
                  </a:lnTo>
                  <a:lnTo>
                    <a:pt x="908" y="550"/>
                  </a:lnTo>
                  <a:lnTo>
                    <a:pt x="904" y="546"/>
                  </a:lnTo>
                  <a:lnTo>
                    <a:pt x="904" y="546"/>
                  </a:lnTo>
                  <a:lnTo>
                    <a:pt x="904" y="546"/>
                  </a:lnTo>
                  <a:lnTo>
                    <a:pt x="902" y="544"/>
                  </a:lnTo>
                  <a:lnTo>
                    <a:pt x="902" y="544"/>
                  </a:lnTo>
                  <a:lnTo>
                    <a:pt x="902" y="544"/>
                  </a:lnTo>
                  <a:lnTo>
                    <a:pt x="898" y="544"/>
                  </a:lnTo>
                  <a:lnTo>
                    <a:pt x="898" y="544"/>
                  </a:lnTo>
                  <a:lnTo>
                    <a:pt x="896" y="544"/>
                  </a:lnTo>
                  <a:lnTo>
                    <a:pt x="896" y="544"/>
                  </a:lnTo>
                  <a:lnTo>
                    <a:pt x="896" y="546"/>
                  </a:lnTo>
                  <a:lnTo>
                    <a:pt x="894" y="548"/>
                  </a:lnTo>
                  <a:lnTo>
                    <a:pt x="894" y="550"/>
                  </a:lnTo>
                  <a:lnTo>
                    <a:pt x="894" y="552"/>
                  </a:lnTo>
                  <a:lnTo>
                    <a:pt x="892" y="554"/>
                  </a:lnTo>
                  <a:lnTo>
                    <a:pt x="892" y="554"/>
                  </a:lnTo>
                  <a:lnTo>
                    <a:pt x="892" y="556"/>
                  </a:lnTo>
                  <a:lnTo>
                    <a:pt x="892" y="560"/>
                  </a:lnTo>
                  <a:lnTo>
                    <a:pt x="892" y="562"/>
                  </a:lnTo>
                  <a:lnTo>
                    <a:pt x="892" y="562"/>
                  </a:lnTo>
                  <a:lnTo>
                    <a:pt x="890" y="564"/>
                  </a:lnTo>
                  <a:lnTo>
                    <a:pt x="890" y="566"/>
                  </a:lnTo>
                  <a:lnTo>
                    <a:pt x="890" y="566"/>
                  </a:lnTo>
                  <a:lnTo>
                    <a:pt x="890" y="566"/>
                  </a:lnTo>
                  <a:lnTo>
                    <a:pt x="890" y="568"/>
                  </a:lnTo>
                  <a:lnTo>
                    <a:pt x="890" y="568"/>
                  </a:lnTo>
                  <a:lnTo>
                    <a:pt x="888" y="570"/>
                  </a:lnTo>
                  <a:lnTo>
                    <a:pt x="890" y="570"/>
                  </a:lnTo>
                  <a:lnTo>
                    <a:pt x="890" y="570"/>
                  </a:lnTo>
                  <a:lnTo>
                    <a:pt x="890" y="572"/>
                  </a:lnTo>
                  <a:lnTo>
                    <a:pt x="890" y="574"/>
                  </a:lnTo>
                  <a:close/>
                  <a:moveTo>
                    <a:pt x="884" y="626"/>
                  </a:moveTo>
                  <a:lnTo>
                    <a:pt x="884" y="626"/>
                  </a:lnTo>
                  <a:lnTo>
                    <a:pt x="884" y="626"/>
                  </a:lnTo>
                  <a:lnTo>
                    <a:pt x="882" y="628"/>
                  </a:lnTo>
                  <a:lnTo>
                    <a:pt x="882" y="628"/>
                  </a:lnTo>
                  <a:lnTo>
                    <a:pt x="882" y="628"/>
                  </a:lnTo>
                  <a:lnTo>
                    <a:pt x="880" y="632"/>
                  </a:lnTo>
                  <a:lnTo>
                    <a:pt x="880" y="632"/>
                  </a:lnTo>
                  <a:lnTo>
                    <a:pt x="880" y="632"/>
                  </a:lnTo>
                  <a:lnTo>
                    <a:pt x="880" y="634"/>
                  </a:lnTo>
                  <a:lnTo>
                    <a:pt x="880" y="634"/>
                  </a:lnTo>
                  <a:lnTo>
                    <a:pt x="880" y="636"/>
                  </a:lnTo>
                  <a:lnTo>
                    <a:pt x="880" y="638"/>
                  </a:lnTo>
                  <a:lnTo>
                    <a:pt x="880" y="642"/>
                  </a:lnTo>
                  <a:lnTo>
                    <a:pt x="882" y="646"/>
                  </a:lnTo>
                  <a:lnTo>
                    <a:pt x="882" y="650"/>
                  </a:lnTo>
                  <a:lnTo>
                    <a:pt x="882" y="650"/>
                  </a:lnTo>
                  <a:lnTo>
                    <a:pt x="884" y="652"/>
                  </a:lnTo>
                  <a:lnTo>
                    <a:pt x="884" y="652"/>
                  </a:lnTo>
                  <a:lnTo>
                    <a:pt x="886" y="652"/>
                  </a:lnTo>
                  <a:lnTo>
                    <a:pt x="890" y="652"/>
                  </a:lnTo>
                  <a:lnTo>
                    <a:pt x="890" y="652"/>
                  </a:lnTo>
                  <a:lnTo>
                    <a:pt x="892" y="652"/>
                  </a:lnTo>
                  <a:lnTo>
                    <a:pt x="894" y="648"/>
                  </a:lnTo>
                  <a:lnTo>
                    <a:pt x="894" y="648"/>
                  </a:lnTo>
                  <a:lnTo>
                    <a:pt x="896" y="648"/>
                  </a:lnTo>
                  <a:lnTo>
                    <a:pt x="896" y="646"/>
                  </a:lnTo>
                  <a:lnTo>
                    <a:pt x="896" y="646"/>
                  </a:lnTo>
                  <a:lnTo>
                    <a:pt x="898" y="644"/>
                  </a:lnTo>
                  <a:lnTo>
                    <a:pt x="898" y="640"/>
                  </a:lnTo>
                  <a:lnTo>
                    <a:pt x="898" y="640"/>
                  </a:lnTo>
                  <a:lnTo>
                    <a:pt x="898" y="640"/>
                  </a:lnTo>
                  <a:lnTo>
                    <a:pt x="898" y="636"/>
                  </a:lnTo>
                  <a:lnTo>
                    <a:pt x="898" y="636"/>
                  </a:lnTo>
                  <a:lnTo>
                    <a:pt x="898" y="636"/>
                  </a:lnTo>
                  <a:lnTo>
                    <a:pt x="896" y="632"/>
                  </a:lnTo>
                  <a:lnTo>
                    <a:pt x="896" y="632"/>
                  </a:lnTo>
                  <a:lnTo>
                    <a:pt x="896" y="632"/>
                  </a:lnTo>
                  <a:lnTo>
                    <a:pt x="894" y="628"/>
                  </a:lnTo>
                  <a:lnTo>
                    <a:pt x="894" y="628"/>
                  </a:lnTo>
                  <a:lnTo>
                    <a:pt x="894" y="628"/>
                  </a:lnTo>
                  <a:lnTo>
                    <a:pt x="892" y="624"/>
                  </a:lnTo>
                  <a:lnTo>
                    <a:pt x="892" y="624"/>
                  </a:lnTo>
                  <a:lnTo>
                    <a:pt x="890" y="622"/>
                  </a:lnTo>
                  <a:lnTo>
                    <a:pt x="890" y="622"/>
                  </a:lnTo>
                  <a:lnTo>
                    <a:pt x="888" y="622"/>
                  </a:lnTo>
                  <a:lnTo>
                    <a:pt x="884" y="626"/>
                  </a:lnTo>
                  <a:close/>
                  <a:moveTo>
                    <a:pt x="892" y="732"/>
                  </a:moveTo>
                  <a:lnTo>
                    <a:pt x="892" y="734"/>
                  </a:lnTo>
                  <a:lnTo>
                    <a:pt x="892" y="736"/>
                  </a:lnTo>
                  <a:lnTo>
                    <a:pt x="892" y="738"/>
                  </a:lnTo>
                  <a:lnTo>
                    <a:pt x="892" y="738"/>
                  </a:lnTo>
                  <a:lnTo>
                    <a:pt x="894" y="740"/>
                  </a:lnTo>
                  <a:lnTo>
                    <a:pt x="898" y="742"/>
                  </a:lnTo>
                  <a:lnTo>
                    <a:pt x="902" y="744"/>
                  </a:lnTo>
                  <a:lnTo>
                    <a:pt x="904" y="744"/>
                  </a:lnTo>
                  <a:lnTo>
                    <a:pt x="904" y="744"/>
                  </a:lnTo>
                  <a:lnTo>
                    <a:pt x="906" y="744"/>
                  </a:lnTo>
                  <a:lnTo>
                    <a:pt x="908" y="746"/>
                  </a:lnTo>
                  <a:lnTo>
                    <a:pt x="908" y="746"/>
                  </a:lnTo>
                  <a:lnTo>
                    <a:pt x="908" y="744"/>
                  </a:lnTo>
                  <a:lnTo>
                    <a:pt x="910" y="744"/>
                  </a:lnTo>
                  <a:lnTo>
                    <a:pt x="910" y="744"/>
                  </a:lnTo>
                  <a:lnTo>
                    <a:pt x="912" y="742"/>
                  </a:lnTo>
                  <a:lnTo>
                    <a:pt x="912" y="740"/>
                  </a:lnTo>
                  <a:lnTo>
                    <a:pt x="912" y="740"/>
                  </a:lnTo>
                  <a:lnTo>
                    <a:pt x="912" y="740"/>
                  </a:lnTo>
                  <a:lnTo>
                    <a:pt x="914" y="736"/>
                  </a:lnTo>
                  <a:lnTo>
                    <a:pt x="914" y="734"/>
                  </a:lnTo>
                  <a:lnTo>
                    <a:pt x="914" y="732"/>
                  </a:lnTo>
                  <a:lnTo>
                    <a:pt x="916" y="732"/>
                  </a:lnTo>
                  <a:lnTo>
                    <a:pt x="918" y="730"/>
                  </a:lnTo>
                  <a:lnTo>
                    <a:pt x="920" y="728"/>
                  </a:lnTo>
                  <a:lnTo>
                    <a:pt x="924" y="726"/>
                  </a:lnTo>
                  <a:lnTo>
                    <a:pt x="928" y="722"/>
                  </a:lnTo>
                  <a:lnTo>
                    <a:pt x="930" y="720"/>
                  </a:lnTo>
                  <a:lnTo>
                    <a:pt x="932" y="718"/>
                  </a:lnTo>
                  <a:lnTo>
                    <a:pt x="932" y="716"/>
                  </a:lnTo>
                  <a:lnTo>
                    <a:pt x="932" y="716"/>
                  </a:lnTo>
                  <a:lnTo>
                    <a:pt x="934" y="714"/>
                  </a:lnTo>
                  <a:lnTo>
                    <a:pt x="934" y="714"/>
                  </a:lnTo>
                  <a:lnTo>
                    <a:pt x="934" y="714"/>
                  </a:lnTo>
                  <a:lnTo>
                    <a:pt x="934" y="712"/>
                  </a:lnTo>
                  <a:lnTo>
                    <a:pt x="934" y="710"/>
                  </a:lnTo>
                  <a:lnTo>
                    <a:pt x="934" y="710"/>
                  </a:lnTo>
                  <a:lnTo>
                    <a:pt x="934" y="710"/>
                  </a:lnTo>
                  <a:lnTo>
                    <a:pt x="934" y="708"/>
                  </a:lnTo>
                  <a:lnTo>
                    <a:pt x="934" y="708"/>
                  </a:lnTo>
                  <a:lnTo>
                    <a:pt x="932" y="708"/>
                  </a:lnTo>
                  <a:lnTo>
                    <a:pt x="932" y="706"/>
                  </a:lnTo>
                  <a:lnTo>
                    <a:pt x="932" y="706"/>
                  </a:lnTo>
                  <a:lnTo>
                    <a:pt x="930" y="706"/>
                  </a:lnTo>
                  <a:lnTo>
                    <a:pt x="928" y="704"/>
                  </a:lnTo>
                  <a:lnTo>
                    <a:pt x="928" y="704"/>
                  </a:lnTo>
                  <a:lnTo>
                    <a:pt x="928" y="704"/>
                  </a:lnTo>
                  <a:lnTo>
                    <a:pt x="920" y="704"/>
                  </a:lnTo>
                  <a:lnTo>
                    <a:pt x="912" y="704"/>
                  </a:lnTo>
                  <a:lnTo>
                    <a:pt x="904" y="704"/>
                  </a:lnTo>
                  <a:lnTo>
                    <a:pt x="898" y="704"/>
                  </a:lnTo>
                  <a:lnTo>
                    <a:pt x="898" y="704"/>
                  </a:lnTo>
                  <a:lnTo>
                    <a:pt x="896" y="704"/>
                  </a:lnTo>
                  <a:lnTo>
                    <a:pt x="894" y="706"/>
                  </a:lnTo>
                  <a:lnTo>
                    <a:pt x="894" y="710"/>
                  </a:lnTo>
                  <a:lnTo>
                    <a:pt x="894" y="714"/>
                  </a:lnTo>
                  <a:lnTo>
                    <a:pt x="894" y="718"/>
                  </a:lnTo>
                  <a:lnTo>
                    <a:pt x="892" y="720"/>
                  </a:lnTo>
                  <a:lnTo>
                    <a:pt x="892" y="722"/>
                  </a:lnTo>
                  <a:lnTo>
                    <a:pt x="892" y="724"/>
                  </a:lnTo>
                  <a:lnTo>
                    <a:pt x="892" y="726"/>
                  </a:lnTo>
                  <a:lnTo>
                    <a:pt x="892" y="728"/>
                  </a:lnTo>
                  <a:lnTo>
                    <a:pt x="892" y="730"/>
                  </a:lnTo>
                  <a:lnTo>
                    <a:pt x="892" y="732"/>
                  </a:lnTo>
                  <a:close/>
                  <a:moveTo>
                    <a:pt x="1166" y="894"/>
                  </a:moveTo>
                  <a:lnTo>
                    <a:pt x="1166" y="894"/>
                  </a:lnTo>
                  <a:lnTo>
                    <a:pt x="1166" y="894"/>
                  </a:lnTo>
                  <a:lnTo>
                    <a:pt x="1164" y="894"/>
                  </a:lnTo>
                  <a:lnTo>
                    <a:pt x="1164" y="894"/>
                  </a:lnTo>
                  <a:lnTo>
                    <a:pt x="1162" y="894"/>
                  </a:lnTo>
                  <a:lnTo>
                    <a:pt x="1162" y="892"/>
                  </a:lnTo>
                  <a:lnTo>
                    <a:pt x="1162" y="892"/>
                  </a:lnTo>
                  <a:lnTo>
                    <a:pt x="1160" y="892"/>
                  </a:lnTo>
                  <a:lnTo>
                    <a:pt x="1158" y="890"/>
                  </a:lnTo>
                  <a:lnTo>
                    <a:pt x="1156" y="888"/>
                  </a:lnTo>
                  <a:lnTo>
                    <a:pt x="1154" y="886"/>
                  </a:lnTo>
                  <a:lnTo>
                    <a:pt x="1152" y="884"/>
                  </a:lnTo>
                  <a:lnTo>
                    <a:pt x="1150" y="882"/>
                  </a:lnTo>
                  <a:lnTo>
                    <a:pt x="1148" y="880"/>
                  </a:lnTo>
                  <a:lnTo>
                    <a:pt x="1144" y="876"/>
                  </a:lnTo>
                  <a:lnTo>
                    <a:pt x="1144" y="876"/>
                  </a:lnTo>
                  <a:lnTo>
                    <a:pt x="1144" y="876"/>
                  </a:lnTo>
                  <a:lnTo>
                    <a:pt x="1142" y="876"/>
                  </a:lnTo>
                  <a:lnTo>
                    <a:pt x="1142" y="876"/>
                  </a:lnTo>
                  <a:lnTo>
                    <a:pt x="1140" y="876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8" y="874"/>
                  </a:lnTo>
                  <a:lnTo>
                    <a:pt x="1134" y="876"/>
                  </a:lnTo>
                  <a:lnTo>
                    <a:pt x="1132" y="876"/>
                  </a:lnTo>
                  <a:lnTo>
                    <a:pt x="1130" y="878"/>
                  </a:lnTo>
                  <a:lnTo>
                    <a:pt x="1128" y="878"/>
                  </a:lnTo>
                  <a:lnTo>
                    <a:pt x="1124" y="880"/>
                  </a:lnTo>
                  <a:lnTo>
                    <a:pt x="1124" y="880"/>
                  </a:lnTo>
                  <a:lnTo>
                    <a:pt x="1124" y="882"/>
                  </a:lnTo>
                  <a:lnTo>
                    <a:pt x="1124" y="882"/>
                  </a:lnTo>
                  <a:lnTo>
                    <a:pt x="1124" y="884"/>
                  </a:lnTo>
                  <a:lnTo>
                    <a:pt x="1128" y="888"/>
                  </a:lnTo>
                  <a:lnTo>
                    <a:pt x="1130" y="890"/>
                  </a:lnTo>
                  <a:lnTo>
                    <a:pt x="1136" y="894"/>
                  </a:lnTo>
                  <a:lnTo>
                    <a:pt x="1138" y="894"/>
                  </a:lnTo>
                  <a:lnTo>
                    <a:pt x="1138" y="896"/>
                  </a:lnTo>
                  <a:lnTo>
                    <a:pt x="1138" y="896"/>
                  </a:lnTo>
                  <a:lnTo>
                    <a:pt x="1138" y="896"/>
                  </a:lnTo>
                  <a:lnTo>
                    <a:pt x="1140" y="898"/>
                  </a:lnTo>
                  <a:lnTo>
                    <a:pt x="1140" y="898"/>
                  </a:lnTo>
                  <a:lnTo>
                    <a:pt x="1140" y="898"/>
                  </a:lnTo>
                  <a:lnTo>
                    <a:pt x="1142" y="900"/>
                  </a:lnTo>
                  <a:lnTo>
                    <a:pt x="1142" y="900"/>
                  </a:lnTo>
                  <a:lnTo>
                    <a:pt x="1142" y="900"/>
                  </a:lnTo>
                  <a:lnTo>
                    <a:pt x="1146" y="900"/>
                  </a:lnTo>
                  <a:lnTo>
                    <a:pt x="1148" y="900"/>
                  </a:lnTo>
                  <a:lnTo>
                    <a:pt x="1150" y="902"/>
                  </a:lnTo>
                  <a:lnTo>
                    <a:pt x="1150" y="902"/>
                  </a:lnTo>
                  <a:lnTo>
                    <a:pt x="1150" y="902"/>
                  </a:lnTo>
                  <a:lnTo>
                    <a:pt x="1158" y="902"/>
                  </a:lnTo>
                  <a:lnTo>
                    <a:pt x="1164" y="900"/>
                  </a:lnTo>
                  <a:lnTo>
                    <a:pt x="1164" y="900"/>
                  </a:lnTo>
                  <a:lnTo>
                    <a:pt x="1166" y="900"/>
                  </a:lnTo>
                  <a:lnTo>
                    <a:pt x="1166" y="898"/>
                  </a:lnTo>
                  <a:lnTo>
                    <a:pt x="1166" y="898"/>
                  </a:lnTo>
                  <a:lnTo>
                    <a:pt x="1168" y="898"/>
                  </a:lnTo>
                  <a:lnTo>
                    <a:pt x="1168" y="896"/>
                  </a:lnTo>
                  <a:lnTo>
                    <a:pt x="1166" y="896"/>
                  </a:lnTo>
                  <a:lnTo>
                    <a:pt x="1166" y="896"/>
                  </a:lnTo>
                  <a:lnTo>
                    <a:pt x="1166" y="894"/>
                  </a:lnTo>
                  <a:lnTo>
                    <a:pt x="1166" y="894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2" name="Freeform 27"/>
            <p:cNvSpPr>
              <a:spLocks noEditPoints="1"/>
            </p:cNvSpPr>
            <p:nvPr/>
          </p:nvSpPr>
          <p:spPr bwMode="auto">
            <a:xfrm>
              <a:off x="38941" y="1797108"/>
              <a:ext cx="2749367" cy="2016581"/>
            </a:xfrm>
            <a:custGeom>
              <a:avLst/>
              <a:gdLst>
                <a:gd name="T0" fmla="*/ 300 w 1672"/>
                <a:gd name="T1" fmla="*/ 1176 h 1238"/>
                <a:gd name="T2" fmla="*/ 310 w 1672"/>
                <a:gd name="T3" fmla="*/ 1196 h 1238"/>
                <a:gd name="T4" fmla="*/ 356 w 1672"/>
                <a:gd name="T5" fmla="*/ 1236 h 1238"/>
                <a:gd name="T6" fmla="*/ 1656 w 1672"/>
                <a:gd name="T7" fmla="*/ 728 h 1238"/>
                <a:gd name="T8" fmla="*/ 1628 w 1672"/>
                <a:gd name="T9" fmla="*/ 750 h 1238"/>
                <a:gd name="T10" fmla="*/ 1532 w 1672"/>
                <a:gd name="T11" fmla="*/ 788 h 1238"/>
                <a:gd name="T12" fmla="*/ 1432 w 1672"/>
                <a:gd name="T13" fmla="*/ 848 h 1238"/>
                <a:gd name="T14" fmla="*/ 1432 w 1672"/>
                <a:gd name="T15" fmla="*/ 796 h 1238"/>
                <a:gd name="T16" fmla="*/ 1410 w 1672"/>
                <a:gd name="T17" fmla="*/ 758 h 1238"/>
                <a:gd name="T18" fmla="*/ 1366 w 1672"/>
                <a:gd name="T19" fmla="*/ 840 h 1238"/>
                <a:gd name="T20" fmla="*/ 1400 w 1672"/>
                <a:gd name="T21" fmla="*/ 746 h 1238"/>
                <a:gd name="T22" fmla="*/ 1324 w 1672"/>
                <a:gd name="T23" fmla="*/ 722 h 1238"/>
                <a:gd name="T24" fmla="*/ 1238 w 1672"/>
                <a:gd name="T25" fmla="*/ 702 h 1238"/>
                <a:gd name="T26" fmla="*/ 860 w 1672"/>
                <a:gd name="T27" fmla="*/ 704 h 1238"/>
                <a:gd name="T28" fmla="*/ 814 w 1672"/>
                <a:gd name="T29" fmla="*/ 738 h 1238"/>
                <a:gd name="T30" fmla="*/ 886 w 1672"/>
                <a:gd name="T31" fmla="*/ 992 h 1238"/>
                <a:gd name="T32" fmla="*/ 954 w 1672"/>
                <a:gd name="T33" fmla="*/ 1004 h 1238"/>
                <a:gd name="T34" fmla="*/ 1052 w 1672"/>
                <a:gd name="T35" fmla="*/ 1034 h 1238"/>
                <a:gd name="T36" fmla="*/ 1130 w 1672"/>
                <a:gd name="T37" fmla="*/ 1068 h 1238"/>
                <a:gd name="T38" fmla="*/ 1184 w 1672"/>
                <a:gd name="T39" fmla="*/ 1116 h 1238"/>
                <a:gd name="T40" fmla="*/ 1246 w 1672"/>
                <a:gd name="T41" fmla="*/ 1072 h 1238"/>
                <a:gd name="T42" fmla="*/ 1350 w 1672"/>
                <a:gd name="T43" fmla="*/ 1056 h 1238"/>
                <a:gd name="T44" fmla="*/ 1412 w 1672"/>
                <a:gd name="T45" fmla="*/ 1056 h 1238"/>
                <a:gd name="T46" fmla="*/ 1466 w 1672"/>
                <a:gd name="T47" fmla="*/ 1138 h 1238"/>
                <a:gd name="T48" fmla="*/ 1452 w 1672"/>
                <a:gd name="T49" fmla="*/ 1036 h 1238"/>
                <a:gd name="T50" fmla="*/ 1546 w 1672"/>
                <a:gd name="T51" fmla="*/ 912 h 1238"/>
                <a:gd name="T52" fmla="*/ 1632 w 1672"/>
                <a:gd name="T53" fmla="*/ 848 h 1238"/>
                <a:gd name="T54" fmla="*/ 1640 w 1672"/>
                <a:gd name="T55" fmla="*/ 796 h 1238"/>
                <a:gd name="T56" fmla="*/ 678 w 1672"/>
                <a:gd name="T57" fmla="*/ 506 h 1238"/>
                <a:gd name="T58" fmla="*/ 622 w 1672"/>
                <a:gd name="T59" fmla="*/ 436 h 1238"/>
                <a:gd name="T60" fmla="*/ 582 w 1672"/>
                <a:gd name="T61" fmla="*/ 430 h 1238"/>
                <a:gd name="T62" fmla="*/ 572 w 1672"/>
                <a:gd name="T63" fmla="*/ 324 h 1238"/>
                <a:gd name="T64" fmla="*/ 576 w 1672"/>
                <a:gd name="T65" fmla="*/ 66 h 1238"/>
                <a:gd name="T66" fmla="*/ 458 w 1672"/>
                <a:gd name="T67" fmla="*/ 38 h 1238"/>
                <a:gd name="T68" fmla="*/ 388 w 1672"/>
                <a:gd name="T69" fmla="*/ 22 h 1238"/>
                <a:gd name="T70" fmla="*/ 356 w 1672"/>
                <a:gd name="T71" fmla="*/ 2 h 1238"/>
                <a:gd name="T72" fmla="*/ 300 w 1672"/>
                <a:gd name="T73" fmla="*/ 26 h 1238"/>
                <a:gd name="T74" fmla="*/ 256 w 1672"/>
                <a:gd name="T75" fmla="*/ 54 h 1238"/>
                <a:gd name="T76" fmla="*/ 194 w 1672"/>
                <a:gd name="T77" fmla="*/ 118 h 1238"/>
                <a:gd name="T78" fmla="*/ 228 w 1672"/>
                <a:gd name="T79" fmla="*/ 180 h 1238"/>
                <a:gd name="T80" fmla="*/ 238 w 1672"/>
                <a:gd name="T81" fmla="*/ 222 h 1238"/>
                <a:gd name="T82" fmla="*/ 166 w 1672"/>
                <a:gd name="T83" fmla="*/ 236 h 1238"/>
                <a:gd name="T84" fmla="*/ 204 w 1672"/>
                <a:gd name="T85" fmla="*/ 276 h 1238"/>
                <a:gd name="T86" fmla="*/ 274 w 1672"/>
                <a:gd name="T87" fmla="*/ 306 h 1238"/>
                <a:gd name="T88" fmla="*/ 206 w 1672"/>
                <a:gd name="T89" fmla="*/ 378 h 1238"/>
                <a:gd name="T90" fmla="*/ 210 w 1672"/>
                <a:gd name="T91" fmla="*/ 406 h 1238"/>
                <a:gd name="T92" fmla="*/ 252 w 1672"/>
                <a:gd name="T93" fmla="*/ 448 h 1238"/>
                <a:gd name="T94" fmla="*/ 304 w 1672"/>
                <a:gd name="T95" fmla="*/ 464 h 1238"/>
                <a:gd name="T96" fmla="*/ 274 w 1672"/>
                <a:gd name="T97" fmla="*/ 516 h 1238"/>
                <a:gd name="T98" fmla="*/ 160 w 1672"/>
                <a:gd name="T99" fmla="*/ 580 h 1238"/>
                <a:gd name="T100" fmla="*/ 28 w 1672"/>
                <a:gd name="T101" fmla="*/ 616 h 1238"/>
                <a:gd name="T102" fmla="*/ 116 w 1672"/>
                <a:gd name="T103" fmla="*/ 614 h 1238"/>
                <a:gd name="T104" fmla="*/ 196 w 1672"/>
                <a:gd name="T105" fmla="*/ 594 h 1238"/>
                <a:gd name="T106" fmla="*/ 386 w 1672"/>
                <a:gd name="T107" fmla="*/ 442 h 1238"/>
                <a:gd name="T108" fmla="*/ 382 w 1672"/>
                <a:gd name="T109" fmla="*/ 474 h 1238"/>
                <a:gd name="T110" fmla="*/ 488 w 1672"/>
                <a:gd name="T111" fmla="*/ 414 h 1238"/>
                <a:gd name="T112" fmla="*/ 538 w 1672"/>
                <a:gd name="T113" fmla="*/ 418 h 1238"/>
                <a:gd name="T114" fmla="*/ 598 w 1672"/>
                <a:gd name="T115" fmla="*/ 466 h 1238"/>
                <a:gd name="T116" fmla="*/ 624 w 1672"/>
                <a:gd name="T117" fmla="*/ 510 h 1238"/>
                <a:gd name="T118" fmla="*/ 634 w 1672"/>
                <a:gd name="T119" fmla="*/ 482 h 1238"/>
                <a:gd name="T120" fmla="*/ 642 w 1672"/>
                <a:gd name="T121" fmla="*/ 510 h 1238"/>
                <a:gd name="T122" fmla="*/ 648 w 1672"/>
                <a:gd name="T123" fmla="*/ 548 h 1238"/>
                <a:gd name="T124" fmla="*/ 688 w 1672"/>
                <a:gd name="T125" fmla="*/ 520 h 1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672" h="1238">
                  <a:moveTo>
                    <a:pt x="370" y="1220"/>
                  </a:moveTo>
                  <a:lnTo>
                    <a:pt x="366" y="1216"/>
                  </a:lnTo>
                  <a:lnTo>
                    <a:pt x="364" y="1212"/>
                  </a:lnTo>
                  <a:lnTo>
                    <a:pt x="362" y="1210"/>
                  </a:lnTo>
                  <a:lnTo>
                    <a:pt x="360" y="1208"/>
                  </a:lnTo>
                  <a:lnTo>
                    <a:pt x="358" y="1204"/>
                  </a:lnTo>
                  <a:lnTo>
                    <a:pt x="356" y="1200"/>
                  </a:lnTo>
                  <a:lnTo>
                    <a:pt x="354" y="1194"/>
                  </a:lnTo>
                  <a:lnTo>
                    <a:pt x="354" y="1194"/>
                  </a:lnTo>
                  <a:lnTo>
                    <a:pt x="352" y="1192"/>
                  </a:lnTo>
                  <a:lnTo>
                    <a:pt x="348" y="1190"/>
                  </a:lnTo>
                  <a:lnTo>
                    <a:pt x="342" y="1188"/>
                  </a:lnTo>
                  <a:lnTo>
                    <a:pt x="338" y="1186"/>
                  </a:lnTo>
                  <a:lnTo>
                    <a:pt x="332" y="1186"/>
                  </a:lnTo>
                  <a:lnTo>
                    <a:pt x="328" y="1186"/>
                  </a:lnTo>
                  <a:lnTo>
                    <a:pt x="322" y="1186"/>
                  </a:lnTo>
                  <a:lnTo>
                    <a:pt x="316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4"/>
                  </a:lnTo>
                  <a:lnTo>
                    <a:pt x="310" y="1182"/>
                  </a:lnTo>
                  <a:lnTo>
                    <a:pt x="308" y="1182"/>
                  </a:lnTo>
                  <a:lnTo>
                    <a:pt x="308" y="1182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8" y="1180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6" y="1178"/>
                  </a:lnTo>
                  <a:lnTo>
                    <a:pt x="304" y="1178"/>
                  </a:lnTo>
                  <a:lnTo>
                    <a:pt x="304" y="1178"/>
                  </a:lnTo>
                  <a:lnTo>
                    <a:pt x="304" y="1176"/>
                  </a:lnTo>
                  <a:lnTo>
                    <a:pt x="300" y="1176"/>
                  </a:lnTo>
                  <a:lnTo>
                    <a:pt x="300" y="1176"/>
                  </a:lnTo>
                  <a:lnTo>
                    <a:pt x="298" y="1176"/>
                  </a:lnTo>
                  <a:lnTo>
                    <a:pt x="294" y="1176"/>
                  </a:lnTo>
                  <a:lnTo>
                    <a:pt x="294" y="1176"/>
                  </a:lnTo>
                  <a:lnTo>
                    <a:pt x="292" y="1176"/>
                  </a:lnTo>
                  <a:lnTo>
                    <a:pt x="290" y="1178"/>
                  </a:lnTo>
                  <a:lnTo>
                    <a:pt x="286" y="1180"/>
                  </a:lnTo>
                  <a:lnTo>
                    <a:pt x="284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82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2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4"/>
                  </a:lnTo>
                  <a:lnTo>
                    <a:pt x="278" y="1186"/>
                  </a:lnTo>
                  <a:lnTo>
                    <a:pt x="276" y="1188"/>
                  </a:lnTo>
                  <a:lnTo>
                    <a:pt x="276" y="1188"/>
                  </a:lnTo>
                  <a:lnTo>
                    <a:pt x="278" y="1192"/>
                  </a:lnTo>
                  <a:lnTo>
                    <a:pt x="278" y="1192"/>
                  </a:lnTo>
                  <a:lnTo>
                    <a:pt x="280" y="1192"/>
                  </a:lnTo>
                  <a:lnTo>
                    <a:pt x="286" y="1192"/>
                  </a:lnTo>
                  <a:lnTo>
                    <a:pt x="292" y="1192"/>
                  </a:lnTo>
                  <a:lnTo>
                    <a:pt x="298" y="1192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4" y="1190"/>
                  </a:lnTo>
                  <a:lnTo>
                    <a:pt x="306" y="1190"/>
                  </a:lnTo>
                  <a:lnTo>
                    <a:pt x="306" y="1190"/>
                  </a:lnTo>
                  <a:lnTo>
                    <a:pt x="308" y="1190"/>
                  </a:lnTo>
                  <a:lnTo>
                    <a:pt x="308" y="1188"/>
                  </a:lnTo>
                  <a:lnTo>
                    <a:pt x="308" y="1192"/>
                  </a:lnTo>
                  <a:lnTo>
                    <a:pt x="310" y="1194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0" y="1196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2" y="1198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4" y="1200"/>
                  </a:lnTo>
                  <a:lnTo>
                    <a:pt x="316" y="1202"/>
                  </a:lnTo>
                  <a:lnTo>
                    <a:pt x="318" y="1202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2" y="1204"/>
                  </a:lnTo>
                  <a:lnTo>
                    <a:pt x="324" y="1204"/>
                  </a:lnTo>
                  <a:lnTo>
                    <a:pt x="326" y="1206"/>
                  </a:lnTo>
                  <a:lnTo>
                    <a:pt x="330" y="1206"/>
                  </a:lnTo>
                  <a:lnTo>
                    <a:pt x="332" y="1208"/>
                  </a:lnTo>
                  <a:lnTo>
                    <a:pt x="334" y="1208"/>
                  </a:lnTo>
                  <a:lnTo>
                    <a:pt x="336" y="1210"/>
                  </a:lnTo>
                  <a:lnTo>
                    <a:pt x="336" y="1210"/>
                  </a:lnTo>
                  <a:lnTo>
                    <a:pt x="336" y="1212"/>
                  </a:lnTo>
                  <a:lnTo>
                    <a:pt x="338" y="1212"/>
                  </a:lnTo>
                  <a:lnTo>
                    <a:pt x="340" y="1214"/>
                  </a:lnTo>
                  <a:lnTo>
                    <a:pt x="342" y="1214"/>
                  </a:lnTo>
                  <a:lnTo>
                    <a:pt x="342" y="1216"/>
                  </a:lnTo>
                  <a:lnTo>
                    <a:pt x="344" y="1218"/>
                  </a:lnTo>
                  <a:lnTo>
                    <a:pt x="344" y="1222"/>
                  </a:lnTo>
                  <a:lnTo>
                    <a:pt x="344" y="1226"/>
                  </a:lnTo>
                  <a:lnTo>
                    <a:pt x="346" y="1230"/>
                  </a:lnTo>
                  <a:lnTo>
                    <a:pt x="346" y="1232"/>
                  </a:lnTo>
                  <a:lnTo>
                    <a:pt x="346" y="1232"/>
                  </a:lnTo>
                  <a:lnTo>
                    <a:pt x="348" y="1234"/>
                  </a:lnTo>
                  <a:lnTo>
                    <a:pt x="350" y="1236"/>
                  </a:lnTo>
                  <a:lnTo>
                    <a:pt x="350" y="1236"/>
                  </a:lnTo>
                  <a:lnTo>
                    <a:pt x="352" y="1238"/>
                  </a:lnTo>
                  <a:lnTo>
                    <a:pt x="352" y="1238"/>
                  </a:lnTo>
                  <a:lnTo>
                    <a:pt x="354" y="1238"/>
                  </a:lnTo>
                  <a:lnTo>
                    <a:pt x="356" y="1236"/>
                  </a:lnTo>
                  <a:lnTo>
                    <a:pt x="358" y="1234"/>
                  </a:lnTo>
                  <a:lnTo>
                    <a:pt x="362" y="1232"/>
                  </a:lnTo>
                  <a:lnTo>
                    <a:pt x="362" y="1232"/>
                  </a:lnTo>
                  <a:lnTo>
                    <a:pt x="364" y="1230"/>
                  </a:lnTo>
                  <a:lnTo>
                    <a:pt x="366" y="1230"/>
                  </a:lnTo>
                  <a:lnTo>
                    <a:pt x="368" y="1230"/>
                  </a:lnTo>
                  <a:lnTo>
                    <a:pt x="372" y="1228"/>
                  </a:lnTo>
                  <a:lnTo>
                    <a:pt x="372" y="1228"/>
                  </a:lnTo>
                  <a:lnTo>
                    <a:pt x="374" y="1226"/>
                  </a:lnTo>
                  <a:lnTo>
                    <a:pt x="374" y="1226"/>
                  </a:lnTo>
                  <a:lnTo>
                    <a:pt x="374" y="1224"/>
                  </a:lnTo>
                  <a:lnTo>
                    <a:pt x="370" y="1220"/>
                  </a:lnTo>
                  <a:close/>
                  <a:moveTo>
                    <a:pt x="1672" y="778"/>
                  </a:moveTo>
                  <a:lnTo>
                    <a:pt x="1672" y="778"/>
                  </a:lnTo>
                  <a:lnTo>
                    <a:pt x="1672" y="776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70" y="774"/>
                  </a:lnTo>
                  <a:lnTo>
                    <a:pt x="1668" y="774"/>
                  </a:lnTo>
                  <a:lnTo>
                    <a:pt x="1666" y="772"/>
                  </a:lnTo>
                  <a:lnTo>
                    <a:pt x="1662" y="770"/>
                  </a:lnTo>
                  <a:lnTo>
                    <a:pt x="1662" y="768"/>
                  </a:lnTo>
                  <a:lnTo>
                    <a:pt x="1660" y="766"/>
                  </a:lnTo>
                  <a:lnTo>
                    <a:pt x="1660" y="764"/>
                  </a:lnTo>
                  <a:lnTo>
                    <a:pt x="1660" y="762"/>
                  </a:lnTo>
                  <a:lnTo>
                    <a:pt x="1660" y="754"/>
                  </a:lnTo>
                  <a:lnTo>
                    <a:pt x="1660" y="748"/>
                  </a:lnTo>
                  <a:lnTo>
                    <a:pt x="1660" y="744"/>
                  </a:lnTo>
                  <a:lnTo>
                    <a:pt x="1660" y="742"/>
                  </a:lnTo>
                  <a:lnTo>
                    <a:pt x="1660" y="738"/>
                  </a:lnTo>
                  <a:lnTo>
                    <a:pt x="1658" y="732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30"/>
                  </a:lnTo>
                  <a:lnTo>
                    <a:pt x="1658" y="728"/>
                  </a:lnTo>
                  <a:lnTo>
                    <a:pt x="1656" y="728"/>
                  </a:lnTo>
                  <a:lnTo>
                    <a:pt x="1656" y="728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6" y="726"/>
                  </a:lnTo>
                  <a:lnTo>
                    <a:pt x="1654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2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50" y="726"/>
                  </a:lnTo>
                  <a:lnTo>
                    <a:pt x="1648" y="728"/>
                  </a:lnTo>
                  <a:lnTo>
                    <a:pt x="1646" y="728"/>
                  </a:lnTo>
                  <a:lnTo>
                    <a:pt x="1644" y="730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2" y="732"/>
                  </a:lnTo>
                  <a:lnTo>
                    <a:pt x="1640" y="730"/>
                  </a:lnTo>
                  <a:lnTo>
                    <a:pt x="1638" y="730"/>
                  </a:lnTo>
                  <a:lnTo>
                    <a:pt x="1636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4" y="728"/>
                  </a:lnTo>
                  <a:lnTo>
                    <a:pt x="1632" y="728"/>
                  </a:lnTo>
                  <a:lnTo>
                    <a:pt x="1632" y="728"/>
                  </a:lnTo>
                  <a:lnTo>
                    <a:pt x="1630" y="728"/>
                  </a:lnTo>
                  <a:lnTo>
                    <a:pt x="1630" y="730"/>
                  </a:lnTo>
                  <a:lnTo>
                    <a:pt x="1630" y="730"/>
                  </a:lnTo>
                  <a:lnTo>
                    <a:pt x="1628" y="730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2"/>
                  </a:lnTo>
                  <a:lnTo>
                    <a:pt x="1628" y="734"/>
                  </a:lnTo>
                  <a:lnTo>
                    <a:pt x="1628" y="738"/>
                  </a:lnTo>
                  <a:lnTo>
                    <a:pt x="1628" y="740"/>
                  </a:lnTo>
                  <a:lnTo>
                    <a:pt x="1628" y="746"/>
                  </a:lnTo>
                  <a:lnTo>
                    <a:pt x="1628" y="748"/>
                  </a:lnTo>
                  <a:lnTo>
                    <a:pt x="1628" y="750"/>
                  </a:lnTo>
                  <a:lnTo>
                    <a:pt x="1626" y="752"/>
                  </a:lnTo>
                  <a:lnTo>
                    <a:pt x="1626" y="752"/>
                  </a:lnTo>
                  <a:lnTo>
                    <a:pt x="1622" y="756"/>
                  </a:lnTo>
                  <a:lnTo>
                    <a:pt x="1618" y="758"/>
                  </a:lnTo>
                  <a:lnTo>
                    <a:pt x="1616" y="760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4" y="762"/>
                  </a:lnTo>
                  <a:lnTo>
                    <a:pt x="1612" y="766"/>
                  </a:lnTo>
                  <a:lnTo>
                    <a:pt x="1608" y="772"/>
                  </a:lnTo>
                  <a:lnTo>
                    <a:pt x="1606" y="776"/>
                  </a:lnTo>
                  <a:lnTo>
                    <a:pt x="1606" y="776"/>
                  </a:lnTo>
                  <a:lnTo>
                    <a:pt x="1604" y="778"/>
                  </a:lnTo>
                  <a:lnTo>
                    <a:pt x="1602" y="778"/>
                  </a:lnTo>
                  <a:lnTo>
                    <a:pt x="1600" y="780"/>
                  </a:lnTo>
                  <a:lnTo>
                    <a:pt x="1596" y="780"/>
                  </a:lnTo>
                  <a:lnTo>
                    <a:pt x="1592" y="780"/>
                  </a:lnTo>
                  <a:lnTo>
                    <a:pt x="1584" y="780"/>
                  </a:lnTo>
                  <a:lnTo>
                    <a:pt x="1580" y="780"/>
                  </a:lnTo>
                  <a:lnTo>
                    <a:pt x="1578" y="780"/>
                  </a:lnTo>
                  <a:lnTo>
                    <a:pt x="1570" y="778"/>
                  </a:lnTo>
                  <a:lnTo>
                    <a:pt x="1564" y="778"/>
                  </a:lnTo>
                  <a:lnTo>
                    <a:pt x="1558" y="778"/>
                  </a:lnTo>
                  <a:lnTo>
                    <a:pt x="1554" y="778"/>
                  </a:lnTo>
                  <a:lnTo>
                    <a:pt x="1550" y="778"/>
                  </a:lnTo>
                  <a:lnTo>
                    <a:pt x="1548" y="778"/>
                  </a:lnTo>
                  <a:lnTo>
                    <a:pt x="1546" y="778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42" y="780"/>
                  </a:lnTo>
                  <a:lnTo>
                    <a:pt x="1538" y="782"/>
                  </a:lnTo>
                  <a:lnTo>
                    <a:pt x="1538" y="784"/>
                  </a:lnTo>
                  <a:lnTo>
                    <a:pt x="1536" y="786"/>
                  </a:lnTo>
                  <a:lnTo>
                    <a:pt x="1534" y="786"/>
                  </a:lnTo>
                  <a:lnTo>
                    <a:pt x="1534" y="788"/>
                  </a:lnTo>
                  <a:lnTo>
                    <a:pt x="1534" y="788"/>
                  </a:lnTo>
                  <a:lnTo>
                    <a:pt x="1532" y="788"/>
                  </a:lnTo>
                  <a:lnTo>
                    <a:pt x="1532" y="792"/>
                  </a:lnTo>
                  <a:lnTo>
                    <a:pt x="1530" y="794"/>
                  </a:lnTo>
                  <a:lnTo>
                    <a:pt x="1528" y="798"/>
                  </a:lnTo>
                  <a:lnTo>
                    <a:pt x="1526" y="802"/>
                  </a:lnTo>
                  <a:lnTo>
                    <a:pt x="1526" y="804"/>
                  </a:lnTo>
                  <a:lnTo>
                    <a:pt x="1524" y="808"/>
                  </a:lnTo>
                  <a:lnTo>
                    <a:pt x="1522" y="808"/>
                  </a:lnTo>
                  <a:lnTo>
                    <a:pt x="1518" y="810"/>
                  </a:lnTo>
                  <a:lnTo>
                    <a:pt x="1516" y="812"/>
                  </a:lnTo>
                  <a:lnTo>
                    <a:pt x="1508" y="812"/>
                  </a:lnTo>
                  <a:lnTo>
                    <a:pt x="1506" y="812"/>
                  </a:lnTo>
                  <a:lnTo>
                    <a:pt x="1502" y="814"/>
                  </a:lnTo>
                  <a:lnTo>
                    <a:pt x="1498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6" y="814"/>
                  </a:lnTo>
                  <a:lnTo>
                    <a:pt x="1494" y="816"/>
                  </a:lnTo>
                  <a:lnTo>
                    <a:pt x="1492" y="816"/>
                  </a:lnTo>
                  <a:lnTo>
                    <a:pt x="1492" y="816"/>
                  </a:lnTo>
                  <a:lnTo>
                    <a:pt x="1490" y="816"/>
                  </a:lnTo>
                  <a:lnTo>
                    <a:pt x="1488" y="818"/>
                  </a:lnTo>
                  <a:lnTo>
                    <a:pt x="1488" y="820"/>
                  </a:lnTo>
                  <a:lnTo>
                    <a:pt x="1486" y="820"/>
                  </a:lnTo>
                  <a:lnTo>
                    <a:pt x="1484" y="822"/>
                  </a:lnTo>
                  <a:lnTo>
                    <a:pt x="1482" y="824"/>
                  </a:lnTo>
                  <a:lnTo>
                    <a:pt x="1480" y="826"/>
                  </a:lnTo>
                  <a:lnTo>
                    <a:pt x="1476" y="828"/>
                  </a:lnTo>
                  <a:lnTo>
                    <a:pt x="1468" y="836"/>
                  </a:lnTo>
                  <a:lnTo>
                    <a:pt x="1464" y="838"/>
                  </a:lnTo>
                  <a:lnTo>
                    <a:pt x="1460" y="842"/>
                  </a:lnTo>
                  <a:lnTo>
                    <a:pt x="1456" y="844"/>
                  </a:lnTo>
                  <a:lnTo>
                    <a:pt x="1452" y="846"/>
                  </a:lnTo>
                  <a:lnTo>
                    <a:pt x="1450" y="846"/>
                  </a:lnTo>
                  <a:lnTo>
                    <a:pt x="1444" y="848"/>
                  </a:lnTo>
                  <a:lnTo>
                    <a:pt x="1440" y="848"/>
                  </a:lnTo>
                  <a:lnTo>
                    <a:pt x="1436" y="848"/>
                  </a:lnTo>
                  <a:lnTo>
                    <a:pt x="1432" y="848"/>
                  </a:lnTo>
                  <a:lnTo>
                    <a:pt x="1428" y="848"/>
                  </a:lnTo>
                  <a:lnTo>
                    <a:pt x="1426" y="848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6"/>
                  </a:lnTo>
                  <a:lnTo>
                    <a:pt x="1426" y="844"/>
                  </a:lnTo>
                  <a:lnTo>
                    <a:pt x="1426" y="844"/>
                  </a:lnTo>
                  <a:lnTo>
                    <a:pt x="1428" y="840"/>
                  </a:lnTo>
                  <a:lnTo>
                    <a:pt x="1430" y="836"/>
                  </a:lnTo>
                  <a:lnTo>
                    <a:pt x="1434" y="830"/>
                  </a:lnTo>
                  <a:lnTo>
                    <a:pt x="1436" y="826"/>
                  </a:lnTo>
                  <a:lnTo>
                    <a:pt x="1438" y="822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0" y="818"/>
                  </a:lnTo>
                  <a:lnTo>
                    <a:pt x="1442" y="812"/>
                  </a:lnTo>
                  <a:lnTo>
                    <a:pt x="1442" y="812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2" y="806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2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40" y="800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8" y="798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6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4" y="796"/>
                  </a:lnTo>
                  <a:lnTo>
                    <a:pt x="1432" y="796"/>
                  </a:lnTo>
                  <a:lnTo>
                    <a:pt x="1432" y="796"/>
                  </a:lnTo>
                  <a:lnTo>
                    <a:pt x="1432" y="798"/>
                  </a:lnTo>
                  <a:lnTo>
                    <a:pt x="1428" y="798"/>
                  </a:lnTo>
                  <a:lnTo>
                    <a:pt x="1424" y="802"/>
                  </a:lnTo>
                  <a:lnTo>
                    <a:pt x="1422" y="804"/>
                  </a:lnTo>
                  <a:lnTo>
                    <a:pt x="1418" y="806"/>
                  </a:lnTo>
                  <a:lnTo>
                    <a:pt x="1416" y="808"/>
                  </a:lnTo>
                  <a:lnTo>
                    <a:pt x="1418" y="804"/>
                  </a:lnTo>
                  <a:lnTo>
                    <a:pt x="1420" y="800"/>
                  </a:lnTo>
                  <a:lnTo>
                    <a:pt x="1422" y="796"/>
                  </a:lnTo>
                  <a:lnTo>
                    <a:pt x="1424" y="792"/>
                  </a:lnTo>
                  <a:lnTo>
                    <a:pt x="1424" y="786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2"/>
                  </a:lnTo>
                  <a:lnTo>
                    <a:pt x="1426" y="780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6" y="776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4" y="770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2" y="766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20" y="764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8" y="762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6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4" y="760"/>
                  </a:lnTo>
                  <a:lnTo>
                    <a:pt x="1410" y="758"/>
                  </a:lnTo>
                  <a:lnTo>
                    <a:pt x="1410" y="758"/>
                  </a:lnTo>
                  <a:lnTo>
                    <a:pt x="1408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4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400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8" y="758"/>
                  </a:lnTo>
                  <a:lnTo>
                    <a:pt x="1394" y="760"/>
                  </a:lnTo>
                  <a:lnTo>
                    <a:pt x="1394" y="760"/>
                  </a:lnTo>
                  <a:lnTo>
                    <a:pt x="1394" y="762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90" y="764"/>
                  </a:lnTo>
                  <a:lnTo>
                    <a:pt x="1388" y="768"/>
                  </a:lnTo>
                  <a:lnTo>
                    <a:pt x="1384" y="772"/>
                  </a:lnTo>
                  <a:lnTo>
                    <a:pt x="1382" y="776"/>
                  </a:lnTo>
                  <a:lnTo>
                    <a:pt x="1382" y="780"/>
                  </a:lnTo>
                  <a:lnTo>
                    <a:pt x="1378" y="786"/>
                  </a:lnTo>
                  <a:lnTo>
                    <a:pt x="1376" y="794"/>
                  </a:lnTo>
                  <a:lnTo>
                    <a:pt x="1374" y="798"/>
                  </a:lnTo>
                  <a:lnTo>
                    <a:pt x="1374" y="802"/>
                  </a:lnTo>
                  <a:lnTo>
                    <a:pt x="1374" y="808"/>
                  </a:lnTo>
                  <a:lnTo>
                    <a:pt x="1374" y="812"/>
                  </a:lnTo>
                  <a:lnTo>
                    <a:pt x="1376" y="820"/>
                  </a:lnTo>
                  <a:lnTo>
                    <a:pt x="1376" y="826"/>
                  </a:lnTo>
                  <a:lnTo>
                    <a:pt x="1378" y="828"/>
                  </a:lnTo>
                  <a:lnTo>
                    <a:pt x="1376" y="832"/>
                  </a:lnTo>
                  <a:lnTo>
                    <a:pt x="1376" y="834"/>
                  </a:lnTo>
                  <a:lnTo>
                    <a:pt x="1376" y="836"/>
                  </a:lnTo>
                  <a:lnTo>
                    <a:pt x="1374" y="838"/>
                  </a:lnTo>
                  <a:lnTo>
                    <a:pt x="1372" y="838"/>
                  </a:lnTo>
                  <a:lnTo>
                    <a:pt x="1370" y="840"/>
                  </a:lnTo>
                  <a:lnTo>
                    <a:pt x="1366" y="840"/>
                  </a:lnTo>
                  <a:lnTo>
                    <a:pt x="1366" y="842"/>
                  </a:lnTo>
                  <a:lnTo>
                    <a:pt x="1364" y="840"/>
                  </a:lnTo>
                  <a:lnTo>
                    <a:pt x="1364" y="840"/>
                  </a:lnTo>
                  <a:lnTo>
                    <a:pt x="1362" y="838"/>
                  </a:lnTo>
                  <a:lnTo>
                    <a:pt x="1362" y="836"/>
                  </a:lnTo>
                  <a:lnTo>
                    <a:pt x="1360" y="832"/>
                  </a:lnTo>
                  <a:lnTo>
                    <a:pt x="1360" y="828"/>
                  </a:lnTo>
                  <a:lnTo>
                    <a:pt x="1358" y="822"/>
                  </a:lnTo>
                  <a:lnTo>
                    <a:pt x="1358" y="816"/>
                  </a:lnTo>
                  <a:lnTo>
                    <a:pt x="1358" y="812"/>
                  </a:lnTo>
                  <a:lnTo>
                    <a:pt x="1358" y="808"/>
                  </a:lnTo>
                  <a:lnTo>
                    <a:pt x="1358" y="798"/>
                  </a:lnTo>
                  <a:lnTo>
                    <a:pt x="1360" y="790"/>
                  </a:lnTo>
                  <a:lnTo>
                    <a:pt x="1360" y="790"/>
                  </a:lnTo>
                  <a:lnTo>
                    <a:pt x="1362" y="782"/>
                  </a:lnTo>
                  <a:lnTo>
                    <a:pt x="1364" y="780"/>
                  </a:lnTo>
                  <a:lnTo>
                    <a:pt x="1366" y="776"/>
                  </a:lnTo>
                  <a:lnTo>
                    <a:pt x="1368" y="774"/>
                  </a:lnTo>
                  <a:lnTo>
                    <a:pt x="1372" y="770"/>
                  </a:lnTo>
                  <a:lnTo>
                    <a:pt x="1376" y="768"/>
                  </a:lnTo>
                  <a:lnTo>
                    <a:pt x="1380" y="766"/>
                  </a:lnTo>
                  <a:lnTo>
                    <a:pt x="1384" y="764"/>
                  </a:lnTo>
                  <a:lnTo>
                    <a:pt x="1388" y="762"/>
                  </a:lnTo>
                  <a:lnTo>
                    <a:pt x="1392" y="760"/>
                  </a:lnTo>
                  <a:lnTo>
                    <a:pt x="1392" y="760"/>
                  </a:lnTo>
                  <a:lnTo>
                    <a:pt x="1392" y="758"/>
                  </a:lnTo>
                  <a:lnTo>
                    <a:pt x="1394" y="756"/>
                  </a:lnTo>
                  <a:lnTo>
                    <a:pt x="1394" y="756"/>
                  </a:lnTo>
                  <a:lnTo>
                    <a:pt x="1396" y="756"/>
                  </a:lnTo>
                  <a:lnTo>
                    <a:pt x="1398" y="754"/>
                  </a:lnTo>
                  <a:lnTo>
                    <a:pt x="1398" y="752"/>
                  </a:lnTo>
                  <a:lnTo>
                    <a:pt x="1398" y="752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8"/>
                  </a:lnTo>
                  <a:lnTo>
                    <a:pt x="1400" y="746"/>
                  </a:lnTo>
                  <a:lnTo>
                    <a:pt x="1400" y="746"/>
                  </a:lnTo>
                  <a:lnTo>
                    <a:pt x="1400" y="744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2"/>
                  </a:lnTo>
                  <a:lnTo>
                    <a:pt x="1400" y="740"/>
                  </a:lnTo>
                  <a:lnTo>
                    <a:pt x="1400" y="740"/>
                  </a:lnTo>
                  <a:lnTo>
                    <a:pt x="1400" y="738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8" y="736"/>
                  </a:lnTo>
                  <a:lnTo>
                    <a:pt x="1396" y="736"/>
                  </a:lnTo>
                  <a:lnTo>
                    <a:pt x="1396" y="736"/>
                  </a:lnTo>
                  <a:lnTo>
                    <a:pt x="1394" y="734"/>
                  </a:lnTo>
                  <a:lnTo>
                    <a:pt x="1392" y="734"/>
                  </a:lnTo>
                  <a:lnTo>
                    <a:pt x="1386" y="732"/>
                  </a:lnTo>
                  <a:lnTo>
                    <a:pt x="1382" y="732"/>
                  </a:lnTo>
                  <a:lnTo>
                    <a:pt x="1376" y="732"/>
                  </a:lnTo>
                  <a:lnTo>
                    <a:pt x="1368" y="732"/>
                  </a:lnTo>
                  <a:lnTo>
                    <a:pt x="1362" y="732"/>
                  </a:lnTo>
                  <a:lnTo>
                    <a:pt x="1356" y="732"/>
                  </a:lnTo>
                  <a:lnTo>
                    <a:pt x="1348" y="732"/>
                  </a:lnTo>
                  <a:lnTo>
                    <a:pt x="1342" y="732"/>
                  </a:lnTo>
                  <a:lnTo>
                    <a:pt x="1334" y="732"/>
                  </a:lnTo>
                  <a:lnTo>
                    <a:pt x="1326" y="734"/>
                  </a:lnTo>
                  <a:lnTo>
                    <a:pt x="1320" y="736"/>
                  </a:lnTo>
                  <a:lnTo>
                    <a:pt x="1312" y="736"/>
                  </a:lnTo>
                  <a:lnTo>
                    <a:pt x="1308" y="736"/>
                  </a:lnTo>
                  <a:lnTo>
                    <a:pt x="1306" y="736"/>
                  </a:lnTo>
                  <a:lnTo>
                    <a:pt x="1304" y="736"/>
                  </a:lnTo>
                  <a:lnTo>
                    <a:pt x="1302" y="736"/>
                  </a:lnTo>
                  <a:lnTo>
                    <a:pt x="1304" y="736"/>
                  </a:lnTo>
                  <a:lnTo>
                    <a:pt x="1306" y="734"/>
                  </a:lnTo>
                  <a:lnTo>
                    <a:pt x="1308" y="732"/>
                  </a:lnTo>
                  <a:lnTo>
                    <a:pt x="1314" y="728"/>
                  </a:lnTo>
                  <a:lnTo>
                    <a:pt x="1318" y="724"/>
                  </a:lnTo>
                  <a:lnTo>
                    <a:pt x="1324" y="722"/>
                  </a:lnTo>
                  <a:lnTo>
                    <a:pt x="1326" y="720"/>
                  </a:lnTo>
                  <a:lnTo>
                    <a:pt x="1328" y="718"/>
                  </a:lnTo>
                  <a:lnTo>
                    <a:pt x="1328" y="716"/>
                  </a:lnTo>
                  <a:lnTo>
                    <a:pt x="1328" y="716"/>
                  </a:lnTo>
                  <a:lnTo>
                    <a:pt x="1330" y="716"/>
                  </a:lnTo>
                  <a:lnTo>
                    <a:pt x="1330" y="714"/>
                  </a:lnTo>
                  <a:lnTo>
                    <a:pt x="1330" y="714"/>
                  </a:lnTo>
                  <a:lnTo>
                    <a:pt x="1330" y="712"/>
                  </a:lnTo>
                  <a:lnTo>
                    <a:pt x="1330" y="710"/>
                  </a:lnTo>
                  <a:lnTo>
                    <a:pt x="1330" y="710"/>
                  </a:lnTo>
                  <a:lnTo>
                    <a:pt x="1328" y="710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6" y="708"/>
                  </a:lnTo>
                  <a:lnTo>
                    <a:pt x="1322" y="706"/>
                  </a:lnTo>
                  <a:lnTo>
                    <a:pt x="1318" y="706"/>
                  </a:lnTo>
                  <a:lnTo>
                    <a:pt x="1314" y="706"/>
                  </a:lnTo>
                  <a:lnTo>
                    <a:pt x="1310" y="706"/>
                  </a:lnTo>
                  <a:lnTo>
                    <a:pt x="1306" y="704"/>
                  </a:lnTo>
                  <a:lnTo>
                    <a:pt x="1302" y="704"/>
                  </a:lnTo>
                  <a:lnTo>
                    <a:pt x="1296" y="704"/>
                  </a:lnTo>
                  <a:lnTo>
                    <a:pt x="1292" y="704"/>
                  </a:lnTo>
                  <a:lnTo>
                    <a:pt x="1282" y="704"/>
                  </a:lnTo>
                  <a:lnTo>
                    <a:pt x="1272" y="704"/>
                  </a:lnTo>
                  <a:lnTo>
                    <a:pt x="1260" y="704"/>
                  </a:lnTo>
                  <a:lnTo>
                    <a:pt x="1258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6" y="704"/>
                  </a:lnTo>
                  <a:lnTo>
                    <a:pt x="1254" y="704"/>
                  </a:lnTo>
                  <a:lnTo>
                    <a:pt x="1254" y="704"/>
                  </a:lnTo>
                  <a:lnTo>
                    <a:pt x="1252" y="704"/>
                  </a:lnTo>
                  <a:lnTo>
                    <a:pt x="1250" y="704"/>
                  </a:lnTo>
                  <a:lnTo>
                    <a:pt x="1248" y="702"/>
                  </a:lnTo>
                  <a:lnTo>
                    <a:pt x="1244" y="702"/>
                  </a:lnTo>
                  <a:lnTo>
                    <a:pt x="1238" y="702"/>
                  </a:lnTo>
                  <a:lnTo>
                    <a:pt x="1232" y="702"/>
                  </a:lnTo>
                  <a:lnTo>
                    <a:pt x="1210" y="702"/>
                  </a:lnTo>
                  <a:lnTo>
                    <a:pt x="1206" y="702"/>
                  </a:lnTo>
                  <a:lnTo>
                    <a:pt x="1192" y="702"/>
                  </a:lnTo>
                  <a:lnTo>
                    <a:pt x="1180" y="702"/>
                  </a:lnTo>
                  <a:lnTo>
                    <a:pt x="1164" y="702"/>
                  </a:lnTo>
                  <a:lnTo>
                    <a:pt x="1148" y="702"/>
                  </a:lnTo>
                  <a:lnTo>
                    <a:pt x="1132" y="702"/>
                  </a:lnTo>
                  <a:lnTo>
                    <a:pt x="1116" y="702"/>
                  </a:lnTo>
                  <a:lnTo>
                    <a:pt x="1100" y="702"/>
                  </a:lnTo>
                  <a:lnTo>
                    <a:pt x="1084" y="702"/>
                  </a:lnTo>
                  <a:lnTo>
                    <a:pt x="1068" y="702"/>
                  </a:lnTo>
                  <a:lnTo>
                    <a:pt x="1052" y="702"/>
                  </a:lnTo>
                  <a:lnTo>
                    <a:pt x="1038" y="702"/>
                  </a:lnTo>
                  <a:lnTo>
                    <a:pt x="1026" y="702"/>
                  </a:lnTo>
                  <a:lnTo>
                    <a:pt x="1020" y="702"/>
                  </a:lnTo>
                  <a:lnTo>
                    <a:pt x="932" y="702"/>
                  </a:lnTo>
                  <a:lnTo>
                    <a:pt x="916" y="702"/>
                  </a:lnTo>
                  <a:lnTo>
                    <a:pt x="910" y="702"/>
                  </a:lnTo>
                  <a:lnTo>
                    <a:pt x="902" y="702"/>
                  </a:lnTo>
                  <a:lnTo>
                    <a:pt x="896" y="704"/>
                  </a:lnTo>
                  <a:lnTo>
                    <a:pt x="890" y="704"/>
                  </a:lnTo>
                  <a:lnTo>
                    <a:pt x="886" y="704"/>
                  </a:lnTo>
                  <a:lnTo>
                    <a:pt x="880" y="704"/>
                  </a:lnTo>
                  <a:lnTo>
                    <a:pt x="876" y="704"/>
                  </a:lnTo>
                  <a:lnTo>
                    <a:pt x="872" y="704"/>
                  </a:lnTo>
                  <a:lnTo>
                    <a:pt x="870" y="704"/>
                  </a:lnTo>
                  <a:lnTo>
                    <a:pt x="868" y="704"/>
                  </a:lnTo>
                  <a:lnTo>
                    <a:pt x="866" y="702"/>
                  </a:lnTo>
                  <a:lnTo>
                    <a:pt x="866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4" y="702"/>
                  </a:lnTo>
                  <a:lnTo>
                    <a:pt x="862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60" y="704"/>
                  </a:lnTo>
                  <a:lnTo>
                    <a:pt x="858" y="706"/>
                  </a:lnTo>
                  <a:lnTo>
                    <a:pt x="858" y="706"/>
                  </a:lnTo>
                  <a:lnTo>
                    <a:pt x="858" y="708"/>
                  </a:lnTo>
                  <a:lnTo>
                    <a:pt x="858" y="710"/>
                  </a:lnTo>
                  <a:lnTo>
                    <a:pt x="858" y="710"/>
                  </a:lnTo>
                  <a:lnTo>
                    <a:pt x="860" y="710"/>
                  </a:lnTo>
                  <a:lnTo>
                    <a:pt x="860" y="714"/>
                  </a:lnTo>
                  <a:lnTo>
                    <a:pt x="862" y="718"/>
                  </a:lnTo>
                  <a:lnTo>
                    <a:pt x="864" y="722"/>
                  </a:lnTo>
                  <a:lnTo>
                    <a:pt x="866" y="728"/>
                  </a:lnTo>
                  <a:lnTo>
                    <a:pt x="868" y="732"/>
                  </a:lnTo>
                  <a:lnTo>
                    <a:pt x="868" y="734"/>
                  </a:lnTo>
                  <a:lnTo>
                    <a:pt x="868" y="736"/>
                  </a:lnTo>
                  <a:lnTo>
                    <a:pt x="868" y="738"/>
                  </a:lnTo>
                  <a:lnTo>
                    <a:pt x="868" y="738"/>
                  </a:lnTo>
                  <a:lnTo>
                    <a:pt x="866" y="740"/>
                  </a:lnTo>
                  <a:lnTo>
                    <a:pt x="866" y="740"/>
                  </a:lnTo>
                  <a:lnTo>
                    <a:pt x="862" y="742"/>
                  </a:lnTo>
                  <a:lnTo>
                    <a:pt x="856" y="742"/>
                  </a:lnTo>
                  <a:lnTo>
                    <a:pt x="854" y="742"/>
                  </a:lnTo>
                  <a:lnTo>
                    <a:pt x="850" y="740"/>
                  </a:lnTo>
                  <a:lnTo>
                    <a:pt x="844" y="740"/>
                  </a:lnTo>
                  <a:lnTo>
                    <a:pt x="840" y="738"/>
                  </a:lnTo>
                  <a:lnTo>
                    <a:pt x="834" y="736"/>
                  </a:lnTo>
                  <a:lnTo>
                    <a:pt x="828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4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20" y="734"/>
                  </a:lnTo>
                  <a:lnTo>
                    <a:pt x="818" y="734"/>
                  </a:lnTo>
                  <a:lnTo>
                    <a:pt x="818" y="734"/>
                  </a:lnTo>
                  <a:lnTo>
                    <a:pt x="816" y="736"/>
                  </a:lnTo>
                  <a:lnTo>
                    <a:pt x="814" y="736"/>
                  </a:lnTo>
                  <a:lnTo>
                    <a:pt x="814" y="736"/>
                  </a:lnTo>
                  <a:lnTo>
                    <a:pt x="814" y="738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4" y="740"/>
                  </a:lnTo>
                  <a:lnTo>
                    <a:pt x="812" y="742"/>
                  </a:lnTo>
                  <a:lnTo>
                    <a:pt x="812" y="746"/>
                  </a:lnTo>
                  <a:lnTo>
                    <a:pt x="812" y="750"/>
                  </a:lnTo>
                  <a:lnTo>
                    <a:pt x="814" y="754"/>
                  </a:lnTo>
                  <a:lnTo>
                    <a:pt x="814" y="758"/>
                  </a:lnTo>
                  <a:lnTo>
                    <a:pt x="814" y="764"/>
                  </a:lnTo>
                  <a:lnTo>
                    <a:pt x="816" y="770"/>
                  </a:lnTo>
                  <a:lnTo>
                    <a:pt x="816" y="778"/>
                  </a:lnTo>
                  <a:lnTo>
                    <a:pt x="818" y="786"/>
                  </a:lnTo>
                  <a:lnTo>
                    <a:pt x="820" y="802"/>
                  </a:lnTo>
                  <a:lnTo>
                    <a:pt x="820" y="810"/>
                  </a:lnTo>
                  <a:lnTo>
                    <a:pt x="822" y="818"/>
                  </a:lnTo>
                  <a:lnTo>
                    <a:pt x="822" y="824"/>
                  </a:lnTo>
                  <a:lnTo>
                    <a:pt x="822" y="832"/>
                  </a:lnTo>
                  <a:lnTo>
                    <a:pt x="822" y="844"/>
                  </a:lnTo>
                  <a:lnTo>
                    <a:pt x="822" y="852"/>
                  </a:lnTo>
                  <a:lnTo>
                    <a:pt x="822" y="858"/>
                  </a:lnTo>
                  <a:lnTo>
                    <a:pt x="822" y="866"/>
                  </a:lnTo>
                  <a:lnTo>
                    <a:pt x="824" y="872"/>
                  </a:lnTo>
                  <a:lnTo>
                    <a:pt x="828" y="886"/>
                  </a:lnTo>
                  <a:lnTo>
                    <a:pt x="832" y="902"/>
                  </a:lnTo>
                  <a:lnTo>
                    <a:pt x="838" y="916"/>
                  </a:lnTo>
                  <a:lnTo>
                    <a:pt x="840" y="922"/>
                  </a:lnTo>
                  <a:lnTo>
                    <a:pt x="844" y="930"/>
                  </a:lnTo>
                  <a:lnTo>
                    <a:pt x="848" y="938"/>
                  </a:lnTo>
                  <a:lnTo>
                    <a:pt x="854" y="946"/>
                  </a:lnTo>
                  <a:lnTo>
                    <a:pt x="858" y="956"/>
                  </a:lnTo>
                  <a:lnTo>
                    <a:pt x="864" y="964"/>
                  </a:lnTo>
                  <a:lnTo>
                    <a:pt x="870" y="972"/>
                  </a:lnTo>
                  <a:lnTo>
                    <a:pt x="876" y="980"/>
                  </a:lnTo>
                  <a:lnTo>
                    <a:pt x="882" y="986"/>
                  </a:lnTo>
                  <a:lnTo>
                    <a:pt x="884" y="990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86" y="992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2" y="996"/>
                  </a:lnTo>
                  <a:lnTo>
                    <a:pt x="896" y="998"/>
                  </a:lnTo>
                  <a:lnTo>
                    <a:pt x="896" y="998"/>
                  </a:lnTo>
                  <a:lnTo>
                    <a:pt x="898" y="998"/>
                  </a:lnTo>
                  <a:lnTo>
                    <a:pt x="902" y="1000"/>
                  </a:lnTo>
                  <a:lnTo>
                    <a:pt x="906" y="1002"/>
                  </a:lnTo>
                  <a:lnTo>
                    <a:pt x="912" y="1002"/>
                  </a:lnTo>
                  <a:lnTo>
                    <a:pt x="916" y="1002"/>
                  </a:lnTo>
                  <a:lnTo>
                    <a:pt x="918" y="1002"/>
                  </a:lnTo>
                  <a:lnTo>
                    <a:pt x="922" y="1004"/>
                  </a:lnTo>
                  <a:lnTo>
                    <a:pt x="924" y="1004"/>
                  </a:lnTo>
                  <a:lnTo>
                    <a:pt x="926" y="1006"/>
                  </a:lnTo>
                  <a:lnTo>
                    <a:pt x="926" y="1008"/>
                  </a:lnTo>
                  <a:lnTo>
                    <a:pt x="928" y="1010"/>
                  </a:lnTo>
                  <a:lnTo>
                    <a:pt x="930" y="1010"/>
                  </a:lnTo>
                  <a:lnTo>
                    <a:pt x="930" y="1010"/>
                  </a:lnTo>
                  <a:lnTo>
                    <a:pt x="930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2" y="1012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4" y="1014"/>
                  </a:lnTo>
                  <a:lnTo>
                    <a:pt x="936" y="1014"/>
                  </a:lnTo>
                  <a:lnTo>
                    <a:pt x="936" y="1014"/>
                  </a:lnTo>
                  <a:lnTo>
                    <a:pt x="938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0" y="1014"/>
                  </a:lnTo>
                  <a:lnTo>
                    <a:pt x="942" y="1012"/>
                  </a:lnTo>
                  <a:lnTo>
                    <a:pt x="946" y="1010"/>
                  </a:lnTo>
                  <a:lnTo>
                    <a:pt x="948" y="1008"/>
                  </a:lnTo>
                  <a:lnTo>
                    <a:pt x="952" y="1006"/>
                  </a:lnTo>
                  <a:lnTo>
                    <a:pt x="954" y="1004"/>
                  </a:lnTo>
                  <a:lnTo>
                    <a:pt x="956" y="1004"/>
                  </a:lnTo>
                  <a:lnTo>
                    <a:pt x="956" y="1004"/>
                  </a:lnTo>
                  <a:lnTo>
                    <a:pt x="958" y="1004"/>
                  </a:lnTo>
                  <a:lnTo>
                    <a:pt x="958" y="1004"/>
                  </a:lnTo>
                  <a:lnTo>
                    <a:pt x="958" y="1006"/>
                  </a:lnTo>
                  <a:lnTo>
                    <a:pt x="960" y="1006"/>
                  </a:lnTo>
                  <a:lnTo>
                    <a:pt x="960" y="1008"/>
                  </a:lnTo>
                  <a:lnTo>
                    <a:pt x="962" y="1010"/>
                  </a:lnTo>
                  <a:lnTo>
                    <a:pt x="964" y="1012"/>
                  </a:lnTo>
                  <a:lnTo>
                    <a:pt x="964" y="1012"/>
                  </a:lnTo>
                  <a:lnTo>
                    <a:pt x="964" y="1014"/>
                  </a:lnTo>
                  <a:lnTo>
                    <a:pt x="966" y="1016"/>
                  </a:lnTo>
                  <a:lnTo>
                    <a:pt x="970" y="1018"/>
                  </a:lnTo>
                  <a:lnTo>
                    <a:pt x="974" y="1020"/>
                  </a:lnTo>
                  <a:lnTo>
                    <a:pt x="980" y="1022"/>
                  </a:lnTo>
                  <a:lnTo>
                    <a:pt x="984" y="1024"/>
                  </a:lnTo>
                  <a:lnTo>
                    <a:pt x="994" y="1028"/>
                  </a:lnTo>
                  <a:lnTo>
                    <a:pt x="998" y="1030"/>
                  </a:lnTo>
                  <a:lnTo>
                    <a:pt x="1002" y="1032"/>
                  </a:lnTo>
                  <a:lnTo>
                    <a:pt x="1004" y="1032"/>
                  </a:lnTo>
                  <a:lnTo>
                    <a:pt x="1008" y="1034"/>
                  </a:lnTo>
                  <a:lnTo>
                    <a:pt x="1010" y="1034"/>
                  </a:lnTo>
                  <a:lnTo>
                    <a:pt x="1012" y="1034"/>
                  </a:lnTo>
                  <a:lnTo>
                    <a:pt x="1016" y="1036"/>
                  </a:lnTo>
                  <a:lnTo>
                    <a:pt x="1018" y="1036"/>
                  </a:lnTo>
                  <a:lnTo>
                    <a:pt x="1020" y="1036"/>
                  </a:lnTo>
                  <a:lnTo>
                    <a:pt x="1024" y="1036"/>
                  </a:lnTo>
                  <a:lnTo>
                    <a:pt x="1028" y="1036"/>
                  </a:lnTo>
                  <a:lnTo>
                    <a:pt x="1036" y="1036"/>
                  </a:lnTo>
                  <a:lnTo>
                    <a:pt x="1040" y="1036"/>
                  </a:lnTo>
                  <a:lnTo>
                    <a:pt x="1044" y="1036"/>
                  </a:lnTo>
                  <a:lnTo>
                    <a:pt x="1048" y="1034"/>
                  </a:lnTo>
                  <a:lnTo>
                    <a:pt x="1048" y="1034"/>
                  </a:lnTo>
                  <a:lnTo>
                    <a:pt x="1050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2" y="1034"/>
                  </a:lnTo>
                  <a:lnTo>
                    <a:pt x="1054" y="1032"/>
                  </a:lnTo>
                  <a:lnTo>
                    <a:pt x="1054" y="1032"/>
                  </a:lnTo>
                  <a:lnTo>
                    <a:pt x="1056" y="1030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8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6"/>
                  </a:lnTo>
                  <a:lnTo>
                    <a:pt x="1056" y="1022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58" y="1020"/>
                  </a:lnTo>
                  <a:lnTo>
                    <a:pt x="1060" y="1020"/>
                  </a:lnTo>
                  <a:lnTo>
                    <a:pt x="1062" y="1022"/>
                  </a:lnTo>
                  <a:lnTo>
                    <a:pt x="1066" y="1024"/>
                  </a:lnTo>
                  <a:lnTo>
                    <a:pt x="1068" y="1026"/>
                  </a:lnTo>
                  <a:lnTo>
                    <a:pt x="1072" y="1028"/>
                  </a:lnTo>
                  <a:lnTo>
                    <a:pt x="1080" y="1034"/>
                  </a:lnTo>
                  <a:lnTo>
                    <a:pt x="1084" y="1036"/>
                  </a:lnTo>
                  <a:lnTo>
                    <a:pt x="1088" y="1040"/>
                  </a:lnTo>
                  <a:lnTo>
                    <a:pt x="1094" y="1046"/>
                  </a:lnTo>
                  <a:lnTo>
                    <a:pt x="1100" y="1050"/>
                  </a:lnTo>
                  <a:lnTo>
                    <a:pt x="1106" y="1056"/>
                  </a:lnTo>
                  <a:lnTo>
                    <a:pt x="1112" y="1060"/>
                  </a:lnTo>
                  <a:lnTo>
                    <a:pt x="1116" y="1064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2" y="1066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4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26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0" y="1068"/>
                  </a:lnTo>
                  <a:lnTo>
                    <a:pt x="1132" y="1066"/>
                  </a:lnTo>
                  <a:lnTo>
                    <a:pt x="1132" y="1066"/>
                  </a:lnTo>
                  <a:lnTo>
                    <a:pt x="1134" y="1066"/>
                  </a:lnTo>
                  <a:lnTo>
                    <a:pt x="1136" y="1064"/>
                  </a:lnTo>
                  <a:lnTo>
                    <a:pt x="1138" y="1062"/>
                  </a:lnTo>
                  <a:lnTo>
                    <a:pt x="1140" y="1062"/>
                  </a:lnTo>
                  <a:lnTo>
                    <a:pt x="1140" y="1060"/>
                  </a:lnTo>
                  <a:lnTo>
                    <a:pt x="1142" y="1060"/>
                  </a:lnTo>
                  <a:lnTo>
                    <a:pt x="1146" y="1062"/>
                  </a:lnTo>
                  <a:lnTo>
                    <a:pt x="1148" y="1064"/>
                  </a:lnTo>
                  <a:lnTo>
                    <a:pt x="1152" y="1066"/>
                  </a:lnTo>
                  <a:lnTo>
                    <a:pt x="1156" y="1068"/>
                  </a:lnTo>
                  <a:lnTo>
                    <a:pt x="1160" y="1070"/>
                  </a:lnTo>
                  <a:lnTo>
                    <a:pt x="1164" y="1072"/>
                  </a:lnTo>
                  <a:lnTo>
                    <a:pt x="1166" y="1076"/>
                  </a:lnTo>
                  <a:lnTo>
                    <a:pt x="1168" y="1078"/>
                  </a:lnTo>
                  <a:lnTo>
                    <a:pt x="1170" y="1080"/>
                  </a:lnTo>
                  <a:lnTo>
                    <a:pt x="1172" y="1082"/>
                  </a:lnTo>
                  <a:lnTo>
                    <a:pt x="1172" y="1082"/>
                  </a:lnTo>
                  <a:lnTo>
                    <a:pt x="1172" y="1086"/>
                  </a:lnTo>
                  <a:lnTo>
                    <a:pt x="1172" y="1090"/>
                  </a:lnTo>
                  <a:lnTo>
                    <a:pt x="1172" y="1096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0"/>
                  </a:lnTo>
                  <a:lnTo>
                    <a:pt x="1174" y="1102"/>
                  </a:lnTo>
                  <a:lnTo>
                    <a:pt x="1174" y="1102"/>
                  </a:lnTo>
                  <a:lnTo>
                    <a:pt x="1174" y="1104"/>
                  </a:lnTo>
                  <a:lnTo>
                    <a:pt x="1176" y="1108"/>
                  </a:lnTo>
                  <a:lnTo>
                    <a:pt x="1176" y="1108"/>
                  </a:lnTo>
                  <a:lnTo>
                    <a:pt x="1178" y="1108"/>
                  </a:lnTo>
                  <a:lnTo>
                    <a:pt x="1180" y="1112"/>
                  </a:lnTo>
                  <a:lnTo>
                    <a:pt x="1180" y="1112"/>
                  </a:lnTo>
                  <a:lnTo>
                    <a:pt x="1180" y="1114"/>
                  </a:lnTo>
                  <a:lnTo>
                    <a:pt x="1184" y="1116"/>
                  </a:lnTo>
                  <a:lnTo>
                    <a:pt x="1184" y="1116"/>
                  </a:lnTo>
                  <a:lnTo>
                    <a:pt x="1186" y="1118"/>
                  </a:lnTo>
                  <a:lnTo>
                    <a:pt x="1188" y="1118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0" y="1120"/>
                  </a:lnTo>
                  <a:lnTo>
                    <a:pt x="1192" y="1120"/>
                  </a:lnTo>
                  <a:lnTo>
                    <a:pt x="1196" y="1120"/>
                  </a:lnTo>
                  <a:lnTo>
                    <a:pt x="1204" y="1120"/>
                  </a:lnTo>
                  <a:lnTo>
                    <a:pt x="1206" y="1120"/>
                  </a:lnTo>
                  <a:lnTo>
                    <a:pt x="1210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4" y="1118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6" y="1116"/>
                  </a:lnTo>
                  <a:lnTo>
                    <a:pt x="1218" y="1114"/>
                  </a:lnTo>
                  <a:lnTo>
                    <a:pt x="1218" y="1114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2"/>
                  </a:lnTo>
                  <a:lnTo>
                    <a:pt x="1218" y="1110"/>
                  </a:lnTo>
                  <a:lnTo>
                    <a:pt x="1218" y="1108"/>
                  </a:lnTo>
                  <a:lnTo>
                    <a:pt x="1218" y="1106"/>
                  </a:lnTo>
                  <a:lnTo>
                    <a:pt x="1218" y="1104"/>
                  </a:lnTo>
                  <a:lnTo>
                    <a:pt x="1216" y="1102"/>
                  </a:lnTo>
                  <a:lnTo>
                    <a:pt x="1216" y="1100"/>
                  </a:lnTo>
                  <a:lnTo>
                    <a:pt x="1218" y="1098"/>
                  </a:lnTo>
                  <a:lnTo>
                    <a:pt x="1218" y="1096"/>
                  </a:lnTo>
                  <a:lnTo>
                    <a:pt x="1220" y="1094"/>
                  </a:lnTo>
                  <a:lnTo>
                    <a:pt x="1224" y="1088"/>
                  </a:lnTo>
                  <a:lnTo>
                    <a:pt x="1228" y="1082"/>
                  </a:lnTo>
                  <a:lnTo>
                    <a:pt x="1232" y="1080"/>
                  </a:lnTo>
                  <a:lnTo>
                    <a:pt x="1234" y="1078"/>
                  </a:lnTo>
                  <a:lnTo>
                    <a:pt x="1238" y="1076"/>
                  </a:lnTo>
                  <a:lnTo>
                    <a:pt x="1242" y="1074"/>
                  </a:lnTo>
                  <a:lnTo>
                    <a:pt x="1246" y="1072"/>
                  </a:lnTo>
                  <a:lnTo>
                    <a:pt x="1252" y="1068"/>
                  </a:lnTo>
                  <a:lnTo>
                    <a:pt x="1256" y="1066"/>
                  </a:lnTo>
                  <a:lnTo>
                    <a:pt x="1262" y="1066"/>
                  </a:lnTo>
                  <a:lnTo>
                    <a:pt x="1266" y="1064"/>
                  </a:lnTo>
                  <a:lnTo>
                    <a:pt x="1272" y="1062"/>
                  </a:lnTo>
                  <a:lnTo>
                    <a:pt x="1276" y="1062"/>
                  </a:lnTo>
                  <a:lnTo>
                    <a:pt x="1282" y="1062"/>
                  </a:lnTo>
                  <a:lnTo>
                    <a:pt x="1286" y="1064"/>
                  </a:lnTo>
                  <a:lnTo>
                    <a:pt x="1292" y="1064"/>
                  </a:lnTo>
                  <a:lnTo>
                    <a:pt x="1298" y="1066"/>
                  </a:lnTo>
                  <a:lnTo>
                    <a:pt x="1302" y="1066"/>
                  </a:lnTo>
                  <a:lnTo>
                    <a:pt x="1308" y="1068"/>
                  </a:lnTo>
                  <a:lnTo>
                    <a:pt x="1312" y="1068"/>
                  </a:lnTo>
                  <a:lnTo>
                    <a:pt x="1316" y="1070"/>
                  </a:lnTo>
                  <a:lnTo>
                    <a:pt x="1320" y="1070"/>
                  </a:lnTo>
                  <a:lnTo>
                    <a:pt x="1322" y="1072"/>
                  </a:lnTo>
                  <a:lnTo>
                    <a:pt x="1324" y="1072"/>
                  </a:lnTo>
                  <a:lnTo>
                    <a:pt x="1328" y="1072"/>
                  </a:lnTo>
                  <a:lnTo>
                    <a:pt x="1330" y="1074"/>
                  </a:lnTo>
                  <a:lnTo>
                    <a:pt x="1332" y="1074"/>
                  </a:lnTo>
                  <a:lnTo>
                    <a:pt x="1332" y="1074"/>
                  </a:lnTo>
                  <a:lnTo>
                    <a:pt x="1334" y="1074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6" y="1072"/>
                  </a:lnTo>
                  <a:lnTo>
                    <a:pt x="1338" y="1072"/>
                  </a:lnTo>
                  <a:lnTo>
                    <a:pt x="1338" y="1072"/>
                  </a:lnTo>
                  <a:lnTo>
                    <a:pt x="1340" y="1070"/>
                  </a:lnTo>
                  <a:lnTo>
                    <a:pt x="1340" y="1068"/>
                  </a:lnTo>
                  <a:lnTo>
                    <a:pt x="1340" y="1068"/>
                  </a:lnTo>
                  <a:lnTo>
                    <a:pt x="1342" y="1068"/>
                  </a:lnTo>
                  <a:lnTo>
                    <a:pt x="1342" y="1066"/>
                  </a:lnTo>
                  <a:lnTo>
                    <a:pt x="1344" y="1064"/>
                  </a:lnTo>
                  <a:lnTo>
                    <a:pt x="1346" y="1060"/>
                  </a:lnTo>
                  <a:lnTo>
                    <a:pt x="1348" y="1058"/>
                  </a:lnTo>
                  <a:lnTo>
                    <a:pt x="1348" y="1056"/>
                  </a:lnTo>
                  <a:lnTo>
                    <a:pt x="1350" y="1056"/>
                  </a:lnTo>
                  <a:lnTo>
                    <a:pt x="1352" y="1054"/>
                  </a:lnTo>
                  <a:lnTo>
                    <a:pt x="1356" y="1054"/>
                  </a:lnTo>
                  <a:lnTo>
                    <a:pt x="1360" y="1054"/>
                  </a:lnTo>
                  <a:lnTo>
                    <a:pt x="1364" y="1054"/>
                  </a:lnTo>
                  <a:lnTo>
                    <a:pt x="1368" y="1054"/>
                  </a:lnTo>
                  <a:lnTo>
                    <a:pt x="1372" y="1054"/>
                  </a:lnTo>
                  <a:lnTo>
                    <a:pt x="1376" y="1054"/>
                  </a:lnTo>
                  <a:lnTo>
                    <a:pt x="1378" y="1054"/>
                  </a:lnTo>
                  <a:lnTo>
                    <a:pt x="1380" y="1054"/>
                  </a:lnTo>
                  <a:lnTo>
                    <a:pt x="1382" y="1054"/>
                  </a:lnTo>
                  <a:lnTo>
                    <a:pt x="1382" y="1056"/>
                  </a:lnTo>
                  <a:lnTo>
                    <a:pt x="1384" y="1056"/>
                  </a:lnTo>
                  <a:lnTo>
                    <a:pt x="1384" y="1058"/>
                  </a:lnTo>
                  <a:lnTo>
                    <a:pt x="1384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6" y="1058"/>
                  </a:lnTo>
                  <a:lnTo>
                    <a:pt x="1388" y="1058"/>
                  </a:lnTo>
                  <a:lnTo>
                    <a:pt x="1388" y="1058"/>
                  </a:lnTo>
                  <a:lnTo>
                    <a:pt x="1392" y="1060"/>
                  </a:lnTo>
                  <a:lnTo>
                    <a:pt x="1394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398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2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4" y="1060"/>
                  </a:lnTo>
                  <a:lnTo>
                    <a:pt x="1406" y="1058"/>
                  </a:lnTo>
                  <a:lnTo>
                    <a:pt x="1408" y="1056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0" y="1054"/>
                  </a:lnTo>
                  <a:lnTo>
                    <a:pt x="1412" y="1056"/>
                  </a:lnTo>
                  <a:lnTo>
                    <a:pt x="1412" y="1056"/>
                  </a:lnTo>
                  <a:lnTo>
                    <a:pt x="1414" y="1058"/>
                  </a:lnTo>
                  <a:lnTo>
                    <a:pt x="1416" y="1060"/>
                  </a:lnTo>
                  <a:lnTo>
                    <a:pt x="1420" y="1064"/>
                  </a:lnTo>
                  <a:lnTo>
                    <a:pt x="1424" y="1070"/>
                  </a:lnTo>
                  <a:lnTo>
                    <a:pt x="1428" y="1076"/>
                  </a:lnTo>
                  <a:lnTo>
                    <a:pt x="1432" y="1080"/>
                  </a:lnTo>
                  <a:lnTo>
                    <a:pt x="1434" y="1086"/>
                  </a:lnTo>
                  <a:lnTo>
                    <a:pt x="1436" y="1088"/>
                  </a:lnTo>
                  <a:lnTo>
                    <a:pt x="1438" y="1092"/>
                  </a:lnTo>
                  <a:lnTo>
                    <a:pt x="1438" y="1094"/>
                  </a:lnTo>
                  <a:lnTo>
                    <a:pt x="1438" y="1098"/>
                  </a:lnTo>
                  <a:lnTo>
                    <a:pt x="1436" y="1100"/>
                  </a:lnTo>
                  <a:lnTo>
                    <a:pt x="1436" y="1102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6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08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6" y="1112"/>
                  </a:lnTo>
                  <a:lnTo>
                    <a:pt x="1438" y="1116"/>
                  </a:lnTo>
                  <a:lnTo>
                    <a:pt x="1440" y="1118"/>
                  </a:lnTo>
                  <a:lnTo>
                    <a:pt x="1444" y="1126"/>
                  </a:lnTo>
                  <a:lnTo>
                    <a:pt x="1448" y="1128"/>
                  </a:lnTo>
                  <a:lnTo>
                    <a:pt x="1450" y="1132"/>
                  </a:lnTo>
                  <a:lnTo>
                    <a:pt x="1452" y="1134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56" y="1136"/>
                  </a:lnTo>
                  <a:lnTo>
                    <a:pt x="1460" y="1138"/>
                  </a:lnTo>
                  <a:lnTo>
                    <a:pt x="1460" y="1138"/>
                  </a:lnTo>
                  <a:lnTo>
                    <a:pt x="1462" y="1138"/>
                  </a:lnTo>
                  <a:lnTo>
                    <a:pt x="1464" y="1138"/>
                  </a:lnTo>
                  <a:lnTo>
                    <a:pt x="1466" y="1138"/>
                  </a:lnTo>
                  <a:lnTo>
                    <a:pt x="1466" y="1138"/>
                  </a:lnTo>
                  <a:lnTo>
                    <a:pt x="1468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0" y="1138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2" y="1136"/>
                  </a:lnTo>
                  <a:lnTo>
                    <a:pt x="1474" y="1134"/>
                  </a:lnTo>
                  <a:lnTo>
                    <a:pt x="1474" y="1134"/>
                  </a:lnTo>
                  <a:lnTo>
                    <a:pt x="1474" y="1132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30"/>
                  </a:lnTo>
                  <a:lnTo>
                    <a:pt x="1476" y="1128"/>
                  </a:lnTo>
                  <a:lnTo>
                    <a:pt x="1476" y="1126"/>
                  </a:lnTo>
                  <a:lnTo>
                    <a:pt x="1478" y="1120"/>
                  </a:lnTo>
                  <a:lnTo>
                    <a:pt x="1478" y="1114"/>
                  </a:lnTo>
                  <a:lnTo>
                    <a:pt x="1478" y="1106"/>
                  </a:lnTo>
                  <a:lnTo>
                    <a:pt x="1476" y="1100"/>
                  </a:lnTo>
                  <a:lnTo>
                    <a:pt x="1476" y="1094"/>
                  </a:lnTo>
                  <a:lnTo>
                    <a:pt x="1476" y="1086"/>
                  </a:lnTo>
                  <a:lnTo>
                    <a:pt x="1474" y="1082"/>
                  </a:lnTo>
                  <a:lnTo>
                    <a:pt x="1474" y="1082"/>
                  </a:lnTo>
                  <a:lnTo>
                    <a:pt x="1474" y="1080"/>
                  </a:lnTo>
                  <a:lnTo>
                    <a:pt x="1472" y="1076"/>
                  </a:lnTo>
                  <a:lnTo>
                    <a:pt x="1470" y="1072"/>
                  </a:lnTo>
                  <a:lnTo>
                    <a:pt x="1466" y="1066"/>
                  </a:lnTo>
                  <a:lnTo>
                    <a:pt x="1462" y="1064"/>
                  </a:lnTo>
                  <a:lnTo>
                    <a:pt x="1460" y="1060"/>
                  </a:lnTo>
                  <a:lnTo>
                    <a:pt x="1458" y="1056"/>
                  </a:lnTo>
                  <a:lnTo>
                    <a:pt x="1456" y="1052"/>
                  </a:lnTo>
                  <a:lnTo>
                    <a:pt x="1454" y="1050"/>
                  </a:lnTo>
                  <a:lnTo>
                    <a:pt x="1452" y="1046"/>
                  </a:lnTo>
                  <a:lnTo>
                    <a:pt x="1452" y="1044"/>
                  </a:lnTo>
                  <a:lnTo>
                    <a:pt x="1452" y="1040"/>
                  </a:lnTo>
                  <a:lnTo>
                    <a:pt x="1452" y="1038"/>
                  </a:lnTo>
                  <a:lnTo>
                    <a:pt x="1452" y="1036"/>
                  </a:lnTo>
                  <a:lnTo>
                    <a:pt x="1452" y="1034"/>
                  </a:lnTo>
                  <a:lnTo>
                    <a:pt x="1454" y="1030"/>
                  </a:lnTo>
                  <a:lnTo>
                    <a:pt x="1458" y="1026"/>
                  </a:lnTo>
                  <a:lnTo>
                    <a:pt x="1460" y="1024"/>
                  </a:lnTo>
                  <a:lnTo>
                    <a:pt x="1462" y="1022"/>
                  </a:lnTo>
                  <a:lnTo>
                    <a:pt x="1464" y="1020"/>
                  </a:lnTo>
                  <a:lnTo>
                    <a:pt x="1468" y="1018"/>
                  </a:lnTo>
                  <a:lnTo>
                    <a:pt x="1474" y="1014"/>
                  </a:lnTo>
                  <a:lnTo>
                    <a:pt x="1482" y="1008"/>
                  </a:lnTo>
                  <a:lnTo>
                    <a:pt x="1490" y="1002"/>
                  </a:lnTo>
                  <a:lnTo>
                    <a:pt x="1498" y="998"/>
                  </a:lnTo>
                  <a:lnTo>
                    <a:pt x="1504" y="992"/>
                  </a:lnTo>
                  <a:lnTo>
                    <a:pt x="1508" y="990"/>
                  </a:lnTo>
                  <a:lnTo>
                    <a:pt x="1510" y="988"/>
                  </a:lnTo>
                  <a:lnTo>
                    <a:pt x="1516" y="984"/>
                  </a:lnTo>
                  <a:lnTo>
                    <a:pt x="1520" y="982"/>
                  </a:lnTo>
                  <a:lnTo>
                    <a:pt x="1526" y="978"/>
                  </a:lnTo>
                  <a:lnTo>
                    <a:pt x="1530" y="976"/>
                  </a:lnTo>
                  <a:lnTo>
                    <a:pt x="1534" y="972"/>
                  </a:lnTo>
                  <a:lnTo>
                    <a:pt x="1538" y="968"/>
                  </a:lnTo>
                  <a:lnTo>
                    <a:pt x="1540" y="964"/>
                  </a:lnTo>
                  <a:lnTo>
                    <a:pt x="1540" y="964"/>
                  </a:lnTo>
                  <a:lnTo>
                    <a:pt x="1542" y="964"/>
                  </a:lnTo>
                  <a:lnTo>
                    <a:pt x="1544" y="960"/>
                  </a:lnTo>
                  <a:lnTo>
                    <a:pt x="1544" y="960"/>
                  </a:lnTo>
                  <a:lnTo>
                    <a:pt x="1544" y="958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54"/>
                  </a:lnTo>
                  <a:lnTo>
                    <a:pt x="1546" y="948"/>
                  </a:lnTo>
                  <a:lnTo>
                    <a:pt x="1546" y="942"/>
                  </a:lnTo>
                  <a:lnTo>
                    <a:pt x="1546" y="936"/>
                  </a:lnTo>
                  <a:lnTo>
                    <a:pt x="1546" y="928"/>
                  </a:lnTo>
                  <a:lnTo>
                    <a:pt x="1544" y="922"/>
                  </a:lnTo>
                  <a:lnTo>
                    <a:pt x="1544" y="916"/>
                  </a:lnTo>
                  <a:lnTo>
                    <a:pt x="1544" y="918"/>
                  </a:lnTo>
                  <a:lnTo>
                    <a:pt x="1546" y="912"/>
                  </a:lnTo>
                  <a:lnTo>
                    <a:pt x="1548" y="906"/>
                  </a:lnTo>
                  <a:lnTo>
                    <a:pt x="1550" y="902"/>
                  </a:lnTo>
                  <a:lnTo>
                    <a:pt x="1552" y="896"/>
                  </a:lnTo>
                  <a:lnTo>
                    <a:pt x="1556" y="892"/>
                  </a:lnTo>
                  <a:lnTo>
                    <a:pt x="1560" y="888"/>
                  </a:lnTo>
                  <a:lnTo>
                    <a:pt x="1562" y="884"/>
                  </a:lnTo>
                  <a:lnTo>
                    <a:pt x="1566" y="880"/>
                  </a:lnTo>
                  <a:lnTo>
                    <a:pt x="1570" y="876"/>
                  </a:lnTo>
                  <a:lnTo>
                    <a:pt x="1572" y="874"/>
                  </a:lnTo>
                  <a:lnTo>
                    <a:pt x="1574" y="872"/>
                  </a:lnTo>
                  <a:lnTo>
                    <a:pt x="1578" y="872"/>
                  </a:lnTo>
                  <a:lnTo>
                    <a:pt x="1580" y="870"/>
                  </a:lnTo>
                  <a:lnTo>
                    <a:pt x="1586" y="870"/>
                  </a:lnTo>
                  <a:lnTo>
                    <a:pt x="1590" y="868"/>
                  </a:lnTo>
                  <a:lnTo>
                    <a:pt x="1594" y="866"/>
                  </a:lnTo>
                  <a:lnTo>
                    <a:pt x="1598" y="866"/>
                  </a:lnTo>
                  <a:lnTo>
                    <a:pt x="1604" y="864"/>
                  </a:lnTo>
                  <a:lnTo>
                    <a:pt x="1608" y="862"/>
                  </a:lnTo>
                  <a:lnTo>
                    <a:pt x="1614" y="862"/>
                  </a:lnTo>
                  <a:lnTo>
                    <a:pt x="1620" y="860"/>
                  </a:lnTo>
                  <a:lnTo>
                    <a:pt x="1624" y="858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28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0" y="856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4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2"/>
                  </a:lnTo>
                  <a:lnTo>
                    <a:pt x="1632" y="850"/>
                  </a:lnTo>
                  <a:lnTo>
                    <a:pt x="1632" y="848"/>
                  </a:lnTo>
                  <a:lnTo>
                    <a:pt x="1632" y="848"/>
                  </a:lnTo>
                  <a:lnTo>
                    <a:pt x="1632" y="846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30" y="844"/>
                  </a:lnTo>
                  <a:lnTo>
                    <a:pt x="1628" y="842"/>
                  </a:lnTo>
                  <a:lnTo>
                    <a:pt x="1626" y="840"/>
                  </a:lnTo>
                  <a:lnTo>
                    <a:pt x="1624" y="838"/>
                  </a:lnTo>
                  <a:lnTo>
                    <a:pt x="1622" y="836"/>
                  </a:lnTo>
                  <a:lnTo>
                    <a:pt x="1622" y="836"/>
                  </a:lnTo>
                  <a:lnTo>
                    <a:pt x="1622" y="834"/>
                  </a:lnTo>
                  <a:lnTo>
                    <a:pt x="1622" y="830"/>
                  </a:lnTo>
                  <a:lnTo>
                    <a:pt x="1622" y="824"/>
                  </a:lnTo>
                  <a:lnTo>
                    <a:pt x="1622" y="822"/>
                  </a:lnTo>
                  <a:lnTo>
                    <a:pt x="1622" y="820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6"/>
                  </a:lnTo>
                  <a:lnTo>
                    <a:pt x="1624" y="814"/>
                  </a:lnTo>
                  <a:lnTo>
                    <a:pt x="1626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0" y="814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2" y="812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10"/>
                  </a:lnTo>
                  <a:lnTo>
                    <a:pt x="1634" y="808"/>
                  </a:lnTo>
                  <a:lnTo>
                    <a:pt x="1636" y="808"/>
                  </a:lnTo>
                  <a:lnTo>
                    <a:pt x="1636" y="802"/>
                  </a:lnTo>
                  <a:lnTo>
                    <a:pt x="1638" y="798"/>
                  </a:lnTo>
                  <a:lnTo>
                    <a:pt x="1638" y="798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0" y="796"/>
                  </a:lnTo>
                  <a:lnTo>
                    <a:pt x="1644" y="796"/>
                  </a:lnTo>
                  <a:lnTo>
                    <a:pt x="1648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2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4" y="796"/>
                  </a:lnTo>
                  <a:lnTo>
                    <a:pt x="1656" y="794"/>
                  </a:lnTo>
                  <a:lnTo>
                    <a:pt x="1660" y="794"/>
                  </a:lnTo>
                  <a:lnTo>
                    <a:pt x="1664" y="790"/>
                  </a:lnTo>
                  <a:lnTo>
                    <a:pt x="1666" y="788"/>
                  </a:lnTo>
                  <a:lnTo>
                    <a:pt x="1670" y="784"/>
                  </a:lnTo>
                  <a:lnTo>
                    <a:pt x="1670" y="782"/>
                  </a:lnTo>
                  <a:lnTo>
                    <a:pt x="1670" y="782"/>
                  </a:lnTo>
                  <a:lnTo>
                    <a:pt x="1672" y="782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80"/>
                  </a:lnTo>
                  <a:lnTo>
                    <a:pt x="1672" y="778"/>
                  </a:lnTo>
                  <a:close/>
                  <a:moveTo>
                    <a:pt x="688" y="518"/>
                  </a:moveTo>
                  <a:lnTo>
                    <a:pt x="688" y="516"/>
                  </a:lnTo>
                  <a:lnTo>
                    <a:pt x="688" y="516"/>
                  </a:lnTo>
                  <a:lnTo>
                    <a:pt x="688" y="516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6" y="514"/>
                  </a:lnTo>
                  <a:lnTo>
                    <a:pt x="684" y="512"/>
                  </a:lnTo>
                  <a:lnTo>
                    <a:pt x="684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2" y="512"/>
                  </a:lnTo>
                  <a:lnTo>
                    <a:pt x="680" y="510"/>
                  </a:lnTo>
                  <a:lnTo>
                    <a:pt x="678" y="508"/>
                  </a:lnTo>
                  <a:lnTo>
                    <a:pt x="678" y="506"/>
                  </a:lnTo>
                  <a:lnTo>
                    <a:pt x="678" y="506"/>
                  </a:lnTo>
                  <a:lnTo>
                    <a:pt x="676" y="506"/>
                  </a:lnTo>
                  <a:lnTo>
                    <a:pt x="672" y="504"/>
                  </a:lnTo>
                  <a:lnTo>
                    <a:pt x="670" y="504"/>
                  </a:lnTo>
                  <a:lnTo>
                    <a:pt x="668" y="504"/>
                  </a:lnTo>
                  <a:lnTo>
                    <a:pt x="668" y="504"/>
                  </a:lnTo>
                  <a:lnTo>
                    <a:pt x="666" y="502"/>
                  </a:lnTo>
                  <a:lnTo>
                    <a:pt x="666" y="502"/>
                  </a:lnTo>
                  <a:lnTo>
                    <a:pt x="664" y="502"/>
                  </a:lnTo>
                  <a:lnTo>
                    <a:pt x="664" y="500"/>
                  </a:lnTo>
                  <a:lnTo>
                    <a:pt x="664" y="498"/>
                  </a:lnTo>
                  <a:lnTo>
                    <a:pt x="662" y="494"/>
                  </a:lnTo>
                  <a:lnTo>
                    <a:pt x="662" y="494"/>
                  </a:lnTo>
                  <a:lnTo>
                    <a:pt x="662" y="492"/>
                  </a:lnTo>
                  <a:lnTo>
                    <a:pt x="660" y="490"/>
                  </a:lnTo>
                  <a:lnTo>
                    <a:pt x="658" y="490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6" y="484"/>
                  </a:lnTo>
                  <a:lnTo>
                    <a:pt x="652" y="482"/>
                  </a:lnTo>
                  <a:lnTo>
                    <a:pt x="650" y="478"/>
                  </a:lnTo>
                  <a:lnTo>
                    <a:pt x="648" y="476"/>
                  </a:lnTo>
                  <a:lnTo>
                    <a:pt x="646" y="472"/>
                  </a:lnTo>
                  <a:lnTo>
                    <a:pt x="646" y="472"/>
                  </a:lnTo>
                  <a:lnTo>
                    <a:pt x="646" y="470"/>
                  </a:lnTo>
                  <a:lnTo>
                    <a:pt x="644" y="466"/>
                  </a:lnTo>
                  <a:lnTo>
                    <a:pt x="642" y="462"/>
                  </a:lnTo>
                  <a:lnTo>
                    <a:pt x="640" y="456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8" y="452"/>
                  </a:lnTo>
                  <a:lnTo>
                    <a:pt x="632" y="446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8" y="440"/>
                  </a:lnTo>
                  <a:lnTo>
                    <a:pt x="624" y="438"/>
                  </a:lnTo>
                  <a:lnTo>
                    <a:pt x="622" y="436"/>
                  </a:lnTo>
                  <a:lnTo>
                    <a:pt x="620" y="436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20" y="434"/>
                  </a:lnTo>
                  <a:lnTo>
                    <a:pt x="618" y="432"/>
                  </a:lnTo>
                  <a:lnTo>
                    <a:pt x="616" y="430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4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10" y="428"/>
                  </a:lnTo>
                  <a:lnTo>
                    <a:pt x="606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4" y="428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2" y="430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2"/>
                  </a:lnTo>
                  <a:lnTo>
                    <a:pt x="600" y="434"/>
                  </a:lnTo>
                  <a:lnTo>
                    <a:pt x="600" y="434"/>
                  </a:lnTo>
                  <a:lnTo>
                    <a:pt x="600" y="436"/>
                  </a:lnTo>
                  <a:lnTo>
                    <a:pt x="600" y="440"/>
                  </a:lnTo>
                  <a:lnTo>
                    <a:pt x="600" y="440"/>
                  </a:lnTo>
                  <a:lnTo>
                    <a:pt x="598" y="440"/>
                  </a:lnTo>
                  <a:lnTo>
                    <a:pt x="594" y="440"/>
                  </a:lnTo>
                  <a:lnTo>
                    <a:pt x="594" y="440"/>
                  </a:lnTo>
                  <a:lnTo>
                    <a:pt x="592" y="440"/>
                  </a:lnTo>
                  <a:lnTo>
                    <a:pt x="592" y="438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90" y="436"/>
                  </a:lnTo>
                  <a:lnTo>
                    <a:pt x="586" y="434"/>
                  </a:lnTo>
                  <a:lnTo>
                    <a:pt x="582" y="430"/>
                  </a:lnTo>
                  <a:lnTo>
                    <a:pt x="580" y="428"/>
                  </a:lnTo>
                  <a:lnTo>
                    <a:pt x="578" y="422"/>
                  </a:lnTo>
                  <a:lnTo>
                    <a:pt x="578" y="422"/>
                  </a:lnTo>
                  <a:lnTo>
                    <a:pt x="578" y="420"/>
                  </a:lnTo>
                  <a:lnTo>
                    <a:pt x="578" y="418"/>
                  </a:lnTo>
                  <a:lnTo>
                    <a:pt x="578" y="418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6"/>
                  </a:lnTo>
                  <a:lnTo>
                    <a:pt x="576" y="414"/>
                  </a:lnTo>
                  <a:lnTo>
                    <a:pt x="574" y="414"/>
                  </a:lnTo>
                  <a:lnTo>
                    <a:pt x="574" y="414"/>
                  </a:lnTo>
                  <a:lnTo>
                    <a:pt x="574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2" y="412"/>
                  </a:lnTo>
                  <a:lnTo>
                    <a:pt x="574" y="408"/>
                  </a:lnTo>
                  <a:lnTo>
                    <a:pt x="574" y="406"/>
                  </a:lnTo>
                  <a:lnTo>
                    <a:pt x="574" y="404"/>
                  </a:lnTo>
                  <a:lnTo>
                    <a:pt x="574" y="400"/>
                  </a:lnTo>
                  <a:lnTo>
                    <a:pt x="574" y="396"/>
                  </a:lnTo>
                  <a:lnTo>
                    <a:pt x="574" y="394"/>
                  </a:lnTo>
                  <a:lnTo>
                    <a:pt x="572" y="392"/>
                  </a:lnTo>
                  <a:lnTo>
                    <a:pt x="572" y="390"/>
                  </a:lnTo>
                  <a:lnTo>
                    <a:pt x="572" y="386"/>
                  </a:lnTo>
                  <a:lnTo>
                    <a:pt x="572" y="382"/>
                  </a:lnTo>
                  <a:lnTo>
                    <a:pt x="572" y="378"/>
                  </a:lnTo>
                  <a:lnTo>
                    <a:pt x="572" y="372"/>
                  </a:lnTo>
                  <a:lnTo>
                    <a:pt x="572" y="364"/>
                  </a:lnTo>
                  <a:lnTo>
                    <a:pt x="572" y="358"/>
                  </a:lnTo>
                  <a:lnTo>
                    <a:pt x="572" y="348"/>
                  </a:lnTo>
                  <a:lnTo>
                    <a:pt x="572" y="338"/>
                  </a:lnTo>
                  <a:lnTo>
                    <a:pt x="572" y="330"/>
                  </a:lnTo>
                  <a:lnTo>
                    <a:pt x="572" y="324"/>
                  </a:lnTo>
                  <a:lnTo>
                    <a:pt x="572" y="316"/>
                  </a:lnTo>
                  <a:lnTo>
                    <a:pt x="572" y="310"/>
                  </a:lnTo>
                  <a:lnTo>
                    <a:pt x="572" y="302"/>
                  </a:lnTo>
                  <a:lnTo>
                    <a:pt x="572" y="292"/>
                  </a:lnTo>
                  <a:lnTo>
                    <a:pt x="572" y="276"/>
                  </a:lnTo>
                  <a:lnTo>
                    <a:pt x="572" y="256"/>
                  </a:lnTo>
                  <a:lnTo>
                    <a:pt x="572" y="238"/>
                  </a:lnTo>
                  <a:lnTo>
                    <a:pt x="572" y="218"/>
                  </a:lnTo>
                  <a:lnTo>
                    <a:pt x="572" y="200"/>
                  </a:lnTo>
                  <a:lnTo>
                    <a:pt x="572" y="180"/>
                  </a:lnTo>
                  <a:lnTo>
                    <a:pt x="572" y="162"/>
                  </a:lnTo>
                  <a:lnTo>
                    <a:pt x="572" y="144"/>
                  </a:lnTo>
                  <a:lnTo>
                    <a:pt x="572" y="136"/>
                  </a:lnTo>
                  <a:lnTo>
                    <a:pt x="572" y="130"/>
                  </a:lnTo>
                  <a:lnTo>
                    <a:pt x="572" y="122"/>
                  </a:lnTo>
                  <a:lnTo>
                    <a:pt x="572" y="114"/>
                  </a:lnTo>
                  <a:lnTo>
                    <a:pt x="572" y="108"/>
                  </a:lnTo>
                  <a:lnTo>
                    <a:pt x="574" y="102"/>
                  </a:lnTo>
                  <a:lnTo>
                    <a:pt x="574" y="88"/>
                  </a:lnTo>
                  <a:lnTo>
                    <a:pt x="574" y="86"/>
                  </a:lnTo>
                  <a:lnTo>
                    <a:pt x="574" y="82"/>
                  </a:lnTo>
                  <a:lnTo>
                    <a:pt x="574" y="80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4" y="74"/>
                  </a:lnTo>
                  <a:lnTo>
                    <a:pt x="576" y="74"/>
                  </a:lnTo>
                  <a:lnTo>
                    <a:pt x="576" y="74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2"/>
                  </a:lnTo>
                  <a:lnTo>
                    <a:pt x="576" y="70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8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6"/>
                  </a:lnTo>
                  <a:lnTo>
                    <a:pt x="576" y="64"/>
                  </a:lnTo>
                  <a:lnTo>
                    <a:pt x="576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4" y="64"/>
                  </a:lnTo>
                  <a:lnTo>
                    <a:pt x="570" y="64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6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70" y="68"/>
                  </a:lnTo>
                  <a:lnTo>
                    <a:pt x="568" y="68"/>
                  </a:lnTo>
                  <a:lnTo>
                    <a:pt x="566" y="68"/>
                  </a:lnTo>
                  <a:lnTo>
                    <a:pt x="560" y="66"/>
                  </a:lnTo>
                  <a:lnTo>
                    <a:pt x="554" y="66"/>
                  </a:lnTo>
                  <a:lnTo>
                    <a:pt x="546" y="66"/>
                  </a:lnTo>
                  <a:lnTo>
                    <a:pt x="538" y="66"/>
                  </a:lnTo>
                  <a:lnTo>
                    <a:pt x="532" y="68"/>
                  </a:lnTo>
                  <a:lnTo>
                    <a:pt x="524" y="68"/>
                  </a:lnTo>
                  <a:lnTo>
                    <a:pt x="518" y="66"/>
                  </a:lnTo>
                  <a:lnTo>
                    <a:pt x="508" y="66"/>
                  </a:lnTo>
                  <a:lnTo>
                    <a:pt x="498" y="64"/>
                  </a:lnTo>
                  <a:lnTo>
                    <a:pt x="490" y="62"/>
                  </a:lnTo>
                  <a:lnTo>
                    <a:pt x="486" y="60"/>
                  </a:lnTo>
                  <a:lnTo>
                    <a:pt x="482" y="60"/>
                  </a:lnTo>
                  <a:lnTo>
                    <a:pt x="478" y="56"/>
                  </a:lnTo>
                  <a:lnTo>
                    <a:pt x="478" y="58"/>
                  </a:lnTo>
                  <a:lnTo>
                    <a:pt x="474" y="54"/>
                  </a:lnTo>
                  <a:lnTo>
                    <a:pt x="470" y="50"/>
                  </a:lnTo>
                  <a:lnTo>
                    <a:pt x="464" y="44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60" y="40"/>
                  </a:lnTo>
                  <a:lnTo>
                    <a:pt x="458" y="38"/>
                  </a:lnTo>
                  <a:lnTo>
                    <a:pt x="458" y="38"/>
                  </a:lnTo>
                  <a:lnTo>
                    <a:pt x="456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52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8" y="38"/>
                  </a:lnTo>
                  <a:lnTo>
                    <a:pt x="444" y="38"/>
                  </a:lnTo>
                  <a:lnTo>
                    <a:pt x="444" y="38"/>
                  </a:lnTo>
                  <a:lnTo>
                    <a:pt x="444" y="40"/>
                  </a:lnTo>
                  <a:lnTo>
                    <a:pt x="440" y="42"/>
                  </a:lnTo>
                  <a:lnTo>
                    <a:pt x="436" y="44"/>
                  </a:lnTo>
                  <a:lnTo>
                    <a:pt x="434" y="46"/>
                  </a:lnTo>
                  <a:lnTo>
                    <a:pt x="430" y="48"/>
                  </a:lnTo>
                  <a:lnTo>
                    <a:pt x="428" y="50"/>
                  </a:lnTo>
                  <a:lnTo>
                    <a:pt x="426" y="50"/>
                  </a:lnTo>
                  <a:lnTo>
                    <a:pt x="424" y="50"/>
                  </a:lnTo>
                  <a:lnTo>
                    <a:pt x="422" y="50"/>
                  </a:lnTo>
                  <a:lnTo>
                    <a:pt x="420" y="50"/>
                  </a:lnTo>
                  <a:lnTo>
                    <a:pt x="420" y="50"/>
                  </a:lnTo>
                  <a:lnTo>
                    <a:pt x="418" y="46"/>
                  </a:lnTo>
                  <a:lnTo>
                    <a:pt x="414" y="44"/>
                  </a:lnTo>
                  <a:lnTo>
                    <a:pt x="412" y="42"/>
                  </a:lnTo>
                  <a:lnTo>
                    <a:pt x="412" y="40"/>
                  </a:lnTo>
                  <a:lnTo>
                    <a:pt x="408" y="36"/>
                  </a:lnTo>
                  <a:lnTo>
                    <a:pt x="406" y="32"/>
                  </a:lnTo>
                  <a:lnTo>
                    <a:pt x="404" y="30"/>
                  </a:lnTo>
                  <a:lnTo>
                    <a:pt x="402" y="28"/>
                  </a:lnTo>
                  <a:lnTo>
                    <a:pt x="400" y="26"/>
                  </a:lnTo>
                  <a:lnTo>
                    <a:pt x="400" y="26"/>
                  </a:lnTo>
                  <a:lnTo>
                    <a:pt x="398" y="26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6" y="24"/>
                  </a:lnTo>
                  <a:lnTo>
                    <a:pt x="392" y="22"/>
                  </a:lnTo>
                  <a:lnTo>
                    <a:pt x="388" y="22"/>
                  </a:lnTo>
                  <a:lnTo>
                    <a:pt x="384" y="20"/>
                  </a:lnTo>
                  <a:lnTo>
                    <a:pt x="382" y="20"/>
                  </a:lnTo>
                  <a:lnTo>
                    <a:pt x="382" y="20"/>
                  </a:lnTo>
                  <a:lnTo>
                    <a:pt x="380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6" y="20"/>
                  </a:lnTo>
                  <a:lnTo>
                    <a:pt x="374" y="20"/>
                  </a:lnTo>
                  <a:lnTo>
                    <a:pt x="370" y="22"/>
                  </a:lnTo>
                  <a:lnTo>
                    <a:pt x="368" y="24"/>
                  </a:lnTo>
                  <a:lnTo>
                    <a:pt x="364" y="26"/>
                  </a:lnTo>
                  <a:lnTo>
                    <a:pt x="360" y="28"/>
                  </a:lnTo>
                  <a:lnTo>
                    <a:pt x="358" y="30"/>
                  </a:lnTo>
                  <a:lnTo>
                    <a:pt x="354" y="34"/>
                  </a:lnTo>
                  <a:lnTo>
                    <a:pt x="352" y="36"/>
                  </a:lnTo>
                  <a:lnTo>
                    <a:pt x="350" y="36"/>
                  </a:lnTo>
                  <a:lnTo>
                    <a:pt x="350" y="36"/>
                  </a:lnTo>
                  <a:lnTo>
                    <a:pt x="352" y="30"/>
                  </a:lnTo>
                  <a:lnTo>
                    <a:pt x="352" y="26"/>
                  </a:lnTo>
                  <a:lnTo>
                    <a:pt x="354" y="24"/>
                  </a:lnTo>
                  <a:lnTo>
                    <a:pt x="354" y="22"/>
                  </a:lnTo>
                  <a:lnTo>
                    <a:pt x="358" y="16"/>
                  </a:lnTo>
                  <a:lnTo>
                    <a:pt x="360" y="14"/>
                  </a:lnTo>
                  <a:lnTo>
                    <a:pt x="360" y="12"/>
                  </a:lnTo>
                  <a:lnTo>
                    <a:pt x="360" y="12"/>
                  </a:lnTo>
                  <a:lnTo>
                    <a:pt x="360" y="10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2" y="8"/>
                  </a:lnTo>
                  <a:lnTo>
                    <a:pt x="360" y="6"/>
                  </a:lnTo>
                  <a:lnTo>
                    <a:pt x="360" y="6"/>
                  </a:lnTo>
                  <a:lnTo>
                    <a:pt x="360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8" y="4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6" y="2"/>
                  </a:lnTo>
                  <a:lnTo>
                    <a:pt x="354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50" y="0"/>
                  </a:lnTo>
                  <a:lnTo>
                    <a:pt x="346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4" y="0"/>
                  </a:lnTo>
                  <a:lnTo>
                    <a:pt x="342" y="0"/>
                  </a:lnTo>
                  <a:lnTo>
                    <a:pt x="342" y="0"/>
                  </a:lnTo>
                  <a:lnTo>
                    <a:pt x="340" y="2"/>
                  </a:lnTo>
                  <a:lnTo>
                    <a:pt x="338" y="2"/>
                  </a:lnTo>
                  <a:lnTo>
                    <a:pt x="338" y="2"/>
                  </a:lnTo>
                  <a:lnTo>
                    <a:pt x="338" y="4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6"/>
                  </a:lnTo>
                  <a:lnTo>
                    <a:pt x="336" y="8"/>
                  </a:lnTo>
                  <a:lnTo>
                    <a:pt x="334" y="12"/>
                  </a:lnTo>
                  <a:lnTo>
                    <a:pt x="334" y="16"/>
                  </a:lnTo>
                  <a:lnTo>
                    <a:pt x="334" y="20"/>
                  </a:lnTo>
                  <a:lnTo>
                    <a:pt x="332" y="22"/>
                  </a:lnTo>
                  <a:lnTo>
                    <a:pt x="332" y="24"/>
                  </a:lnTo>
                  <a:lnTo>
                    <a:pt x="330" y="26"/>
                  </a:lnTo>
                  <a:lnTo>
                    <a:pt x="328" y="26"/>
                  </a:lnTo>
                  <a:lnTo>
                    <a:pt x="326" y="26"/>
                  </a:lnTo>
                  <a:lnTo>
                    <a:pt x="322" y="26"/>
                  </a:lnTo>
                  <a:lnTo>
                    <a:pt x="318" y="26"/>
                  </a:lnTo>
                  <a:lnTo>
                    <a:pt x="312" y="26"/>
                  </a:lnTo>
                  <a:lnTo>
                    <a:pt x="308" y="26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4" y="24"/>
                  </a:lnTo>
                  <a:lnTo>
                    <a:pt x="302" y="26"/>
                  </a:lnTo>
                  <a:lnTo>
                    <a:pt x="302" y="26"/>
                  </a:lnTo>
                  <a:lnTo>
                    <a:pt x="300" y="26"/>
                  </a:lnTo>
                  <a:lnTo>
                    <a:pt x="298" y="26"/>
                  </a:lnTo>
                  <a:lnTo>
                    <a:pt x="298" y="26"/>
                  </a:lnTo>
                  <a:lnTo>
                    <a:pt x="298" y="28"/>
                  </a:lnTo>
                  <a:lnTo>
                    <a:pt x="296" y="28"/>
                  </a:lnTo>
                  <a:lnTo>
                    <a:pt x="296" y="28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0"/>
                  </a:lnTo>
                  <a:lnTo>
                    <a:pt x="296" y="32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4"/>
                  </a:lnTo>
                  <a:lnTo>
                    <a:pt x="294" y="38"/>
                  </a:lnTo>
                  <a:lnTo>
                    <a:pt x="294" y="42"/>
                  </a:lnTo>
                  <a:lnTo>
                    <a:pt x="292" y="44"/>
                  </a:lnTo>
                  <a:lnTo>
                    <a:pt x="294" y="46"/>
                  </a:lnTo>
                  <a:lnTo>
                    <a:pt x="294" y="52"/>
                  </a:lnTo>
                  <a:lnTo>
                    <a:pt x="294" y="54"/>
                  </a:lnTo>
                  <a:lnTo>
                    <a:pt x="294" y="54"/>
                  </a:lnTo>
                  <a:lnTo>
                    <a:pt x="292" y="54"/>
                  </a:lnTo>
                  <a:lnTo>
                    <a:pt x="290" y="52"/>
                  </a:lnTo>
                  <a:lnTo>
                    <a:pt x="286" y="52"/>
                  </a:lnTo>
                  <a:lnTo>
                    <a:pt x="284" y="50"/>
                  </a:lnTo>
                  <a:lnTo>
                    <a:pt x="282" y="50"/>
                  </a:lnTo>
                  <a:lnTo>
                    <a:pt x="280" y="50"/>
                  </a:lnTo>
                  <a:lnTo>
                    <a:pt x="272" y="50"/>
                  </a:lnTo>
                  <a:lnTo>
                    <a:pt x="270" y="48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6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2" y="50"/>
                  </a:lnTo>
                  <a:lnTo>
                    <a:pt x="260" y="52"/>
                  </a:lnTo>
                  <a:lnTo>
                    <a:pt x="260" y="52"/>
                  </a:lnTo>
                  <a:lnTo>
                    <a:pt x="258" y="52"/>
                  </a:lnTo>
                  <a:lnTo>
                    <a:pt x="256" y="54"/>
                  </a:lnTo>
                  <a:lnTo>
                    <a:pt x="252" y="56"/>
                  </a:lnTo>
                  <a:lnTo>
                    <a:pt x="250" y="58"/>
                  </a:lnTo>
                  <a:lnTo>
                    <a:pt x="248" y="62"/>
                  </a:lnTo>
                  <a:lnTo>
                    <a:pt x="244" y="68"/>
                  </a:lnTo>
                  <a:lnTo>
                    <a:pt x="242" y="72"/>
                  </a:lnTo>
                  <a:lnTo>
                    <a:pt x="242" y="74"/>
                  </a:lnTo>
                  <a:lnTo>
                    <a:pt x="240" y="78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0"/>
                  </a:lnTo>
                  <a:lnTo>
                    <a:pt x="240" y="86"/>
                  </a:lnTo>
                  <a:lnTo>
                    <a:pt x="240" y="90"/>
                  </a:lnTo>
                  <a:lnTo>
                    <a:pt x="240" y="92"/>
                  </a:lnTo>
                  <a:lnTo>
                    <a:pt x="240" y="94"/>
                  </a:lnTo>
                  <a:lnTo>
                    <a:pt x="240" y="94"/>
                  </a:lnTo>
                  <a:lnTo>
                    <a:pt x="238" y="94"/>
                  </a:lnTo>
                  <a:lnTo>
                    <a:pt x="236" y="96"/>
                  </a:lnTo>
                  <a:lnTo>
                    <a:pt x="232" y="96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30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8" y="98"/>
                  </a:lnTo>
                  <a:lnTo>
                    <a:pt x="224" y="102"/>
                  </a:lnTo>
                  <a:lnTo>
                    <a:pt x="222" y="104"/>
                  </a:lnTo>
                  <a:lnTo>
                    <a:pt x="218" y="108"/>
                  </a:lnTo>
                  <a:lnTo>
                    <a:pt x="214" y="110"/>
                  </a:lnTo>
                  <a:lnTo>
                    <a:pt x="214" y="110"/>
                  </a:lnTo>
                  <a:lnTo>
                    <a:pt x="212" y="112"/>
                  </a:lnTo>
                  <a:lnTo>
                    <a:pt x="206" y="112"/>
                  </a:lnTo>
                  <a:lnTo>
                    <a:pt x="200" y="114"/>
                  </a:lnTo>
                  <a:lnTo>
                    <a:pt x="198" y="114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6" y="116"/>
                  </a:lnTo>
                  <a:lnTo>
                    <a:pt x="194" y="118"/>
                  </a:lnTo>
                  <a:lnTo>
                    <a:pt x="194" y="118"/>
                  </a:lnTo>
                  <a:lnTo>
                    <a:pt x="194" y="120"/>
                  </a:lnTo>
                  <a:lnTo>
                    <a:pt x="192" y="122"/>
                  </a:lnTo>
                  <a:lnTo>
                    <a:pt x="192" y="122"/>
                  </a:lnTo>
                  <a:lnTo>
                    <a:pt x="190" y="122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26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0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4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0" y="138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2" y="140"/>
                  </a:lnTo>
                  <a:lnTo>
                    <a:pt x="194" y="142"/>
                  </a:lnTo>
                  <a:lnTo>
                    <a:pt x="196" y="144"/>
                  </a:lnTo>
                  <a:lnTo>
                    <a:pt x="198" y="146"/>
                  </a:lnTo>
                  <a:lnTo>
                    <a:pt x="202" y="148"/>
                  </a:lnTo>
                  <a:lnTo>
                    <a:pt x="206" y="150"/>
                  </a:lnTo>
                  <a:lnTo>
                    <a:pt x="212" y="156"/>
                  </a:lnTo>
                  <a:lnTo>
                    <a:pt x="216" y="158"/>
                  </a:lnTo>
                  <a:lnTo>
                    <a:pt x="220" y="160"/>
                  </a:lnTo>
                  <a:lnTo>
                    <a:pt x="224" y="162"/>
                  </a:lnTo>
                  <a:lnTo>
                    <a:pt x="226" y="166"/>
                  </a:lnTo>
                  <a:lnTo>
                    <a:pt x="228" y="168"/>
                  </a:lnTo>
                  <a:lnTo>
                    <a:pt x="228" y="170"/>
                  </a:lnTo>
                  <a:lnTo>
                    <a:pt x="228" y="172"/>
                  </a:lnTo>
                  <a:lnTo>
                    <a:pt x="228" y="174"/>
                  </a:lnTo>
                  <a:lnTo>
                    <a:pt x="228" y="178"/>
                  </a:lnTo>
                  <a:lnTo>
                    <a:pt x="228" y="180"/>
                  </a:lnTo>
                  <a:lnTo>
                    <a:pt x="228" y="180"/>
                  </a:lnTo>
                  <a:lnTo>
                    <a:pt x="230" y="180"/>
                  </a:lnTo>
                  <a:lnTo>
                    <a:pt x="230" y="182"/>
                  </a:lnTo>
                  <a:lnTo>
                    <a:pt x="230" y="182"/>
                  </a:lnTo>
                  <a:lnTo>
                    <a:pt x="230" y="184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2" y="186"/>
                  </a:lnTo>
                  <a:lnTo>
                    <a:pt x="234" y="186"/>
                  </a:lnTo>
                  <a:lnTo>
                    <a:pt x="234" y="186"/>
                  </a:lnTo>
                  <a:lnTo>
                    <a:pt x="236" y="188"/>
                  </a:lnTo>
                  <a:lnTo>
                    <a:pt x="238" y="188"/>
                  </a:lnTo>
                  <a:lnTo>
                    <a:pt x="242" y="188"/>
                  </a:lnTo>
                  <a:lnTo>
                    <a:pt x="246" y="188"/>
                  </a:lnTo>
                  <a:lnTo>
                    <a:pt x="252" y="188"/>
                  </a:lnTo>
                  <a:lnTo>
                    <a:pt x="254" y="188"/>
                  </a:lnTo>
                  <a:lnTo>
                    <a:pt x="258" y="188"/>
                  </a:lnTo>
                  <a:lnTo>
                    <a:pt x="262" y="190"/>
                  </a:lnTo>
                  <a:lnTo>
                    <a:pt x="266" y="192"/>
                  </a:lnTo>
                  <a:lnTo>
                    <a:pt x="270" y="196"/>
                  </a:lnTo>
                  <a:lnTo>
                    <a:pt x="272" y="198"/>
                  </a:lnTo>
                  <a:lnTo>
                    <a:pt x="272" y="200"/>
                  </a:lnTo>
                  <a:lnTo>
                    <a:pt x="274" y="202"/>
                  </a:lnTo>
                  <a:lnTo>
                    <a:pt x="274" y="204"/>
                  </a:lnTo>
                  <a:lnTo>
                    <a:pt x="274" y="208"/>
                  </a:lnTo>
                  <a:lnTo>
                    <a:pt x="274" y="206"/>
                  </a:lnTo>
                  <a:lnTo>
                    <a:pt x="276" y="210"/>
                  </a:lnTo>
                  <a:lnTo>
                    <a:pt x="274" y="212"/>
                  </a:lnTo>
                  <a:lnTo>
                    <a:pt x="274" y="212"/>
                  </a:lnTo>
                  <a:lnTo>
                    <a:pt x="272" y="214"/>
                  </a:lnTo>
                  <a:lnTo>
                    <a:pt x="272" y="214"/>
                  </a:lnTo>
                  <a:lnTo>
                    <a:pt x="270" y="216"/>
                  </a:lnTo>
                  <a:lnTo>
                    <a:pt x="266" y="218"/>
                  </a:lnTo>
                  <a:lnTo>
                    <a:pt x="260" y="218"/>
                  </a:lnTo>
                  <a:lnTo>
                    <a:pt x="254" y="220"/>
                  </a:lnTo>
                  <a:lnTo>
                    <a:pt x="248" y="222"/>
                  </a:lnTo>
                  <a:lnTo>
                    <a:pt x="242" y="222"/>
                  </a:lnTo>
                  <a:lnTo>
                    <a:pt x="238" y="222"/>
                  </a:lnTo>
                  <a:lnTo>
                    <a:pt x="236" y="222"/>
                  </a:lnTo>
                  <a:lnTo>
                    <a:pt x="236" y="222"/>
                  </a:lnTo>
                  <a:lnTo>
                    <a:pt x="234" y="220"/>
                  </a:lnTo>
                  <a:lnTo>
                    <a:pt x="236" y="218"/>
                  </a:lnTo>
                  <a:lnTo>
                    <a:pt x="236" y="214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10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8" y="206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4"/>
                  </a:lnTo>
                  <a:lnTo>
                    <a:pt x="236" y="202"/>
                  </a:lnTo>
                  <a:lnTo>
                    <a:pt x="236" y="202"/>
                  </a:lnTo>
                  <a:lnTo>
                    <a:pt x="234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2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30" y="202"/>
                  </a:lnTo>
                  <a:lnTo>
                    <a:pt x="226" y="202"/>
                  </a:lnTo>
                  <a:lnTo>
                    <a:pt x="224" y="204"/>
                  </a:lnTo>
                  <a:lnTo>
                    <a:pt x="220" y="206"/>
                  </a:lnTo>
                  <a:lnTo>
                    <a:pt x="216" y="208"/>
                  </a:lnTo>
                  <a:lnTo>
                    <a:pt x="208" y="212"/>
                  </a:lnTo>
                  <a:lnTo>
                    <a:pt x="198" y="216"/>
                  </a:lnTo>
                  <a:lnTo>
                    <a:pt x="188" y="222"/>
                  </a:lnTo>
                  <a:lnTo>
                    <a:pt x="184" y="224"/>
                  </a:lnTo>
                  <a:lnTo>
                    <a:pt x="180" y="226"/>
                  </a:lnTo>
                  <a:lnTo>
                    <a:pt x="176" y="228"/>
                  </a:lnTo>
                  <a:lnTo>
                    <a:pt x="172" y="230"/>
                  </a:lnTo>
                  <a:lnTo>
                    <a:pt x="170" y="232"/>
                  </a:lnTo>
                  <a:lnTo>
                    <a:pt x="168" y="234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6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38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6" y="240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68" y="242"/>
                  </a:lnTo>
                  <a:lnTo>
                    <a:pt x="170" y="242"/>
                  </a:lnTo>
                  <a:lnTo>
                    <a:pt x="172" y="242"/>
                  </a:lnTo>
                  <a:lnTo>
                    <a:pt x="176" y="242"/>
                  </a:lnTo>
                  <a:lnTo>
                    <a:pt x="178" y="242"/>
                  </a:lnTo>
                  <a:lnTo>
                    <a:pt x="180" y="244"/>
                  </a:lnTo>
                  <a:lnTo>
                    <a:pt x="182" y="244"/>
                  </a:lnTo>
                  <a:lnTo>
                    <a:pt x="182" y="246"/>
                  </a:lnTo>
                  <a:lnTo>
                    <a:pt x="184" y="248"/>
                  </a:lnTo>
                  <a:lnTo>
                    <a:pt x="186" y="252"/>
                  </a:lnTo>
                  <a:lnTo>
                    <a:pt x="188" y="256"/>
                  </a:lnTo>
                  <a:lnTo>
                    <a:pt x="188" y="260"/>
                  </a:lnTo>
                  <a:lnTo>
                    <a:pt x="190" y="264"/>
                  </a:lnTo>
                  <a:lnTo>
                    <a:pt x="192" y="266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4" y="270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6" y="272"/>
                  </a:lnTo>
                  <a:lnTo>
                    <a:pt x="198" y="272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0" y="274"/>
                  </a:lnTo>
                  <a:lnTo>
                    <a:pt x="202" y="276"/>
                  </a:lnTo>
                  <a:lnTo>
                    <a:pt x="204" y="276"/>
                  </a:lnTo>
                  <a:lnTo>
                    <a:pt x="206" y="276"/>
                  </a:lnTo>
                  <a:lnTo>
                    <a:pt x="210" y="276"/>
                  </a:lnTo>
                  <a:lnTo>
                    <a:pt x="214" y="276"/>
                  </a:lnTo>
                  <a:lnTo>
                    <a:pt x="218" y="276"/>
                  </a:lnTo>
                  <a:lnTo>
                    <a:pt x="222" y="276"/>
                  </a:lnTo>
                  <a:lnTo>
                    <a:pt x="226" y="278"/>
                  </a:lnTo>
                  <a:lnTo>
                    <a:pt x="232" y="276"/>
                  </a:lnTo>
                  <a:lnTo>
                    <a:pt x="236" y="276"/>
                  </a:lnTo>
                  <a:lnTo>
                    <a:pt x="240" y="276"/>
                  </a:lnTo>
                  <a:lnTo>
                    <a:pt x="242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6" y="276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48" y="274"/>
                  </a:lnTo>
                  <a:lnTo>
                    <a:pt x="250" y="274"/>
                  </a:lnTo>
                  <a:lnTo>
                    <a:pt x="250" y="272"/>
                  </a:lnTo>
                  <a:lnTo>
                    <a:pt x="252" y="270"/>
                  </a:lnTo>
                  <a:lnTo>
                    <a:pt x="252" y="270"/>
                  </a:lnTo>
                  <a:lnTo>
                    <a:pt x="254" y="270"/>
                  </a:lnTo>
                  <a:lnTo>
                    <a:pt x="256" y="270"/>
                  </a:lnTo>
                  <a:lnTo>
                    <a:pt x="260" y="270"/>
                  </a:lnTo>
                  <a:lnTo>
                    <a:pt x="266" y="272"/>
                  </a:lnTo>
                  <a:lnTo>
                    <a:pt x="268" y="272"/>
                  </a:lnTo>
                  <a:lnTo>
                    <a:pt x="270" y="272"/>
                  </a:lnTo>
                  <a:lnTo>
                    <a:pt x="272" y="274"/>
                  </a:lnTo>
                  <a:lnTo>
                    <a:pt x="274" y="276"/>
                  </a:lnTo>
                  <a:lnTo>
                    <a:pt x="274" y="278"/>
                  </a:lnTo>
                  <a:lnTo>
                    <a:pt x="276" y="280"/>
                  </a:lnTo>
                  <a:lnTo>
                    <a:pt x="276" y="284"/>
                  </a:lnTo>
                  <a:lnTo>
                    <a:pt x="278" y="288"/>
                  </a:lnTo>
                  <a:lnTo>
                    <a:pt x="278" y="294"/>
                  </a:lnTo>
                  <a:lnTo>
                    <a:pt x="278" y="298"/>
                  </a:lnTo>
                  <a:lnTo>
                    <a:pt x="276" y="300"/>
                  </a:lnTo>
                  <a:lnTo>
                    <a:pt x="276" y="304"/>
                  </a:lnTo>
                  <a:lnTo>
                    <a:pt x="274" y="306"/>
                  </a:lnTo>
                  <a:lnTo>
                    <a:pt x="272" y="306"/>
                  </a:lnTo>
                  <a:lnTo>
                    <a:pt x="270" y="308"/>
                  </a:lnTo>
                  <a:lnTo>
                    <a:pt x="266" y="310"/>
                  </a:lnTo>
                  <a:lnTo>
                    <a:pt x="258" y="312"/>
                  </a:lnTo>
                  <a:lnTo>
                    <a:pt x="254" y="312"/>
                  </a:lnTo>
                  <a:lnTo>
                    <a:pt x="252" y="314"/>
                  </a:lnTo>
                  <a:lnTo>
                    <a:pt x="248" y="316"/>
                  </a:lnTo>
                  <a:lnTo>
                    <a:pt x="244" y="316"/>
                  </a:lnTo>
                  <a:lnTo>
                    <a:pt x="236" y="318"/>
                  </a:lnTo>
                  <a:lnTo>
                    <a:pt x="228" y="320"/>
                  </a:lnTo>
                  <a:lnTo>
                    <a:pt x="224" y="322"/>
                  </a:lnTo>
                  <a:lnTo>
                    <a:pt x="220" y="324"/>
                  </a:lnTo>
                  <a:lnTo>
                    <a:pt x="218" y="326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4" y="328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10" y="334"/>
                  </a:lnTo>
                  <a:lnTo>
                    <a:pt x="206" y="340"/>
                  </a:lnTo>
                  <a:lnTo>
                    <a:pt x="204" y="348"/>
                  </a:lnTo>
                  <a:lnTo>
                    <a:pt x="202" y="354"/>
                  </a:lnTo>
                  <a:lnTo>
                    <a:pt x="200" y="360"/>
                  </a:lnTo>
                  <a:lnTo>
                    <a:pt x="200" y="364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66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0" y="370"/>
                  </a:lnTo>
                  <a:lnTo>
                    <a:pt x="202" y="372"/>
                  </a:lnTo>
                  <a:lnTo>
                    <a:pt x="202" y="372"/>
                  </a:lnTo>
                  <a:lnTo>
                    <a:pt x="202" y="374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4" y="376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6" y="378"/>
                  </a:lnTo>
                  <a:lnTo>
                    <a:pt x="208" y="380"/>
                  </a:lnTo>
                  <a:lnTo>
                    <a:pt x="212" y="382"/>
                  </a:lnTo>
                  <a:lnTo>
                    <a:pt x="218" y="384"/>
                  </a:lnTo>
                  <a:lnTo>
                    <a:pt x="220" y="386"/>
                  </a:lnTo>
                  <a:lnTo>
                    <a:pt x="222" y="388"/>
                  </a:lnTo>
                  <a:lnTo>
                    <a:pt x="224" y="390"/>
                  </a:lnTo>
                  <a:lnTo>
                    <a:pt x="228" y="392"/>
                  </a:lnTo>
                  <a:lnTo>
                    <a:pt x="230" y="394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4" y="396"/>
                  </a:lnTo>
                  <a:lnTo>
                    <a:pt x="230" y="396"/>
                  </a:lnTo>
                  <a:lnTo>
                    <a:pt x="224" y="394"/>
                  </a:lnTo>
                  <a:lnTo>
                    <a:pt x="218" y="394"/>
                  </a:lnTo>
                  <a:lnTo>
                    <a:pt x="214" y="394"/>
                  </a:lnTo>
                  <a:lnTo>
                    <a:pt x="212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10" y="394"/>
                  </a:lnTo>
                  <a:lnTo>
                    <a:pt x="208" y="394"/>
                  </a:lnTo>
                  <a:lnTo>
                    <a:pt x="208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4"/>
                  </a:lnTo>
                  <a:lnTo>
                    <a:pt x="206" y="396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398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0"/>
                  </a:lnTo>
                  <a:lnTo>
                    <a:pt x="206" y="402"/>
                  </a:lnTo>
                  <a:lnTo>
                    <a:pt x="206" y="402"/>
                  </a:lnTo>
                  <a:lnTo>
                    <a:pt x="206" y="404"/>
                  </a:lnTo>
                  <a:lnTo>
                    <a:pt x="210" y="406"/>
                  </a:lnTo>
                  <a:lnTo>
                    <a:pt x="212" y="410"/>
                  </a:lnTo>
                  <a:lnTo>
                    <a:pt x="216" y="414"/>
                  </a:lnTo>
                  <a:lnTo>
                    <a:pt x="218" y="418"/>
                  </a:lnTo>
                  <a:lnTo>
                    <a:pt x="222" y="420"/>
                  </a:lnTo>
                  <a:lnTo>
                    <a:pt x="224" y="422"/>
                  </a:lnTo>
                  <a:lnTo>
                    <a:pt x="224" y="422"/>
                  </a:lnTo>
                  <a:lnTo>
                    <a:pt x="224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28" y="424"/>
                  </a:lnTo>
                  <a:lnTo>
                    <a:pt x="230" y="424"/>
                  </a:lnTo>
                  <a:lnTo>
                    <a:pt x="230" y="424"/>
                  </a:lnTo>
                  <a:lnTo>
                    <a:pt x="230" y="426"/>
                  </a:lnTo>
                  <a:lnTo>
                    <a:pt x="232" y="426"/>
                  </a:lnTo>
                  <a:lnTo>
                    <a:pt x="234" y="424"/>
                  </a:lnTo>
                  <a:lnTo>
                    <a:pt x="234" y="424"/>
                  </a:lnTo>
                  <a:lnTo>
                    <a:pt x="236" y="424"/>
                  </a:lnTo>
                  <a:lnTo>
                    <a:pt x="240" y="422"/>
                  </a:lnTo>
                  <a:lnTo>
                    <a:pt x="244" y="422"/>
                  </a:lnTo>
                  <a:lnTo>
                    <a:pt x="246" y="420"/>
                  </a:lnTo>
                  <a:lnTo>
                    <a:pt x="248" y="418"/>
                  </a:lnTo>
                  <a:lnTo>
                    <a:pt x="254" y="414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2"/>
                  </a:lnTo>
                  <a:lnTo>
                    <a:pt x="256" y="416"/>
                  </a:lnTo>
                  <a:lnTo>
                    <a:pt x="254" y="420"/>
                  </a:lnTo>
                  <a:lnTo>
                    <a:pt x="254" y="426"/>
                  </a:lnTo>
                  <a:lnTo>
                    <a:pt x="252" y="432"/>
                  </a:lnTo>
                  <a:lnTo>
                    <a:pt x="252" y="438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0" y="442"/>
                  </a:lnTo>
                  <a:lnTo>
                    <a:pt x="252" y="444"/>
                  </a:lnTo>
                  <a:lnTo>
                    <a:pt x="252" y="446"/>
                  </a:lnTo>
                  <a:lnTo>
                    <a:pt x="252" y="446"/>
                  </a:lnTo>
                  <a:lnTo>
                    <a:pt x="252" y="448"/>
                  </a:lnTo>
                  <a:lnTo>
                    <a:pt x="252" y="450"/>
                  </a:lnTo>
                  <a:lnTo>
                    <a:pt x="252" y="450"/>
                  </a:lnTo>
                  <a:lnTo>
                    <a:pt x="254" y="450"/>
                  </a:lnTo>
                  <a:lnTo>
                    <a:pt x="254" y="452"/>
                  </a:lnTo>
                  <a:lnTo>
                    <a:pt x="254" y="452"/>
                  </a:lnTo>
                  <a:lnTo>
                    <a:pt x="256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58" y="454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0" y="456"/>
                  </a:lnTo>
                  <a:lnTo>
                    <a:pt x="266" y="458"/>
                  </a:lnTo>
                  <a:lnTo>
                    <a:pt x="270" y="458"/>
                  </a:lnTo>
                  <a:lnTo>
                    <a:pt x="272" y="458"/>
                  </a:lnTo>
                  <a:lnTo>
                    <a:pt x="272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4" y="458"/>
                  </a:lnTo>
                  <a:lnTo>
                    <a:pt x="278" y="458"/>
                  </a:lnTo>
                  <a:lnTo>
                    <a:pt x="284" y="456"/>
                  </a:lnTo>
                  <a:lnTo>
                    <a:pt x="288" y="456"/>
                  </a:lnTo>
                  <a:lnTo>
                    <a:pt x="290" y="454"/>
                  </a:lnTo>
                  <a:lnTo>
                    <a:pt x="292" y="454"/>
                  </a:lnTo>
                  <a:lnTo>
                    <a:pt x="292" y="456"/>
                  </a:lnTo>
                  <a:lnTo>
                    <a:pt x="294" y="456"/>
                  </a:lnTo>
                  <a:lnTo>
                    <a:pt x="294" y="458"/>
                  </a:lnTo>
                  <a:lnTo>
                    <a:pt x="296" y="460"/>
                  </a:lnTo>
                  <a:lnTo>
                    <a:pt x="298" y="462"/>
                  </a:lnTo>
                  <a:lnTo>
                    <a:pt x="300" y="462"/>
                  </a:lnTo>
                  <a:lnTo>
                    <a:pt x="300" y="462"/>
                  </a:lnTo>
                  <a:lnTo>
                    <a:pt x="300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2" y="464"/>
                  </a:lnTo>
                  <a:lnTo>
                    <a:pt x="304" y="464"/>
                  </a:lnTo>
                  <a:lnTo>
                    <a:pt x="304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6" y="464"/>
                  </a:lnTo>
                  <a:lnTo>
                    <a:pt x="308" y="462"/>
                  </a:lnTo>
                  <a:lnTo>
                    <a:pt x="310" y="462"/>
                  </a:lnTo>
                  <a:lnTo>
                    <a:pt x="310" y="462"/>
                  </a:lnTo>
                  <a:lnTo>
                    <a:pt x="310" y="460"/>
                  </a:lnTo>
                  <a:lnTo>
                    <a:pt x="310" y="458"/>
                  </a:lnTo>
                  <a:lnTo>
                    <a:pt x="312" y="456"/>
                  </a:lnTo>
                  <a:lnTo>
                    <a:pt x="312" y="454"/>
                  </a:lnTo>
                  <a:lnTo>
                    <a:pt x="314" y="452"/>
                  </a:lnTo>
                  <a:lnTo>
                    <a:pt x="314" y="450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16" y="448"/>
                  </a:lnTo>
                  <a:lnTo>
                    <a:pt x="318" y="448"/>
                  </a:lnTo>
                  <a:lnTo>
                    <a:pt x="322" y="446"/>
                  </a:lnTo>
                  <a:lnTo>
                    <a:pt x="324" y="446"/>
                  </a:lnTo>
                  <a:lnTo>
                    <a:pt x="324" y="446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48"/>
                  </a:lnTo>
                  <a:lnTo>
                    <a:pt x="326" y="450"/>
                  </a:lnTo>
                  <a:lnTo>
                    <a:pt x="326" y="454"/>
                  </a:lnTo>
                  <a:lnTo>
                    <a:pt x="326" y="456"/>
                  </a:lnTo>
                  <a:lnTo>
                    <a:pt x="324" y="464"/>
                  </a:lnTo>
                  <a:lnTo>
                    <a:pt x="322" y="468"/>
                  </a:lnTo>
                  <a:lnTo>
                    <a:pt x="322" y="470"/>
                  </a:lnTo>
                  <a:lnTo>
                    <a:pt x="318" y="476"/>
                  </a:lnTo>
                  <a:lnTo>
                    <a:pt x="316" y="482"/>
                  </a:lnTo>
                  <a:lnTo>
                    <a:pt x="310" y="488"/>
                  </a:lnTo>
                  <a:lnTo>
                    <a:pt x="306" y="492"/>
                  </a:lnTo>
                  <a:lnTo>
                    <a:pt x="300" y="498"/>
                  </a:lnTo>
                  <a:lnTo>
                    <a:pt x="294" y="502"/>
                  </a:lnTo>
                  <a:lnTo>
                    <a:pt x="288" y="508"/>
                  </a:lnTo>
                  <a:lnTo>
                    <a:pt x="280" y="512"/>
                  </a:lnTo>
                  <a:lnTo>
                    <a:pt x="274" y="516"/>
                  </a:lnTo>
                  <a:lnTo>
                    <a:pt x="266" y="520"/>
                  </a:lnTo>
                  <a:lnTo>
                    <a:pt x="260" y="522"/>
                  </a:lnTo>
                  <a:lnTo>
                    <a:pt x="252" y="526"/>
                  </a:lnTo>
                  <a:lnTo>
                    <a:pt x="246" y="530"/>
                  </a:lnTo>
                  <a:lnTo>
                    <a:pt x="240" y="532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32" y="536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6" y="540"/>
                  </a:lnTo>
                  <a:lnTo>
                    <a:pt x="224" y="542"/>
                  </a:lnTo>
                  <a:lnTo>
                    <a:pt x="224" y="542"/>
                  </a:lnTo>
                  <a:lnTo>
                    <a:pt x="224" y="544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22" y="546"/>
                  </a:lnTo>
                  <a:lnTo>
                    <a:pt x="218" y="552"/>
                  </a:lnTo>
                  <a:lnTo>
                    <a:pt x="218" y="556"/>
                  </a:lnTo>
                  <a:lnTo>
                    <a:pt x="216" y="558"/>
                  </a:lnTo>
                  <a:lnTo>
                    <a:pt x="214" y="560"/>
                  </a:lnTo>
                  <a:lnTo>
                    <a:pt x="212" y="562"/>
                  </a:lnTo>
                  <a:lnTo>
                    <a:pt x="210" y="562"/>
                  </a:lnTo>
                  <a:lnTo>
                    <a:pt x="208" y="562"/>
                  </a:lnTo>
                  <a:lnTo>
                    <a:pt x="200" y="564"/>
                  </a:lnTo>
                  <a:lnTo>
                    <a:pt x="192" y="564"/>
                  </a:lnTo>
                  <a:lnTo>
                    <a:pt x="188" y="564"/>
                  </a:lnTo>
                  <a:lnTo>
                    <a:pt x="186" y="564"/>
                  </a:lnTo>
                  <a:lnTo>
                    <a:pt x="182" y="566"/>
                  </a:lnTo>
                  <a:lnTo>
                    <a:pt x="180" y="566"/>
                  </a:lnTo>
                  <a:lnTo>
                    <a:pt x="176" y="568"/>
                  </a:lnTo>
                  <a:lnTo>
                    <a:pt x="174" y="570"/>
                  </a:lnTo>
                  <a:lnTo>
                    <a:pt x="170" y="574"/>
                  </a:lnTo>
                  <a:lnTo>
                    <a:pt x="166" y="576"/>
                  </a:lnTo>
                  <a:lnTo>
                    <a:pt x="162" y="578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60" y="580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6" y="584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6"/>
                  </a:lnTo>
                  <a:lnTo>
                    <a:pt x="154" y="588"/>
                  </a:lnTo>
                  <a:lnTo>
                    <a:pt x="152" y="594"/>
                  </a:lnTo>
                  <a:lnTo>
                    <a:pt x="152" y="596"/>
                  </a:lnTo>
                  <a:lnTo>
                    <a:pt x="150" y="598"/>
                  </a:lnTo>
                  <a:lnTo>
                    <a:pt x="150" y="600"/>
                  </a:lnTo>
                  <a:lnTo>
                    <a:pt x="146" y="600"/>
                  </a:lnTo>
                  <a:lnTo>
                    <a:pt x="144" y="602"/>
                  </a:lnTo>
                  <a:lnTo>
                    <a:pt x="140" y="602"/>
                  </a:lnTo>
                  <a:lnTo>
                    <a:pt x="134" y="602"/>
                  </a:lnTo>
                  <a:lnTo>
                    <a:pt x="128" y="602"/>
                  </a:lnTo>
                  <a:lnTo>
                    <a:pt x="116" y="602"/>
                  </a:lnTo>
                  <a:lnTo>
                    <a:pt x="110" y="604"/>
                  </a:lnTo>
                  <a:lnTo>
                    <a:pt x="106" y="604"/>
                  </a:lnTo>
                  <a:lnTo>
                    <a:pt x="100" y="606"/>
                  </a:lnTo>
                  <a:lnTo>
                    <a:pt x="96" y="608"/>
                  </a:lnTo>
                  <a:lnTo>
                    <a:pt x="94" y="608"/>
                  </a:lnTo>
                  <a:lnTo>
                    <a:pt x="90" y="610"/>
                  </a:lnTo>
                  <a:lnTo>
                    <a:pt x="88" y="612"/>
                  </a:lnTo>
                  <a:lnTo>
                    <a:pt x="86" y="612"/>
                  </a:lnTo>
                  <a:lnTo>
                    <a:pt x="76" y="616"/>
                  </a:lnTo>
                  <a:lnTo>
                    <a:pt x="72" y="616"/>
                  </a:lnTo>
                  <a:lnTo>
                    <a:pt x="66" y="616"/>
                  </a:lnTo>
                  <a:lnTo>
                    <a:pt x="60" y="616"/>
                  </a:lnTo>
                  <a:lnTo>
                    <a:pt x="54" y="616"/>
                  </a:lnTo>
                  <a:lnTo>
                    <a:pt x="46" y="614"/>
                  </a:lnTo>
                  <a:lnTo>
                    <a:pt x="40" y="614"/>
                  </a:lnTo>
                  <a:lnTo>
                    <a:pt x="32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8" y="616"/>
                  </a:lnTo>
                  <a:lnTo>
                    <a:pt x="22" y="618"/>
                  </a:lnTo>
                  <a:lnTo>
                    <a:pt x="16" y="620"/>
                  </a:lnTo>
                  <a:lnTo>
                    <a:pt x="12" y="622"/>
                  </a:lnTo>
                  <a:lnTo>
                    <a:pt x="8" y="624"/>
                  </a:lnTo>
                  <a:lnTo>
                    <a:pt x="4" y="628"/>
                  </a:lnTo>
                  <a:lnTo>
                    <a:pt x="2" y="630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2"/>
                  </a:lnTo>
                  <a:lnTo>
                    <a:pt x="0" y="634"/>
                  </a:lnTo>
                  <a:lnTo>
                    <a:pt x="0" y="634"/>
                  </a:lnTo>
                  <a:lnTo>
                    <a:pt x="0" y="636"/>
                  </a:lnTo>
                  <a:lnTo>
                    <a:pt x="0" y="636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2" y="638"/>
                  </a:lnTo>
                  <a:lnTo>
                    <a:pt x="4" y="638"/>
                  </a:lnTo>
                  <a:lnTo>
                    <a:pt x="6" y="636"/>
                  </a:lnTo>
                  <a:lnTo>
                    <a:pt x="10" y="636"/>
                  </a:lnTo>
                  <a:lnTo>
                    <a:pt x="14" y="634"/>
                  </a:lnTo>
                  <a:lnTo>
                    <a:pt x="18" y="632"/>
                  </a:lnTo>
                  <a:lnTo>
                    <a:pt x="24" y="632"/>
                  </a:lnTo>
                  <a:lnTo>
                    <a:pt x="28" y="630"/>
                  </a:lnTo>
                  <a:lnTo>
                    <a:pt x="32" y="630"/>
                  </a:lnTo>
                  <a:lnTo>
                    <a:pt x="40" y="628"/>
                  </a:lnTo>
                  <a:lnTo>
                    <a:pt x="48" y="626"/>
                  </a:lnTo>
                  <a:lnTo>
                    <a:pt x="58" y="626"/>
                  </a:lnTo>
                  <a:lnTo>
                    <a:pt x="66" y="624"/>
                  </a:lnTo>
                  <a:lnTo>
                    <a:pt x="72" y="622"/>
                  </a:lnTo>
                  <a:lnTo>
                    <a:pt x="78" y="622"/>
                  </a:lnTo>
                  <a:lnTo>
                    <a:pt x="84" y="620"/>
                  </a:lnTo>
                  <a:lnTo>
                    <a:pt x="88" y="620"/>
                  </a:lnTo>
                  <a:lnTo>
                    <a:pt x="90" y="618"/>
                  </a:lnTo>
                  <a:lnTo>
                    <a:pt x="100" y="616"/>
                  </a:lnTo>
                  <a:lnTo>
                    <a:pt x="110" y="614"/>
                  </a:lnTo>
                  <a:lnTo>
                    <a:pt x="116" y="614"/>
                  </a:lnTo>
                  <a:lnTo>
                    <a:pt x="122" y="612"/>
                  </a:lnTo>
                  <a:lnTo>
                    <a:pt x="134" y="612"/>
                  </a:lnTo>
                  <a:lnTo>
                    <a:pt x="140" y="612"/>
                  </a:lnTo>
                  <a:lnTo>
                    <a:pt x="146" y="612"/>
                  </a:lnTo>
                  <a:lnTo>
                    <a:pt x="152" y="612"/>
                  </a:lnTo>
                  <a:lnTo>
                    <a:pt x="156" y="612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0" y="610"/>
                  </a:lnTo>
                  <a:lnTo>
                    <a:pt x="164" y="610"/>
                  </a:lnTo>
                  <a:lnTo>
                    <a:pt x="164" y="610"/>
                  </a:lnTo>
                  <a:lnTo>
                    <a:pt x="164" y="608"/>
                  </a:lnTo>
                  <a:lnTo>
                    <a:pt x="168" y="608"/>
                  </a:lnTo>
                  <a:lnTo>
                    <a:pt x="170" y="606"/>
                  </a:lnTo>
                  <a:lnTo>
                    <a:pt x="174" y="602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6" y="600"/>
                  </a:lnTo>
                  <a:lnTo>
                    <a:pt x="178" y="600"/>
                  </a:lnTo>
                  <a:lnTo>
                    <a:pt x="180" y="600"/>
                  </a:lnTo>
                  <a:lnTo>
                    <a:pt x="182" y="600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4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6" y="602"/>
                  </a:lnTo>
                  <a:lnTo>
                    <a:pt x="188" y="602"/>
                  </a:lnTo>
                  <a:lnTo>
                    <a:pt x="188" y="602"/>
                  </a:lnTo>
                  <a:lnTo>
                    <a:pt x="190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2" y="600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4" y="596"/>
                  </a:lnTo>
                  <a:lnTo>
                    <a:pt x="196" y="594"/>
                  </a:lnTo>
                  <a:lnTo>
                    <a:pt x="198" y="590"/>
                  </a:lnTo>
                  <a:lnTo>
                    <a:pt x="200" y="586"/>
                  </a:lnTo>
                  <a:lnTo>
                    <a:pt x="204" y="582"/>
                  </a:lnTo>
                  <a:lnTo>
                    <a:pt x="206" y="578"/>
                  </a:lnTo>
                  <a:lnTo>
                    <a:pt x="210" y="574"/>
                  </a:lnTo>
                  <a:lnTo>
                    <a:pt x="216" y="570"/>
                  </a:lnTo>
                  <a:lnTo>
                    <a:pt x="218" y="568"/>
                  </a:lnTo>
                  <a:lnTo>
                    <a:pt x="222" y="566"/>
                  </a:lnTo>
                  <a:lnTo>
                    <a:pt x="230" y="562"/>
                  </a:lnTo>
                  <a:lnTo>
                    <a:pt x="238" y="558"/>
                  </a:lnTo>
                  <a:lnTo>
                    <a:pt x="248" y="554"/>
                  </a:lnTo>
                  <a:lnTo>
                    <a:pt x="258" y="548"/>
                  </a:lnTo>
                  <a:lnTo>
                    <a:pt x="268" y="544"/>
                  </a:lnTo>
                  <a:lnTo>
                    <a:pt x="278" y="540"/>
                  </a:lnTo>
                  <a:lnTo>
                    <a:pt x="286" y="534"/>
                  </a:lnTo>
                  <a:lnTo>
                    <a:pt x="302" y="526"/>
                  </a:lnTo>
                  <a:lnTo>
                    <a:pt x="316" y="518"/>
                  </a:lnTo>
                  <a:lnTo>
                    <a:pt x="330" y="510"/>
                  </a:lnTo>
                  <a:lnTo>
                    <a:pt x="338" y="504"/>
                  </a:lnTo>
                  <a:lnTo>
                    <a:pt x="344" y="500"/>
                  </a:lnTo>
                  <a:lnTo>
                    <a:pt x="350" y="494"/>
                  </a:lnTo>
                  <a:lnTo>
                    <a:pt x="356" y="486"/>
                  </a:lnTo>
                  <a:lnTo>
                    <a:pt x="362" y="478"/>
                  </a:lnTo>
                  <a:lnTo>
                    <a:pt x="368" y="472"/>
                  </a:lnTo>
                  <a:lnTo>
                    <a:pt x="374" y="464"/>
                  </a:lnTo>
                  <a:lnTo>
                    <a:pt x="378" y="458"/>
                  </a:lnTo>
                  <a:lnTo>
                    <a:pt x="382" y="452"/>
                  </a:lnTo>
                  <a:lnTo>
                    <a:pt x="384" y="450"/>
                  </a:lnTo>
                  <a:lnTo>
                    <a:pt x="384" y="448"/>
                  </a:lnTo>
                  <a:lnTo>
                    <a:pt x="386" y="446"/>
                  </a:lnTo>
                  <a:lnTo>
                    <a:pt x="386" y="446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4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2"/>
                  </a:lnTo>
                  <a:lnTo>
                    <a:pt x="386" y="440"/>
                  </a:lnTo>
                  <a:lnTo>
                    <a:pt x="384" y="440"/>
                  </a:lnTo>
                  <a:lnTo>
                    <a:pt x="384" y="440"/>
                  </a:lnTo>
                  <a:lnTo>
                    <a:pt x="390" y="440"/>
                  </a:lnTo>
                  <a:lnTo>
                    <a:pt x="396" y="440"/>
                  </a:lnTo>
                  <a:lnTo>
                    <a:pt x="398" y="440"/>
                  </a:lnTo>
                  <a:lnTo>
                    <a:pt x="400" y="440"/>
                  </a:lnTo>
                  <a:lnTo>
                    <a:pt x="402" y="440"/>
                  </a:lnTo>
                  <a:lnTo>
                    <a:pt x="404" y="440"/>
                  </a:lnTo>
                  <a:lnTo>
                    <a:pt x="404" y="440"/>
                  </a:lnTo>
                  <a:lnTo>
                    <a:pt x="402" y="442"/>
                  </a:lnTo>
                  <a:lnTo>
                    <a:pt x="400" y="444"/>
                  </a:lnTo>
                  <a:lnTo>
                    <a:pt x="398" y="446"/>
                  </a:lnTo>
                  <a:lnTo>
                    <a:pt x="396" y="450"/>
                  </a:lnTo>
                  <a:lnTo>
                    <a:pt x="394" y="452"/>
                  </a:lnTo>
                  <a:lnTo>
                    <a:pt x="388" y="458"/>
                  </a:lnTo>
                  <a:lnTo>
                    <a:pt x="380" y="464"/>
                  </a:lnTo>
                  <a:lnTo>
                    <a:pt x="378" y="468"/>
                  </a:lnTo>
                  <a:lnTo>
                    <a:pt x="376" y="470"/>
                  </a:lnTo>
                  <a:lnTo>
                    <a:pt x="374" y="472"/>
                  </a:lnTo>
                  <a:lnTo>
                    <a:pt x="372" y="474"/>
                  </a:lnTo>
                  <a:lnTo>
                    <a:pt x="370" y="474"/>
                  </a:lnTo>
                  <a:lnTo>
                    <a:pt x="370" y="474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6"/>
                  </a:lnTo>
                  <a:lnTo>
                    <a:pt x="370" y="478"/>
                  </a:lnTo>
                  <a:lnTo>
                    <a:pt x="370" y="478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2" y="480"/>
                  </a:lnTo>
                  <a:lnTo>
                    <a:pt x="374" y="480"/>
                  </a:lnTo>
                  <a:lnTo>
                    <a:pt x="374" y="480"/>
                  </a:lnTo>
                  <a:lnTo>
                    <a:pt x="376" y="478"/>
                  </a:lnTo>
                  <a:lnTo>
                    <a:pt x="378" y="478"/>
                  </a:lnTo>
                  <a:lnTo>
                    <a:pt x="380" y="476"/>
                  </a:lnTo>
                  <a:lnTo>
                    <a:pt x="382" y="474"/>
                  </a:lnTo>
                  <a:lnTo>
                    <a:pt x="388" y="470"/>
                  </a:lnTo>
                  <a:lnTo>
                    <a:pt x="394" y="464"/>
                  </a:lnTo>
                  <a:lnTo>
                    <a:pt x="400" y="460"/>
                  </a:lnTo>
                  <a:lnTo>
                    <a:pt x="406" y="456"/>
                  </a:lnTo>
                  <a:lnTo>
                    <a:pt x="408" y="454"/>
                  </a:lnTo>
                  <a:lnTo>
                    <a:pt x="410" y="452"/>
                  </a:lnTo>
                  <a:lnTo>
                    <a:pt x="418" y="446"/>
                  </a:lnTo>
                  <a:lnTo>
                    <a:pt x="424" y="442"/>
                  </a:lnTo>
                  <a:lnTo>
                    <a:pt x="430" y="438"/>
                  </a:lnTo>
                  <a:lnTo>
                    <a:pt x="436" y="432"/>
                  </a:lnTo>
                  <a:lnTo>
                    <a:pt x="442" y="428"/>
                  </a:lnTo>
                  <a:lnTo>
                    <a:pt x="448" y="424"/>
                  </a:lnTo>
                  <a:lnTo>
                    <a:pt x="454" y="422"/>
                  </a:lnTo>
                  <a:lnTo>
                    <a:pt x="456" y="420"/>
                  </a:lnTo>
                  <a:lnTo>
                    <a:pt x="456" y="420"/>
                  </a:lnTo>
                  <a:lnTo>
                    <a:pt x="458" y="420"/>
                  </a:lnTo>
                  <a:lnTo>
                    <a:pt x="458" y="420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0" y="422"/>
                  </a:lnTo>
                  <a:lnTo>
                    <a:pt x="462" y="422"/>
                  </a:lnTo>
                  <a:lnTo>
                    <a:pt x="462" y="422"/>
                  </a:lnTo>
                  <a:lnTo>
                    <a:pt x="462" y="424"/>
                  </a:lnTo>
                  <a:lnTo>
                    <a:pt x="464" y="424"/>
                  </a:lnTo>
                  <a:lnTo>
                    <a:pt x="464" y="424"/>
                  </a:lnTo>
                  <a:lnTo>
                    <a:pt x="468" y="424"/>
                  </a:lnTo>
                  <a:lnTo>
                    <a:pt x="472" y="424"/>
                  </a:lnTo>
                  <a:lnTo>
                    <a:pt x="474" y="422"/>
                  </a:lnTo>
                  <a:lnTo>
                    <a:pt x="474" y="422"/>
                  </a:lnTo>
                  <a:lnTo>
                    <a:pt x="476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78" y="422"/>
                  </a:lnTo>
                  <a:lnTo>
                    <a:pt x="480" y="420"/>
                  </a:lnTo>
                  <a:lnTo>
                    <a:pt x="482" y="420"/>
                  </a:lnTo>
                  <a:lnTo>
                    <a:pt x="484" y="418"/>
                  </a:lnTo>
                  <a:lnTo>
                    <a:pt x="488" y="414"/>
                  </a:lnTo>
                  <a:lnTo>
                    <a:pt x="492" y="410"/>
                  </a:lnTo>
                  <a:lnTo>
                    <a:pt x="492" y="408"/>
                  </a:lnTo>
                  <a:lnTo>
                    <a:pt x="494" y="406"/>
                  </a:lnTo>
                  <a:lnTo>
                    <a:pt x="494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6" y="406"/>
                  </a:lnTo>
                  <a:lnTo>
                    <a:pt x="498" y="406"/>
                  </a:lnTo>
                  <a:lnTo>
                    <a:pt x="500" y="404"/>
                  </a:lnTo>
                  <a:lnTo>
                    <a:pt x="502" y="404"/>
                  </a:lnTo>
                  <a:lnTo>
                    <a:pt x="506" y="402"/>
                  </a:lnTo>
                  <a:lnTo>
                    <a:pt x="510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0"/>
                  </a:lnTo>
                  <a:lnTo>
                    <a:pt x="512" y="404"/>
                  </a:lnTo>
                  <a:lnTo>
                    <a:pt x="510" y="408"/>
                  </a:lnTo>
                  <a:lnTo>
                    <a:pt x="510" y="410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4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0" y="418"/>
                  </a:lnTo>
                  <a:lnTo>
                    <a:pt x="512" y="420"/>
                  </a:lnTo>
                  <a:lnTo>
                    <a:pt x="512" y="420"/>
                  </a:lnTo>
                  <a:lnTo>
                    <a:pt x="514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6" y="422"/>
                  </a:lnTo>
                  <a:lnTo>
                    <a:pt x="518" y="422"/>
                  </a:lnTo>
                  <a:lnTo>
                    <a:pt x="520" y="422"/>
                  </a:lnTo>
                  <a:lnTo>
                    <a:pt x="522" y="422"/>
                  </a:lnTo>
                  <a:lnTo>
                    <a:pt x="526" y="420"/>
                  </a:lnTo>
                  <a:lnTo>
                    <a:pt x="532" y="418"/>
                  </a:lnTo>
                  <a:lnTo>
                    <a:pt x="536" y="418"/>
                  </a:lnTo>
                  <a:lnTo>
                    <a:pt x="538" y="418"/>
                  </a:lnTo>
                  <a:lnTo>
                    <a:pt x="540" y="418"/>
                  </a:lnTo>
                  <a:lnTo>
                    <a:pt x="542" y="418"/>
                  </a:lnTo>
                  <a:lnTo>
                    <a:pt x="546" y="420"/>
                  </a:lnTo>
                  <a:lnTo>
                    <a:pt x="548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0" y="422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2" y="424"/>
                  </a:lnTo>
                  <a:lnTo>
                    <a:pt x="554" y="424"/>
                  </a:lnTo>
                  <a:lnTo>
                    <a:pt x="554" y="424"/>
                  </a:lnTo>
                  <a:lnTo>
                    <a:pt x="556" y="422"/>
                  </a:lnTo>
                  <a:lnTo>
                    <a:pt x="560" y="422"/>
                  </a:lnTo>
                  <a:lnTo>
                    <a:pt x="560" y="422"/>
                  </a:lnTo>
                  <a:lnTo>
                    <a:pt x="560" y="424"/>
                  </a:lnTo>
                  <a:lnTo>
                    <a:pt x="560" y="426"/>
                  </a:lnTo>
                  <a:lnTo>
                    <a:pt x="560" y="428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0"/>
                  </a:lnTo>
                  <a:lnTo>
                    <a:pt x="560" y="434"/>
                  </a:lnTo>
                  <a:lnTo>
                    <a:pt x="564" y="436"/>
                  </a:lnTo>
                  <a:lnTo>
                    <a:pt x="568" y="438"/>
                  </a:lnTo>
                  <a:lnTo>
                    <a:pt x="576" y="444"/>
                  </a:lnTo>
                  <a:lnTo>
                    <a:pt x="578" y="448"/>
                  </a:lnTo>
                  <a:lnTo>
                    <a:pt x="582" y="452"/>
                  </a:lnTo>
                  <a:lnTo>
                    <a:pt x="584" y="456"/>
                  </a:lnTo>
                  <a:lnTo>
                    <a:pt x="586" y="458"/>
                  </a:lnTo>
                  <a:lnTo>
                    <a:pt x="586" y="458"/>
                  </a:lnTo>
                  <a:lnTo>
                    <a:pt x="588" y="460"/>
                  </a:lnTo>
                  <a:lnTo>
                    <a:pt x="590" y="462"/>
                  </a:lnTo>
                  <a:lnTo>
                    <a:pt x="590" y="462"/>
                  </a:lnTo>
                  <a:lnTo>
                    <a:pt x="592" y="464"/>
                  </a:lnTo>
                  <a:lnTo>
                    <a:pt x="594" y="466"/>
                  </a:lnTo>
                  <a:lnTo>
                    <a:pt x="594" y="466"/>
                  </a:lnTo>
                  <a:lnTo>
                    <a:pt x="598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600" y="466"/>
                  </a:lnTo>
                  <a:lnTo>
                    <a:pt x="598" y="468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0"/>
                  </a:lnTo>
                  <a:lnTo>
                    <a:pt x="598" y="474"/>
                  </a:lnTo>
                  <a:lnTo>
                    <a:pt x="600" y="478"/>
                  </a:lnTo>
                  <a:lnTo>
                    <a:pt x="600" y="478"/>
                  </a:lnTo>
                  <a:lnTo>
                    <a:pt x="602" y="478"/>
                  </a:lnTo>
                  <a:lnTo>
                    <a:pt x="602" y="480"/>
                  </a:lnTo>
                  <a:lnTo>
                    <a:pt x="604" y="482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06" y="486"/>
                  </a:lnTo>
                  <a:lnTo>
                    <a:pt x="610" y="490"/>
                  </a:lnTo>
                  <a:lnTo>
                    <a:pt x="612" y="494"/>
                  </a:lnTo>
                  <a:lnTo>
                    <a:pt x="614" y="498"/>
                  </a:lnTo>
                  <a:lnTo>
                    <a:pt x="614" y="502"/>
                  </a:lnTo>
                  <a:lnTo>
                    <a:pt x="614" y="502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4" y="504"/>
                  </a:lnTo>
                  <a:lnTo>
                    <a:pt x="616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08"/>
                  </a:lnTo>
                  <a:lnTo>
                    <a:pt x="618" y="510"/>
                  </a:lnTo>
                  <a:lnTo>
                    <a:pt x="618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0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2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4" y="510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8"/>
                  </a:lnTo>
                  <a:lnTo>
                    <a:pt x="626" y="506"/>
                  </a:lnTo>
                  <a:lnTo>
                    <a:pt x="628" y="504"/>
                  </a:lnTo>
                  <a:lnTo>
                    <a:pt x="628" y="504"/>
                  </a:lnTo>
                  <a:lnTo>
                    <a:pt x="628" y="502"/>
                  </a:lnTo>
                  <a:lnTo>
                    <a:pt x="628" y="500"/>
                  </a:lnTo>
                  <a:lnTo>
                    <a:pt x="628" y="500"/>
                  </a:lnTo>
                  <a:lnTo>
                    <a:pt x="628" y="498"/>
                  </a:lnTo>
                  <a:lnTo>
                    <a:pt x="626" y="496"/>
                  </a:lnTo>
                  <a:lnTo>
                    <a:pt x="626" y="494"/>
                  </a:lnTo>
                  <a:lnTo>
                    <a:pt x="624" y="492"/>
                  </a:lnTo>
                  <a:lnTo>
                    <a:pt x="624" y="490"/>
                  </a:lnTo>
                  <a:lnTo>
                    <a:pt x="626" y="490"/>
                  </a:lnTo>
                  <a:lnTo>
                    <a:pt x="626" y="490"/>
                  </a:lnTo>
                  <a:lnTo>
                    <a:pt x="628" y="490"/>
                  </a:lnTo>
                  <a:lnTo>
                    <a:pt x="630" y="490"/>
                  </a:lnTo>
                  <a:lnTo>
                    <a:pt x="630" y="490"/>
                  </a:lnTo>
                  <a:lnTo>
                    <a:pt x="630" y="488"/>
                  </a:lnTo>
                  <a:lnTo>
                    <a:pt x="632" y="486"/>
                  </a:lnTo>
                  <a:lnTo>
                    <a:pt x="632" y="486"/>
                  </a:lnTo>
                  <a:lnTo>
                    <a:pt x="632" y="484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2"/>
                  </a:lnTo>
                  <a:lnTo>
                    <a:pt x="632" y="480"/>
                  </a:lnTo>
                  <a:lnTo>
                    <a:pt x="630" y="478"/>
                  </a:lnTo>
                  <a:lnTo>
                    <a:pt x="630" y="474"/>
                  </a:lnTo>
                  <a:lnTo>
                    <a:pt x="630" y="472"/>
                  </a:lnTo>
                  <a:lnTo>
                    <a:pt x="630" y="470"/>
                  </a:lnTo>
                  <a:lnTo>
                    <a:pt x="630" y="472"/>
                  </a:lnTo>
                  <a:lnTo>
                    <a:pt x="632" y="472"/>
                  </a:lnTo>
                  <a:lnTo>
                    <a:pt x="634" y="476"/>
                  </a:lnTo>
                  <a:lnTo>
                    <a:pt x="634" y="482"/>
                  </a:lnTo>
                  <a:lnTo>
                    <a:pt x="636" y="488"/>
                  </a:lnTo>
                  <a:lnTo>
                    <a:pt x="636" y="488"/>
                  </a:lnTo>
                  <a:lnTo>
                    <a:pt x="638" y="490"/>
                  </a:lnTo>
                  <a:lnTo>
                    <a:pt x="640" y="490"/>
                  </a:lnTo>
                  <a:lnTo>
                    <a:pt x="644" y="492"/>
                  </a:lnTo>
                  <a:lnTo>
                    <a:pt x="644" y="494"/>
                  </a:lnTo>
                  <a:lnTo>
                    <a:pt x="644" y="494"/>
                  </a:lnTo>
                  <a:lnTo>
                    <a:pt x="644" y="492"/>
                  </a:lnTo>
                  <a:lnTo>
                    <a:pt x="640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8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4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2" y="492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30" y="494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6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498"/>
                  </a:lnTo>
                  <a:lnTo>
                    <a:pt x="628" y="500"/>
                  </a:lnTo>
                  <a:lnTo>
                    <a:pt x="630" y="504"/>
                  </a:lnTo>
                  <a:lnTo>
                    <a:pt x="630" y="504"/>
                  </a:lnTo>
                  <a:lnTo>
                    <a:pt x="632" y="506"/>
                  </a:lnTo>
                  <a:lnTo>
                    <a:pt x="632" y="506"/>
                  </a:lnTo>
                  <a:lnTo>
                    <a:pt x="634" y="506"/>
                  </a:lnTo>
                  <a:lnTo>
                    <a:pt x="634" y="508"/>
                  </a:lnTo>
                  <a:lnTo>
                    <a:pt x="636" y="508"/>
                  </a:lnTo>
                  <a:lnTo>
                    <a:pt x="640" y="508"/>
                  </a:lnTo>
                  <a:lnTo>
                    <a:pt x="642" y="510"/>
                  </a:lnTo>
                  <a:lnTo>
                    <a:pt x="642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0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6" y="512"/>
                  </a:lnTo>
                  <a:lnTo>
                    <a:pt x="644" y="512"/>
                  </a:lnTo>
                  <a:lnTo>
                    <a:pt x="644" y="512"/>
                  </a:lnTo>
                  <a:lnTo>
                    <a:pt x="642" y="512"/>
                  </a:lnTo>
                  <a:lnTo>
                    <a:pt x="642" y="512"/>
                  </a:lnTo>
                  <a:lnTo>
                    <a:pt x="640" y="514"/>
                  </a:lnTo>
                  <a:lnTo>
                    <a:pt x="640" y="518"/>
                  </a:lnTo>
                  <a:lnTo>
                    <a:pt x="640" y="520"/>
                  </a:lnTo>
                  <a:lnTo>
                    <a:pt x="640" y="522"/>
                  </a:lnTo>
                  <a:lnTo>
                    <a:pt x="640" y="524"/>
                  </a:lnTo>
                  <a:lnTo>
                    <a:pt x="640" y="528"/>
                  </a:lnTo>
                  <a:lnTo>
                    <a:pt x="640" y="530"/>
                  </a:lnTo>
                  <a:lnTo>
                    <a:pt x="640" y="530"/>
                  </a:lnTo>
                  <a:lnTo>
                    <a:pt x="640" y="532"/>
                  </a:lnTo>
                  <a:lnTo>
                    <a:pt x="640" y="534"/>
                  </a:lnTo>
                  <a:lnTo>
                    <a:pt x="640" y="536"/>
                  </a:lnTo>
                  <a:lnTo>
                    <a:pt x="640" y="538"/>
                  </a:lnTo>
                  <a:lnTo>
                    <a:pt x="642" y="540"/>
                  </a:lnTo>
                  <a:lnTo>
                    <a:pt x="642" y="540"/>
                  </a:lnTo>
                  <a:lnTo>
                    <a:pt x="642" y="542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4" y="544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6" y="546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48" y="548"/>
                  </a:lnTo>
                  <a:lnTo>
                    <a:pt x="650" y="548"/>
                  </a:lnTo>
                  <a:lnTo>
                    <a:pt x="650" y="548"/>
                  </a:lnTo>
                  <a:lnTo>
                    <a:pt x="652" y="548"/>
                  </a:lnTo>
                  <a:lnTo>
                    <a:pt x="654" y="546"/>
                  </a:lnTo>
                  <a:lnTo>
                    <a:pt x="656" y="546"/>
                  </a:lnTo>
                  <a:lnTo>
                    <a:pt x="656" y="546"/>
                  </a:lnTo>
                  <a:lnTo>
                    <a:pt x="658" y="544"/>
                  </a:lnTo>
                  <a:lnTo>
                    <a:pt x="662" y="542"/>
                  </a:lnTo>
                  <a:lnTo>
                    <a:pt x="664" y="542"/>
                  </a:lnTo>
                  <a:lnTo>
                    <a:pt x="666" y="540"/>
                  </a:lnTo>
                  <a:lnTo>
                    <a:pt x="668" y="540"/>
                  </a:lnTo>
                  <a:lnTo>
                    <a:pt x="668" y="540"/>
                  </a:lnTo>
                  <a:lnTo>
                    <a:pt x="670" y="542"/>
                  </a:lnTo>
                  <a:lnTo>
                    <a:pt x="672" y="542"/>
                  </a:lnTo>
                  <a:lnTo>
                    <a:pt x="672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4" y="542"/>
                  </a:lnTo>
                  <a:lnTo>
                    <a:pt x="676" y="542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78" y="544"/>
                  </a:lnTo>
                  <a:lnTo>
                    <a:pt x="680" y="546"/>
                  </a:lnTo>
                  <a:lnTo>
                    <a:pt x="680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2" y="546"/>
                  </a:lnTo>
                  <a:lnTo>
                    <a:pt x="684" y="544"/>
                  </a:lnTo>
                  <a:lnTo>
                    <a:pt x="686" y="544"/>
                  </a:lnTo>
                  <a:lnTo>
                    <a:pt x="686" y="544"/>
                  </a:lnTo>
                  <a:lnTo>
                    <a:pt x="686" y="542"/>
                  </a:lnTo>
                  <a:lnTo>
                    <a:pt x="686" y="540"/>
                  </a:lnTo>
                  <a:lnTo>
                    <a:pt x="688" y="538"/>
                  </a:lnTo>
                  <a:lnTo>
                    <a:pt x="688" y="534"/>
                  </a:lnTo>
                  <a:lnTo>
                    <a:pt x="688" y="530"/>
                  </a:lnTo>
                  <a:lnTo>
                    <a:pt x="688" y="524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20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lnTo>
                    <a:pt x="688" y="518"/>
                  </a:lnTo>
                  <a:close/>
                  <a:moveTo>
                    <a:pt x="294" y="54"/>
                  </a:moveTo>
                  <a:lnTo>
                    <a:pt x="294" y="54"/>
                  </a:lnTo>
                  <a:lnTo>
                    <a:pt x="294" y="54"/>
                  </a:lnTo>
                  <a:lnTo>
                    <a:pt x="294" y="54"/>
                  </a:lnTo>
                  <a:close/>
                  <a:moveTo>
                    <a:pt x="606" y="460"/>
                  </a:move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2"/>
                  </a:lnTo>
                  <a:lnTo>
                    <a:pt x="604" y="460"/>
                  </a:lnTo>
                  <a:lnTo>
                    <a:pt x="604" y="458"/>
                  </a:lnTo>
                  <a:lnTo>
                    <a:pt x="604" y="458"/>
                  </a:lnTo>
                  <a:lnTo>
                    <a:pt x="606" y="458"/>
                  </a:lnTo>
                  <a:lnTo>
                    <a:pt x="608" y="460"/>
                  </a:lnTo>
                  <a:lnTo>
                    <a:pt x="606" y="460"/>
                  </a:lnTo>
                  <a:close/>
                  <a:moveTo>
                    <a:pt x="654" y="516"/>
                  </a:moveTo>
                  <a:lnTo>
                    <a:pt x="654" y="516"/>
                  </a:lnTo>
                  <a:lnTo>
                    <a:pt x="652" y="516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48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52" y="514"/>
                  </a:lnTo>
                  <a:lnTo>
                    <a:pt x="654" y="516"/>
                  </a:lnTo>
                  <a:lnTo>
                    <a:pt x="654" y="516"/>
                  </a:lnTo>
                  <a:lnTo>
                    <a:pt x="654" y="516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3" name="Freeform 24"/>
            <p:cNvSpPr>
              <a:spLocks/>
            </p:cNvSpPr>
            <p:nvPr>
              <p:custDataLst>
                <p:tags r:id="rId166"/>
              </p:custDataLst>
            </p:nvPr>
          </p:nvSpPr>
          <p:spPr bwMode="gray">
            <a:xfrm>
              <a:off x="2631498" y="4833319"/>
              <a:ext cx="434861" cy="1027517"/>
            </a:xfrm>
            <a:custGeom>
              <a:avLst/>
              <a:gdLst/>
              <a:ahLst/>
              <a:cxnLst/>
              <a:rect l="l" t="t" r="r" b="b"/>
              <a:pathLst>
                <a:path w="426179" h="1007062">
                  <a:moveTo>
                    <a:pt x="295614" y="854662"/>
                  </a:moveTo>
                  <a:cubicBezTo>
                    <a:pt x="328952" y="856209"/>
                    <a:pt x="348002" y="856209"/>
                    <a:pt x="376577" y="862396"/>
                  </a:cubicBezTo>
                  <a:cubicBezTo>
                    <a:pt x="371815" y="876317"/>
                    <a:pt x="363877" y="879411"/>
                    <a:pt x="349590" y="882505"/>
                  </a:cubicBezTo>
                  <a:cubicBezTo>
                    <a:pt x="341652" y="896426"/>
                    <a:pt x="336890" y="897973"/>
                    <a:pt x="321014" y="901066"/>
                  </a:cubicBezTo>
                  <a:cubicBezTo>
                    <a:pt x="303552" y="914987"/>
                    <a:pt x="297202" y="897973"/>
                    <a:pt x="278152" y="894879"/>
                  </a:cubicBezTo>
                  <a:cubicBezTo>
                    <a:pt x="270214" y="882505"/>
                    <a:pt x="274977" y="874771"/>
                    <a:pt x="287677" y="868583"/>
                  </a:cubicBezTo>
                  <a:cubicBezTo>
                    <a:pt x="294027" y="860849"/>
                    <a:pt x="290852" y="865490"/>
                    <a:pt x="295614" y="854662"/>
                  </a:cubicBezTo>
                  <a:close/>
                  <a:moveTo>
                    <a:pt x="167429" y="363"/>
                  </a:moveTo>
                  <a:cubicBezTo>
                    <a:pt x="170608" y="1534"/>
                    <a:pt x="180528" y="5044"/>
                    <a:pt x="225759" y="3518"/>
                  </a:cubicBezTo>
                  <a:cubicBezTo>
                    <a:pt x="233704" y="8199"/>
                    <a:pt x="252747" y="9725"/>
                    <a:pt x="259094" y="17561"/>
                  </a:cubicBezTo>
                  <a:cubicBezTo>
                    <a:pt x="274984" y="23768"/>
                    <a:pt x="306722" y="40863"/>
                    <a:pt x="314667" y="53380"/>
                  </a:cubicBezTo>
                  <a:cubicBezTo>
                    <a:pt x="333709" y="67422"/>
                    <a:pt x="349599" y="78310"/>
                    <a:pt x="363892" y="97034"/>
                  </a:cubicBezTo>
                  <a:cubicBezTo>
                    <a:pt x="362294" y="106396"/>
                    <a:pt x="359099" y="110975"/>
                    <a:pt x="354349" y="118810"/>
                  </a:cubicBezTo>
                  <a:cubicBezTo>
                    <a:pt x="359099" y="126646"/>
                    <a:pt x="362294" y="129699"/>
                    <a:pt x="371794" y="132853"/>
                  </a:cubicBezTo>
                  <a:cubicBezTo>
                    <a:pt x="386086" y="134380"/>
                    <a:pt x="408324" y="140587"/>
                    <a:pt x="421019" y="134380"/>
                  </a:cubicBezTo>
                  <a:cubicBezTo>
                    <a:pt x="428964" y="137534"/>
                    <a:pt x="425769" y="145268"/>
                    <a:pt x="424214" y="151577"/>
                  </a:cubicBezTo>
                  <a:cubicBezTo>
                    <a:pt x="414671" y="156258"/>
                    <a:pt x="411519" y="160939"/>
                    <a:pt x="406726" y="170199"/>
                  </a:cubicBezTo>
                  <a:cubicBezTo>
                    <a:pt x="398781" y="176508"/>
                    <a:pt x="395629" y="181189"/>
                    <a:pt x="390879" y="188922"/>
                  </a:cubicBezTo>
                  <a:cubicBezTo>
                    <a:pt x="381336" y="196758"/>
                    <a:pt x="374989" y="206119"/>
                    <a:pt x="368642" y="217008"/>
                  </a:cubicBezTo>
                  <a:cubicBezTo>
                    <a:pt x="344806" y="234103"/>
                    <a:pt x="354349" y="287119"/>
                    <a:pt x="354349" y="302688"/>
                  </a:cubicBezTo>
                  <a:cubicBezTo>
                    <a:pt x="357544" y="316731"/>
                    <a:pt x="360696" y="327619"/>
                    <a:pt x="367044" y="340136"/>
                  </a:cubicBezTo>
                  <a:cubicBezTo>
                    <a:pt x="387684" y="355705"/>
                    <a:pt x="382934" y="358757"/>
                    <a:pt x="387684" y="386843"/>
                  </a:cubicBezTo>
                  <a:cubicBezTo>
                    <a:pt x="386086" y="397731"/>
                    <a:pt x="378184" y="397731"/>
                    <a:pt x="376587" y="408619"/>
                  </a:cubicBezTo>
                  <a:cubicBezTo>
                    <a:pt x="367044" y="427343"/>
                    <a:pt x="352751" y="446066"/>
                    <a:pt x="333709" y="455428"/>
                  </a:cubicBezTo>
                  <a:cubicBezTo>
                    <a:pt x="325764" y="456955"/>
                    <a:pt x="270234" y="469471"/>
                    <a:pt x="268637" y="470997"/>
                  </a:cubicBezTo>
                  <a:cubicBezTo>
                    <a:pt x="257496" y="478833"/>
                    <a:pt x="260692" y="494402"/>
                    <a:pt x="257496" y="506816"/>
                  </a:cubicBezTo>
                  <a:cubicBezTo>
                    <a:pt x="246399" y="508445"/>
                    <a:pt x="244801" y="513024"/>
                    <a:pt x="240052" y="522385"/>
                  </a:cubicBezTo>
                  <a:cubicBezTo>
                    <a:pt x="190827" y="525540"/>
                    <a:pt x="190827" y="519333"/>
                    <a:pt x="197174" y="553625"/>
                  </a:cubicBezTo>
                  <a:cubicBezTo>
                    <a:pt x="217814" y="555152"/>
                    <a:pt x="228954" y="559833"/>
                    <a:pt x="224161" y="581609"/>
                  </a:cubicBezTo>
                  <a:cubicBezTo>
                    <a:pt x="198772" y="583237"/>
                    <a:pt x="187674" y="580083"/>
                    <a:pt x="192424" y="606540"/>
                  </a:cubicBezTo>
                  <a:cubicBezTo>
                    <a:pt x="190827" y="617530"/>
                    <a:pt x="187674" y="623737"/>
                    <a:pt x="182881" y="633099"/>
                  </a:cubicBezTo>
                  <a:cubicBezTo>
                    <a:pt x="171784" y="640833"/>
                    <a:pt x="173382" y="650194"/>
                    <a:pt x="168632" y="661083"/>
                  </a:cubicBezTo>
                  <a:cubicBezTo>
                    <a:pt x="136852" y="662711"/>
                    <a:pt x="136852" y="658030"/>
                    <a:pt x="133700" y="686013"/>
                  </a:cubicBezTo>
                  <a:cubicBezTo>
                    <a:pt x="140047" y="695375"/>
                    <a:pt x="144797" y="706263"/>
                    <a:pt x="154340" y="712572"/>
                  </a:cubicBezTo>
                  <a:cubicBezTo>
                    <a:pt x="173382" y="715625"/>
                    <a:pt x="171784" y="723461"/>
                    <a:pt x="176534" y="740556"/>
                  </a:cubicBezTo>
                  <a:cubicBezTo>
                    <a:pt x="171784" y="746865"/>
                    <a:pt x="170187" y="754599"/>
                    <a:pt x="163839" y="760806"/>
                  </a:cubicBezTo>
                  <a:cubicBezTo>
                    <a:pt x="149547" y="774849"/>
                    <a:pt x="138449" y="776477"/>
                    <a:pt x="133700" y="796727"/>
                  </a:cubicBezTo>
                  <a:cubicBezTo>
                    <a:pt x="140047" y="806089"/>
                    <a:pt x="141645" y="810668"/>
                    <a:pt x="135297" y="820030"/>
                  </a:cubicBezTo>
                  <a:cubicBezTo>
                    <a:pt x="100365" y="821658"/>
                    <a:pt x="105114" y="823184"/>
                    <a:pt x="101919" y="859003"/>
                  </a:cubicBezTo>
                  <a:cubicBezTo>
                    <a:pt x="105114" y="866839"/>
                    <a:pt x="109864" y="871520"/>
                    <a:pt x="111462" y="880881"/>
                  </a:cubicBezTo>
                  <a:cubicBezTo>
                    <a:pt x="124157" y="897977"/>
                    <a:pt x="119407" y="910493"/>
                    <a:pt x="121005" y="933796"/>
                  </a:cubicBezTo>
                  <a:cubicBezTo>
                    <a:pt x="130504" y="936950"/>
                    <a:pt x="133700" y="940105"/>
                    <a:pt x="138449" y="947839"/>
                  </a:cubicBezTo>
                  <a:cubicBezTo>
                    <a:pt x="151144" y="957200"/>
                    <a:pt x="155894" y="971243"/>
                    <a:pt x="163839" y="983658"/>
                  </a:cubicBezTo>
                  <a:cubicBezTo>
                    <a:pt x="171784" y="988339"/>
                    <a:pt x="189272" y="999227"/>
                    <a:pt x="197174" y="1002381"/>
                  </a:cubicBezTo>
                  <a:lnTo>
                    <a:pt x="187674" y="1007062"/>
                  </a:lnTo>
                  <a:cubicBezTo>
                    <a:pt x="190827" y="986812"/>
                    <a:pt x="130504" y="991493"/>
                    <a:pt x="116212" y="988339"/>
                  </a:cubicBezTo>
                  <a:cubicBezTo>
                    <a:pt x="109065" y="986812"/>
                    <a:pt x="107090" y="987982"/>
                    <a:pt x="106102" y="988567"/>
                  </a:cubicBezTo>
                  <a:lnTo>
                    <a:pt x="101919" y="985286"/>
                  </a:lnTo>
                  <a:cubicBezTo>
                    <a:pt x="95572" y="977450"/>
                    <a:pt x="84474" y="955674"/>
                    <a:pt x="76529" y="943158"/>
                  </a:cubicBezTo>
                  <a:cubicBezTo>
                    <a:pt x="68584" y="930743"/>
                    <a:pt x="57487" y="921381"/>
                    <a:pt x="49542" y="913546"/>
                  </a:cubicBezTo>
                  <a:cubicBezTo>
                    <a:pt x="41597" y="905812"/>
                    <a:pt x="25750" y="904184"/>
                    <a:pt x="24152" y="894822"/>
                  </a:cubicBezTo>
                  <a:cubicBezTo>
                    <a:pt x="22554" y="885562"/>
                    <a:pt x="38445" y="866839"/>
                    <a:pt x="35249" y="854322"/>
                  </a:cubicBezTo>
                  <a:cubicBezTo>
                    <a:pt x="32097" y="841908"/>
                    <a:pt x="3512" y="835599"/>
                    <a:pt x="360" y="821658"/>
                  </a:cubicBezTo>
                  <a:cubicBezTo>
                    <a:pt x="-2836" y="807615"/>
                    <a:pt x="16207" y="790418"/>
                    <a:pt x="20957" y="773322"/>
                  </a:cubicBezTo>
                  <a:cubicBezTo>
                    <a:pt x="25750" y="756125"/>
                    <a:pt x="28902" y="742184"/>
                    <a:pt x="33695" y="718780"/>
                  </a:cubicBezTo>
                  <a:cubicBezTo>
                    <a:pt x="38445" y="695375"/>
                    <a:pt x="51139" y="656402"/>
                    <a:pt x="49542" y="629944"/>
                  </a:cubicBezTo>
                  <a:cubicBezTo>
                    <a:pt x="47944" y="603487"/>
                    <a:pt x="25750" y="578556"/>
                    <a:pt x="24152" y="559833"/>
                  </a:cubicBezTo>
                  <a:cubicBezTo>
                    <a:pt x="22554" y="541109"/>
                    <a:pt x="32097" y="538056"/>
                    <a:pt x="35249" y="520859"/>
                  </a:cubicBezTo>
                  <a:cubicBezTo>
                    <a:pt x="38445" y="503764"/>
                    <a:pt x="44792" y="481885"/>
                    <a:pt x="47944" y="460109"/>
                  </a:cubicBezTo>
                  <a:cubicBezTo>
                    <a:pt x="51139" y="438231"/>
                    <a:pt x="52737" y="411774"/>
                    <a:pt x="59085" y="389997"/>
                  </a:cubicBezTo>
                  <a:cubicBezTo>
                    <a:pt x="63834" y="377481"/>
                    <a:pt x="84474" y="341662"/>
                    <a:pt x="86072" y="324465"/>
                  </a:cubicBezTo>
                  <a:cubicBezTo>
                    <a:pt x="76529" y="302688"/>
                    <a:pt x="76529" y="270024"/>
                    <a:pt x="73377" y="244991"/>
                  </a:cubicBezTo>
                  <a:cubicBezTo>
                    <a:pt x="76529" y="218534"/>
                    <a:pt x="70182" y="185869"/>
                    <a:pt x="87670" y="165518"/>
                  </a:cubicBezTo>
                  <a:cubicBezTo>
                    <a:pt x="94017" y="149949"/>
                    <a:pt x="106712" y="154629"/>
                    <a:pt x="111462" y="146896"/>
                  </a:cubicBezTo>
                  <a:cubicBezTo>
                    <a:pt x="116212" y="139060"/>
                    <a:pt x="121005" y="128172"/>
                    <a:pt x="121005" y="118810"/>
                  </a:cubicBezTo>
                  <a:cubicBezTo>
                    <a:pt x="121005" y="109449"/>
                    <a:pt x="113060" y="101715"/>
                    <a:pt x="116212" y="90725"/>
                  </a:cubicBezTo>
                  <a:cubicBezTo>
                    <a:pt x="122559" y="76784"/>
                    <a:pt x="121005" y="67422"/>
                    <a:pt x="130504" y="54906"/>
                  </a:cubicBezTo>
                  <a:cubicBezTo>
                    <a:pt x="144797" y="51853"/>
                    <a:pt x="147992" y="23768"/>
                    <a:pt x="149547" y="11251"/>
                  </a:cubicBezTo>
                  <a:cubicBezTo>
                    <a:pt x="167812" y="363"/>
                    <a:pt x="164249" y="-807"/>
                    <a:pt x="167429" y="36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4" name="Freeform 21"/>
            <p:cNvSpPr>
              <a:spLocks noEditPoints="1"/>
            </p:cNvSpPr>
            <p:nvPr/>
          </p:nvSpPr>
          <p:spPr bwMode="auto">
            <a:xfrm>
              <a:off x="4908117" y="1305515"/>
              <a:ext cx="4159750" cy="1914538"/>
            </a:xfrm>
            <a:custGeom>
              <a:avLst/>
              <a:gdLst>
                <a:gd name="T0" fmla="*/ 550 w 2568"/>
                <a:gd name="T1" fmla="*/ 246 h 1182"/>
                <a:gd name="T2" fmla="*/ 746 w 2568"/>
                <a:gd name="T3" fmla="*/ 24 h 1182"/>
                <a:gd name="T4" fmla="*/ 602 w 2568"/>
                <a:gd name="T5" fmla="*/ 80 h 1182"/>
                <a:gd name="T6" fmla="*/ 514 w 2568"/>
                <a:gd name="T7" fmla="*/ 210 h 1182"/>
                <a:gd name="T8" fmla="*/ 0 w 2568"/>
                <a:gd name="T9" fmla="*/ 880 h 1182"/>
                <a:gd name="T10" fmla="*/ 2398 w 2568"/>
                <a:gd name="T11" fmla="*/ 330 h 1182"/>
                <a:gd name="T12" fmla="*/ 2492 w 2568"/>
                <a:gd name="T13" fmla="*/ 480 h 1182"/>
                <a:gd name="T14" fmla="*/ 2246 w 2568"/>
                <a:gd name="T15" fmla="*/ 404 h 1182"/>
                <a:gd name="T16" fmla="*/ 2142 w 2568"/>
                <a:gd name="T17" fmla="*/ 402 h 1182"/>
                <a:gd name="T18" fmla="*/ 1968 w 2568"/>
                <a:gd name="T19" fmla="*/ 284 h 1182"/>
                <a:gd name="T20" fmla="*/ 1802 w 2568"/>
                <a:gd name="T21" fmla="*/ 308 h 1182"/>
                <a:gd name="T22" fmla="*/ 1658 w 2568"/>
                <a:gd name="T23" fmla="*/ 286 h 1182"/>
                <a:gd name="T24" fmla="*/ 1562 w 2568"/>
                <a:gd name="T25" fmla="*/ 232 h 1182"/>
                <a:gd name="T26" fmla="*/ 1420 w 2568"/>
                <a:gd name="T27" fmla="*/ 182 h 1182"/>
                <a:gd name="T28" fmla="*/ 1380 w 2568"/>
                <a:gd name="T29" fmla="*/ 190 h 1182"/>
                <a:gd name="T30" fmla="*/ 1344 w 2568"/>
                <a:gd name="T31" fmla="*/ 206 h 1182"/>
                <a:gd name="T32" fmla="*/ 1386 w 2568"/>
                <a:gd name="T33" fmla="*/ 28 h 1182"/>
                <a:gd name="T34" fmla="*/ 1232 w 2568"/>
                <a:gd name="T35" fmla="*/ 36 h 1182"/>
                <a:gd name="T36" fmla="*/ 1096 w 2568"/>
                <a:gd name="T37" fmla="*/ 94 h 1182"/>
                <a:gd name="T38" fmla="*/ 928 w 2568"/>
                <a:gd name="T39" fmla="*/ 210 h 1182"/>
                <a:gd name="T40" fmla="*/ 896 w 2568"/>
                <a:gd name="T41" fmla="*/ 264 h 1182"/>
                <a:gd name="T42" fmla="*/ 838 w 2568"/>
                <a:gd name="T43" fmla="*/ 234 h 1182"/>
                <a:gd name="T44" fmla="*/ 826 w 2568"/>
                <a:gd name="T45" fmla="*/ 444 h 1182"/>
                <a:gd name="T46" fmla="*/ 796 w 2568"/>
                <a:gd name="T47" fmla="*/ 308 h 1182"/>
                <a:gd name="T48" fmla="*/ 622 w 2568"/>
                <a:gd name="T49" fmla="*/ 388 h 1182"/>
                <a:gd name="T50" fmla="*/ 534 w 2568"/>
                <a:gd name="T51" fmla="*/ 444 h 1182"/>
                <a:gd name="T52" fmla="*/ 388 w 2568"/>
                <a:gd name="T53" fmla="*/ 484 h 1182"/>
                <a:gd name="T54" fmla="*/ 328 w 2568"/>
                <a:gd name="T55" fmla="*/ 534 h 1182"/>
                <a:gd name="T56" fmla="*/ 268 w 2568"/>
                <a:gd name="T57" fmla="*/ 612 h 1182"/>
                <a:gd name="T58" fmla="*/ 324 w 2568"/>
                <a:gd name="T59" fmla="*/ 496 h 1182"/>
                <a:gd name="T60" fmla="*/ 144 w 2568"/>
                <a:gd name="T61" fmla="*/ 466 h 1182"/>
                <a:gd name="T62" fmla="*/ 136 w 2568"/>
                <a:gd name="T63" fmla="*/ 722 h 1182"/>
                <a:gd name="T64" fmla="*/ 160 w 2568"/>
                <a:gd name="T65" fmla="*/ 860 h 1182"/>
                <a:gd name="T66" fmla="*/ 282 w 2568"/>
                <a:gd name="T67" fmla="*/ 988 h 1182"/>
                <a:gd name="T68" fmla="*/ 310 w 2568"/>
                <a:gd name="T69" fmla="*/ 1134 h 1182"/>
                <a:gd name="T70" fmla="*/ 432 w 2568"/>
                <a:gd name="T71" fmla="*/ 1088 h 1182"/>
                <a:gd name="T72" fmla="*/ 432 w 2568"/>
                <a:gd name="T73" fmla="*/ 994 h 1182"/>
                <a:gd name="T74" fmla="*/ 628 w 2568"/>
                <a:gd name="T75" fmla="*/ 962 h 1182"/>
                <a:gd name="T76" fmla="*/ 806 w 2568"/>
                <a:gd name="T77" fmla="*/ 890 h 1182"/>
                <a:gd name="T78" fmla="*/ 956 w 2568"/>
                <a:gd name="T79" fmla="*/ 978 h 1182"/>
                <a:gd name="T80" fmla="*/ 1188 w 2568"/>
                <a:gd name="T81" fmla="*/ 998 h 1182"/>
                <a:gd name="T82" fmla="*/ 1464 w 2568"/>
                <a:gd name="T83" fmla="*/ 998 h 1182"/>
                <a:gd name="T84" fmla="*/ 1658 w 2568"/>
                <a:gd name="T85" fmla="*/ 1010 h 1182"/>
                <a:gd name="T86" fmla="*/ 1690 w 2568"/>
                <a:gd name="T87" fmla="*/ 1148 h 1182"/>
                <a:gd name="T88" fmla="*/ 1796 w 2568"/>
                <a:gd name="T89" fmla="*/ 890 h 1182"/>
                <a:gd name="T90" fmla="*/ 1850 w 2568"/>
                <a:gd name="T91" fmla="*/ 770 h 1182"/>
                <a:gd name="T92" fmla="*/ 2000 w 2568"/>
                <a:gd name="T93" fmla="*/ 766 h 1182"/>
                <a:gd name="T94" fmla="*/ 2144 w 2568"/>
                <a:gd name="T95" fmla="*/ 706 h 1182"/>
                <a:gd name="T96" fmla="*/ 2048 w 2568"/>
                <a:gd name="T97" fmla="*/ 878 h 1182"/>
                <a:gd name="T98" fmla="*/ 2120 w 2568"/>
                <a:gd name="T99" fmla="*/ 902 h 1182"/>
                <a:gd name="T100" fmla="*/ 2156 w 2568"/>
                <a:gd name="T101" fmla="*/ 794 h 1182"/>
                <a:gd name="T102" fmla="*/ 2222 w 2568"/>
                <a:gd name="T103" fmla="*/ 734 h 1182"/>
                <a:gd name="T104" fmla="*/ 2420 w 2568"/>
                <a:gd name="T105" fmla="*/ 640 h 1182"/>
                <a:gd name="T106" fmla="*/ 2460 w 2568"/>
                <a:gd name="T107" fmla="*/ 560 h 1182"/>
                <a:gd name="T108" fmla="*/ 2566 w 2568"/>
                <a:gd name="T109" fmla="*/ 538 h 1182"/>
                <a:gd name="T110" fmla="*/ 856 w 2568"/>
                <a:gd name="T111" fmla="*/ 302 h 1182"/>
                <a:gd name="T112" fmla="*/ 1752 w 2568"/>
                <a:gd name="T113" fmla="*/ 90 h 1182"/>
                <a:gd name="T114" fmla="*/ 1762 w 2568"/>
                <a:gd name="T115" fmla="*/ 200 h 1182"/>
                <a:gd name="T116" fmla="*/ 1860 w 2568"/>
                <a:gd name="T117" fmla="*/ 150 h 1182"/>
                <a:gd name="T118" fmla="*/ 1830 w 2568"/>
                <a:gd name="T119" fmla="*/ 68 h 1182"/>
                <a:gd name="T120" fmla="*/ 1972 w 2568"/>
                <a:gd name="T121" fmla="*/ 146 h 1182"/>
                <a:gd name="T122" fmla="*/ 1870 w 2568"/>
                <a:gd name="T123" fmla="*/ 202 h 1182"/>
                <a:gd name="T124" fmla="*/ 2222 w 2568"/>
                <a:gd name="T125" fmla="*/ 860 h 1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68" h="1182">
                  <a:moveTo>
                    <a:pt x="486" y="312"/>
                  </a:moveTo>
                  <a:lnTo>
                    <a:pt x="486" y="318"/>
                  </a:lnTo>
                  <a:lnTo>
                    <a:pt x="486" y="318"/>
                  </a:lnTo>
                  <a:lnTo>
                    <a:pt x="486" y="318"/>
                  </a:lnTo>
                  <a:lnTo>
                    <a:pt x="488" y="320"/>
                  </a:lnTo>
                  <a:lnTo>
                    <a:pt x="488" y="320"/>
                  </a:lnTo>
                  <a:lnTo>
                    <a:pt x="488" y="320"/>
                  </a:lnTo>
                  <a:lnTo>
                    <a:pt x="490" y="320"/>
                  </a:lnTo>
                  <a:lnTo>
                    <a:pt x="490" y="320"/>
                  </a:lnTo>
                  <a:lnTo>
                    <a:pt x="490" y="320"/>
                  </a:lnTo>
                  <a:lnTo>
                    <a:pt x="494" y="320"/>
                  </a:lnTo>
                  <a:lnTo>
                    <a:pt x="496" y="320"/>
                  </a:lnTo>
                  <a:lnTo>
                    <a:pt x="496" y="320"/>
                  </a:lnTo>
                  <a:lnTo>
                    <a:pt x="496" y="320"/>
                  </a:lnTo>
                  <a:lnTo>
                    <a:pt x="500" y="326"/>
                  </a:lnTo>
                  <a:lnTo>
                    <a:pt x="502" y="330"/>
                  </a:lnTo>
                  <a:lnTo>
                    <a:pt x="502" y="334"/>
                  </a:lnTo>
                  <a:lnTo>
                    <a:pt x="502" y="336"/>
                  </a:lnTo>
                  <a:lnTo>
                    <a:pt x="502" y="336"/>
                  </a:lnTo>
                  <a:lnTo>
                    <a:pt x="502" y="338"/>
                  </a:lnTo>
                  <a:lnTo>
                    <a:pt x="502" y="338"/>
                  </a:lnTo>
                  <a:lnTo>
                    <a:pt x="500" y="338"/>
                  </a:lnTo>
                  <a:lnTo>
                    <a:pt x="500" y="338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498" y="340"/>
                  </a:lnTo>
                  <a:lnTo>
                    <a:pt x="498" y="342"/>
                  </a:lnTo>
                  <a:lnTo>
                    <a:pt x="500" y="342"/>
                  </a:lnTo>
                  <a:lnTo>
                    <a:pt x="500" y="344"/>
                  </a:lnTo>
                  <a:lnTo>
                    <a:pt x="502" y="344"/>
                  </a:lnTo>
                  <a:lnTo>
                    <a:pt x="504" y="346"/>
                  </a:lnTo>
                  <a:lnTo>
                    <a:pt x="506" y="346"/>
                  </a:lnTo>
                  <a:lnTo>
                    <a:pt x="506" y="348"/>
                  </a:lnTo>
                  <a:lnTo>
                    <a:pt x="506" y="348"/>
                  </a:lnTo>
                  <a:lnTo>
                    <a:pt x="506" y="350"/>
                  </a:lnTo>
                  <a:lnTo>
                    <a:pt x="508" y="352"/>
                  </a:lnTo>
                  <a:lnTo>
                    <a:pt x="508" y="352"/>
                  </a:lnTo>
                  <a:lnTo>
                    <a:pt x="508" y="352"/>
                  </a:lnTo>
                  <a:lnTo>
                    <a:pt x="510" y="356"/>
                  </a:lnTo>
                  <a:lnTo>
                    <a:pt x="510" y="356"/>
                  </a:lnTo>
                  <a:lnTo>
                    <a:pt x="510" y="356"/>
                  </a:lnTo>
                  <a:lnTo>
                    <a:pt x="514" y="358"/>
                  </a:lnTo>
                  <a:lnTo>
                    <a:pt x="514" y="358"/>
                  </a:lnTo>
                  <a:lnTo>
                    <a:pt x="514" y="358"/>
                  </a:lnTo>
                  <a:lnTo>
                    <a:pt x="520" y="360"/>
                  </a:lnTo>
                  <a:lnTo>
                    <a:pt x="520" y="360"/>
                  </a:lnTo>
                  <a:lnTo>
                    <a:pt x="520" y="360"/>
                  </a:lnTo>
                  <a:lnTo>
                    <a:pt x="526" y="364"/>
                  </a:lnTo>
                  <a:lnTo>
                    <a:pt x="526" y="364"/>
                  </a:lnTo>
                  <a:lnTo>
                    <a:pt x="528" y="364"/>
                  </a:lnTo>
                  <a:lnTo>
                    <a:pt x="538" y="362"/>
                  </a:lnTo>
                  <a:lnTo>
                    <a:pt x="550" y="364"/>
                  </a:lnTo>
                  <a:lnTo>
                    <a:pt x="560" y="362"/>
                  </a:lnTo>
                  <a:lnTo>
                    <a:pt x="566" y="362"/>
                  </a:lnTo>
                  <a:lnTo>
                    <a:pt x="570" y="362"/>
                  </a:lnTo>
                  <a:lnTo>
                    <a:pt x="570" y="362"/>
                  </a:lnTo>
                  <a:lnTo>
                    <a:pt x="572" y="360"/>
                  </a:lnTo>
                  <a:lnTo>
                    <a:pt x="574" y="360"/>
                  </a:lnTo>
                  <a:lnTo>
                    <a:pt x="574" y="360"/>
                  </a:lnTo>
                  <a:lnTo>
                    <a:pt x="574" y="358"/>
                  </a:lnTo>
                  <a:lnTo>
                    <a:pt x="574" y="356"/>
                  </a:lnTo>
                  <a:lnTo>
                    <a:pt x="574" y="356"/>
                  </a:lnTo>
                  <a:lnTo>
                    <a:pt x="574" y="356"/>
                  </a:lnTo>
                  <a:lnTo>
                    <a:pt x="574" y="354"/>
                  </a:lnTo>
                  <a:lnTo>
                    <a:pt x="574" y="354"/>
                  </a:lnTo>
                  <a:lnTo>
                    <a:pt x="574" y="354"/>
                  </a:lnTo>
                  <a:lnTo>
                    <a:pt x="572" y="352"/>
                  </a:lnTo>
                  <a:lnTo>
                    <a:pt x="570" y="348"/>
                  </a:lnTo>
                  <a:lnTo>
                    <a:pt x="568" y="346"/>
                  </a:lnTo>
                  <a:lnTo>
                    <a:pt x="568" y="346"/>
                  </a:lnTo>
                  <a:lnTo>
                    <a:pt x="566" y="340"/>
                  </a:lnTo>
                  <a:lnTo>
                    <a:pt x="564" y="336"/>
                  </a:lnTo>
                  <a:lnTo>
                    <a:pt x="562" y="328"/>
                  </a:lnTo>
                  <a:lnTo>
                    <a:pt x="560" y="322"/>
                  </a:lnTo>
                  <a:lnTo>
                    <a:pt x="558" y="318"/>
                  </a:lnTo>
                  <a:lnTo>
                    <a:pt x="558" y="318"/>
                  </a:lnTo>
                  <a:lnTo>
                    <a:pt x="558" y="318"/>
                  </a:lnTo>
                  <a:lnTo>
                    <a:pt x="554" y="314"/>
                  </a:lnTo>
                  <a:lnTo>
                    <a:pt x="554" y="314"/>
                  </a:lnTo>
                  <a:lnTo>
                    <a:pt x="550" y="310"/>
                  </a:lnTo>
                  <a:lnTo>
                    <a:pt x="550" y="308"/>
                  </a:lnTo>
                  <a:lnTo>
                    <a:pt x="550" y="306"/>
                  </a:lnTo>
                  <a:lnTo>
                    <a:pt x="548" y="304"/>
                  </a:lnTo>
                  <a:lnTo>
                    <a:pt x="548" y="304"/>
                  </a:lnTo>
                  <a:lnTo>
                    <a:pt x="548" y="302"/>
                  </a:lnTo>
                  <a:lnTo>
                    <a:pt x="546" y="300"/>
                  </a:lnTo>
                  <a:lnTo>
                    <a:pt x="546" y="300"/>
                  </a:lnTo>
                  <a:lnTo>
                    <a:pt x="548" y="298"/>
                  </a:lnTo>
                  <a:lnTo>
                    <a:pt x="548" y="296"/>
                  </a:lnTo>
                  <a:lnTo>
                    <a:pt x="548" y="294"/>
                  </a:lnTo>
                  <a:lnTo>
                    <a:pt x="548" y="292"/>
                  </a:lnTo>
                  <a:lnTo>
                    <a:pt x="548" y="290"/>
                  </a:lnTo>
                  <a:lnTo>
                    <a:pt x="548" y="288"/>
                  </a:lnTo>
                  <a:lnTo>
                    <a:pt x="550" y="284"/>
                  </a:lnTo>
                  <a:lnTo>
                    <a:pt x="548" y="278"/>
                  </a:lnTo>
                  <a:lnTo>
                    <a:pt x="548" y="268"/>
                  </a:lnTo>
                  <a:lnTo>
                    <a:pt x="548" y="260"/>
                  </a:lnTo>
                  <a:lnTo>
                    <a:pt x="548" y="254"/>
                  </a:lnTo>
                  <a:lnTo>
                    <a:pt x="548" y="248"/>
                  </a:lnTo>
                  <a:lnTo>
                    <a:pt x="550" y="246"/>
                  </a:lnTo>
                  <a:lnTo>
                    <a:pt x="550" y="246"/>
                  </a:lnTo>
                  <a:lnTo>
                    <a:pt x="550" y="242"/>
                  </a:lnTo>
                  <a:lnTo>
                    <a:pt x="552" y="240"/>
                  </a:lnTo>
                  <a:lnTo>
                    <a:pt x="554" y="238"/>
                  </a:lnTo>
                  <a:lnTo>
                    <a:pt x="556" y="236"/>
                  </a:lnTo>
                  <a:lnTo>
                    <a:pt x="560" y="234"/>
                  </a:lnTo>
                  <a:lnTo>
                    <a:pt x="560" y="234"/>
                  </a:lnTo>
                  <a:lnTo>
                    <a:pt x="562" y="232"/>
                  </a:lnTo>
                  <a:lnTo>
                    <a:pt x="562" y="228"/>
                  </a:lnTo>
                  <a:lnTo>
                    <a:pt x="562" y="226"/>
                  </a:lnTo>
                  <a:lnTo>
                    <a:pt x="564" y="220"/>
                  </a:lnTo>
                  <a:lnTo>
                    <a:pt x="564" y="218"/>
                  </a:lnTo>
                  <a:lnTo>
                    <a:pt x="566" y="216"/>
                  </a:lnTo>
                  <a:lnTo>
                    <a:pt x="568" y="214"/>
                  </a:lnTo>
                  <a:lnTo>
                    <a:pt x="570" y="212"/>
                  </a:lnTo>
                  <a:lnTo>
                    <a:pt x="570" y="212"/>
                  </a:lnTo>
                  <a:lnTo>
                    <a:pt x="572" y="210"/>
                  </a:lnTo>
                  <a:lnTo>
                    <a:pt x="574" y="202"/>
                  </a:lnTo>
                  <a:lnTo>
                    <a:pt x="578" y="194"/>
                  </a:lnTo>
                  <a:lnTo>
                    <a:pt x="582" y="186"/>
                  </a:lnTo>
                  <a:lnTo>
                    <a:pt x="584" y="182"/>
                  </a:lnTo>
                  <a:lnTo>
                    <a:pt x="586" y="178"/>
                  </a:lnTo>
                  <a:lnTo>
                    <a:pt x="586" y="178"/>
                  </a:lnTo>
                  <a:lnTo>
                    <a:pt x="586" y="178"/>
                  </a:lnTo>
                  <a:lnTo>
                    <a:pt x="586" y="174"/>
                  </a:lnTo>
                  <a:lnTo>
                    <a:pt x="586" y="170"/>
                  </a:lnTo>
                  <a:lnTo>
                    <a:pt x="588" y="166"/>
                  </a:lnTo>
                  <a:lnTo>
                    <a:pt x="588" y="166"/>
                  </a:lnTo>
                  <a:lnTo>
                    <a:pt x="588" y="166"/>
                  </a:lnTo>
                  <a:lnTo>
                    <a:pt x="590" y="164"/>
                  </a:lnTo>
                  <a:lnTo>
                    <a:pt x="594" y="164"/>
                  </a:lnTo>
                  <a:lnTo>
                    <a:pt x="598" y="164"/>
                  </a:lnTo>
                  <a:lnTo>
                    <a:pt x="602" y="164"/>
                  </a:lnTo>
                  <a:lnTo>
                    <a:pt x="602" y="164"/>
                  </a:lnTo>
                  <a:lnTo>
                    <a:pt x="602" y="164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6" y="162"/>
                  </a:lnTo>
                  <a:lnTo>
                    <a:pt x="608" y="160"/>
                  </a:lnTo>
                  <a:lnTo>
                    <a:pt x="608" y="160"/>
                  </a:lnTo>
                  <a:lnTo>
                    <a:pt x="608" y="158"/>
                  </a:lnTo>
                  <a:lnTo>
                    <a:pt x="610" y="156"/>
                  </a:lnTo>
                  <a:lnTo>
                    <a:pt x="610" y="154"/>
                  </a:lnTo>
                  <a:lnTo>
                    <a:pt x="612" y="154"/>
                  </a:lnTo>
                  <a:lnTo>
                    <a:pt x="612" y="152"/>
                  </a:lnTo>
                  <a:lnTo>
                    <a:pt x="614" y="150"/>
                  </a:lnTo>
                  <a:lnTo>
                    <a:pt x="616" y="150"/>
                  </a:lnTo>
                  <a:lnTo>
                    <a:pt x="616" y="150"/>
                  </a:lnTo>
                  <a:lnTo>
                    <a:pt x="618" y="148"/>
                  </a:lnTo>
                  <a:lnTo>
                    <a:pt x="618" y="144"/>
                  </a:lnTo>
                  <a:lnTo>
                    <a:pt x="620" y="142"/>
                  </a:lnTo>
                  <a:lnTo>
                    <a:pt x="622" y="134"/>
                  </a:lnTo>
                  <a:lnTo>
                    <a:pt x="622" y="130"/>
                  </a:lnTo>
                  <a:lnTo>
                    <a:pt x="624" y="128"/>
                  </a:lnTo>
                  <a:lnTo>
                    <a:pt x="626" y="124"/>
                  </a:lnTo>
                  <a:lnTo>
                    <a:pt x="626" y="124"/>
                  </a:lnTo>
                  <a:lnTo>
                    <a:pt x="630" y="122"/>
                  </a:lnTo>
                  <a:lnTo>
                    <a:pt x="632" y="122"/>
                  </a:lnTo>
                  <a:lnTo>
                    <a:pt x="638" y="120"/>
                  </a:lnTo>
                  <a:lnTo>
                    <a:pt x="642" y="118"/>
                  </a:lnTo>
                  <a:lnTo>
                    <a:pt x="644" y="118"/>
                  </a:lnTo>
                  <a:lnTo>
                    <a:pt x="646" y="118"/>
                  </a:lnTo>
                  <a:lnTo>
                    <a:pt x="646" y="118"/>
                  </a:lnTo>
                  <a:lnTo>
                    <a:pt x="646" y="118"/>
                  </a:lnTo>
                  <a:lnTo>
                    <a:pt x="648" y="118"/>
                  </a:lnTo>
                  <a:lnTo>
                    <a:pt x="652" y="114"/>
                  </a:lnTo>
                  <a:lnTo>
                    <a:pt x="654" y="110"/>
                  </a:lnTo>
                  <a:lnTo>
                    <a:pt x="656" y="108"/>
                  </a:lnTo>
                  <a:lnTo>
                    <a:pt x="658" y="106"/>
                  </a:lnTo>
                  <a:lnTo>
                    <a:pt x="660" y="102"/>
                  </a:lnTo>
                  <a:lnTo>
                    <a:pt x="662" y="100"/>
                  </a:lnTo>
                  <a:lnTo>
                    <a:pt x="662" y="100"/>
                  </a:lnTo>
                  <a:lnTo>
                    <a:pt x="664" y="100"/>
                  </a:lnTo>
                  <a:lnTo>
                    <a:pt x="666" y="98"/>
                  </a:lnTo>
                  <a:lnTo>
                    <a:pt x="668" y="98"/>
                  </a:lnTo>
                  <a:lnTo>
                    <a:pt x="670" y="98"/>
                  </a:lnTo>
                  <a:lnTo>
                    <a:pt x="674" y="98"/>
                  </a:lnTo>
                  <a:lnTo>
                    <a:pt x="678" y="96"/>
                  </a:lnTo>
                  <a:lnTo>
                    <a:pt x="684" y="96"/>
                  </a:lnTo>
                  <a:lnTo>
                    <a:pt x="684" y="96"/>
                  </a:lnTo>
                  <a:lnTo>
                    <a:pt x="686" y="96"/>
                  </a:lnTo>
                  <a:lnTo>
                    <a:pt x="692" y="92"/>
                  </a:lnTo>
                  <a:lnTo>
                    <a:pt x="696" y="90"/>
                  </a:lnTo>
                  <a:lnTo>
                    <a:pt x="708" y="84"/>
                  </a:lnTo>
                  <a:lnTo>
                    <a:pt x="718" y="78"/>
                  </a:lnTo>
                  <a:lnTo>
                    <a:pt x="724" y="74"/>
                  </a:lnTo>
                  <a:lnTo>
                    <a:pt x="728" y="70"/>
                  </a:lnTo>
                  <a:lnTo>
                    <a:pt x="734" y="66"/>
                  </a:lnTo>
                  <a:lnTo>
                    <a:pt x="738" y="62"/>
                  </a:lnTo>
                  <a:lnTo>
                    <a:pt x="746" y="54"/>
                  </a:lnTo>
                  <a:lnTo>
                    <a:pt x="750" y="50"/>
                  </a:lnTo>
                  <a:lnTo>
                    <a:pt x="752" y="46"/>
                  </a:lnTo>
                  <a:lnTo>
                    <a:pt x="754" y="42"/>
                  </a:lnTo>
                  <a:lnTo>
                    <a:pt x="758" y="40"/>
                  </a:lnTo>
                  <a:lnTo>
                    <a:pt x="754" y="38"/>
                  </a:lnTo>
                  <a:lnTo>
                    <a:pt x="754" y="38"/>
                  </a:lnTo>
                  <a:lnTo>
                    <a:pt x="756" y="34"/>
                  </a:lnTo>
                  <a:lnTo>
                    <a:pt x="758" y="32"/>
                  </a:lnTo>
                  <a:lnTo>
                    <a:pt x="756" y="30"/>
                  </a:lnTo>
                  <a:lnTo>
                    <a:pt x="754" y="28"/>
                  </a:lnTo>
                  <a:lnTo>
                    <a:pt x="750" y="26"/>
                  </a:lnTo>
                  <a:lnTo>
                    <a:pt x="746" y="24"/>
                  </a:lnTo>
                  <a:lnTo>
                    <a:pt x="742" y="20"/>
                  </a:lnTo>
                  <a:lnTo>
                    <a:pt x="740" y="18"/>
                  </a:lnTo>
                  <a:lnTo>
                    <a:pt x="736" y="16"/>
                  </a:lnTo>
                  <a:lnTo>
                    <a:pt x="732" y="14"/>
                  </a:lnTo>
                  <a:lnTo>
                    <a:pt x="732" y="14"/>
                  </a:lnTo>
                  <a:lnTo>
                    <a:pt x="732" y="14"/>
                  </a:lnTo>
                  <a:lnTo>
                    <a:pt x="728" y="12"/>
                  </a:lnTo>
                  <a:lnTo>
                    <a:pt x="724" y="12"/>
                  </a:lnTo>
                  <a:lnTo>
                    <a:pt x="718" y="12"/>
                  </a:lnTo>
                  <a:lnTo>
                    <a:pt x="718" y="12"/>
                  </a:lnTo>
                  <a:lnTo>
                    <a:pt x="718" y="12"/>
                  </a:lnTo>
                  <a:lnTo>
                    <a:pt x="712" y="12"/>
                  </a:lnTo>
                  <a:lnTo>
                    <a:pt x="712" y="12"/>
                  </a:lnTo>
                  <a:lnTo>
                    <a:pt x="712" y="12"/>
                  </a:lnTo>
                  <a:lnTo>
                    <a:pt x="706" y="14"/>
                  </a:lnTo>
                  <a:lnTo>
                    <a:pt x="706" y="14"/>
                  </a:lnTo>
                  <a:lnTo>
                    <a:pt x="704" y="16"/>
                  </a:lnTo>
                  <a:lnTo>
                    <a:pt x="702" y="18"/>
                  </a:lnTo>
                  <a:lnTo>
                    <a:pt x="700" y="20"/>
                  </a:lnTo>
                  <a:lnTo>
                    <a:pt x="696" y="26"/>
                  </a:lnTo>
                  <a:lnTo>
                    <a:pt x="694" y="30"/>
                  </a:lnTo>
                  <a:lnTo>
                    <a:pt x="694" y="32"/>
                  </a:lnTo>
                  <a:lnTo>
                    <a:pt x="692" y="34"/>
                  </a:lnTo>
                  <a:lnTo>
                    <a:pt x="692" y="34"/>
                  </a:lnTo>
                  <a:lnTo>
                    <a:pt x="692" y="34"/>
                  </a:lnTo>
                  <a:lnTo>
                    <a:pt x="692" y="36"/>
                  </a:lnTo>
                  <a:lnTo>
                    <a:pt x="692" y="38"/>
                  </a:lnTo>
                  <a:lnTo>
                    <a:pt x="692" y="40"/>
                  </a:lnTo>
                  <a:lnTo>
                    <a:pt x="692" y="42"/>
                  </a:lnTo>
                  <a:lnTo>
                    <a:pt x="692" y="42"/>
                  </a:lnTo>
                  <a:lnTo>
                    <a:pt x="690" y="42"/>
                  </a:lnTo>
                  <a:lnTo>
                    <a:pt x="688" y="44"/>
                  </a:lnTo>
                  <a:lnTo>
                    <a:pt x="686" y="44"/>
                  </a:lnTo>
                  <a:lnTo>
                    <a:pt x="682" y="44"/>
                  </a:lnTo>
                  <a:lnTo>
                    <a:pt x="682" y="44"/>
                  </a:lnTo>
                  <a:lnTo>
                    <a:pt x="680" y="46"/>
                  </a:lnTo>
                  <a:lnTo>
                    <a:pt x="678" y="46"/>
                  </a:lnTo>
                  <a:lnTo>
                    <a:pt x="678" y="46"/>
                  </a:lnTo>
                  <a:lnTo>
                    <a:pt x="678" y="46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6" y="48"/>
                  </a:lnTo>
                  <a:lnTo>
                    <a:pt x="676" y="50"/>
                  </a:lnTo>
                  <a:lnTo>
                    <a:pt x="676" y="50"/>
                  </a:lnTo>
                  <a:lnTo>
                    <a:pt x="676" y="50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4" y="52"/>
                  </a:lnTo>
                  <a:lnTo>
                    <a:pt x="672" y="52"/>
                  </a:lnTo>
                  <a:lnTo>
                    <a:pt x="668" y="54"/>
                  </a:lnTo>
                  <a:lnTo>
                    <a:pt x="666" y="54"/>
                  </a:lnTo>
                  <a:lnTo>
                    <a:pt x="664" y="54"/>
                  </a:lnTo>
                  <a:lnTo>
                    <a:pt x="662" y="56"/>
                  </a:lnTo>
                  <a:lnTo>
                    <a:pt x="658" y="56"/>
                  </a:lnTo>
                  <a:lnTo>
                    <a:pt x="656" y="56"/>
                  </a:lnTo>
                  <a:lnTo>
                    <a:pt x="656" y="56"/>
                  </a:lnTo>
                  <a:lnTo>
                    <a:pt x="654" y="56"/>
                  </a:lnTo>
                  <a:lnTo>
                    <a:pt x="652" y="58"/>
                  </a:lnTo>
                  <a:lnTo>
                    <a:pt x="650" y="58"/>
                  </a:lnTo>
                  <a:lnTo>
                    <a:pt x="648" y="58"/>
                  </a:lnTo>
                  <a:lnTo>
                    <a:pt x="646" y="58"/>
                  </a:lnTo>
                  <a:lnTo>
                    <a:pt x="642" y="58"/>
                  </a:lnTo>
                  <a:lnTo>
                    <a:pt x="638" y="58"/>
                  </a:lnTo>
                  <a:lnTo>
                    <a:pt x="634" y="58"/>
                  </a:lnTo>
                  <a:lnTo>
                    <a:pt x="630" y="56"/>
                  </a:lnTo>
                  <a:lnTo>
                    <a:pt x="630" y="56"/>
                  </a:lnTo>
                  <a:lnTo>
                    <a:pt x="630" y="56"/>
                  </a:lnTo>
                  <a:lnTo>
                    <a:pt x="628" y="56"/>
                  </a:lnTo>
                  <a:lnTo>
                    <a:pt x="626" y="54"/>
                  </a:lnTo>
                  <a:lnTo>
                    <a:pt x="626" y="54"/>
                  </a:lnTo>
                  <a:lnTo>
                    <a:pt x="624" y="54"/>
                  </a:lnTo>
                  <a:lnTo>
                    <a:pt x="624" y="54"/>
                  </a:lnTo>
                  <a:lnTo>
                    <a:pt x="624" y="54"/>
                  </a:lnTo>
                  <a:lnTo>
                    <a:pt x="622" y="54"/>
                  </a:lnTo>
                  <a:lnTo>
                    <a:pt x="622" y="56"/>
                  </a:lnTo>
                  <a:lnTo>
                    <a:pt x="622" y="56"/>
                  </a:lnTo>
                  <a:lnTo>
                    <a:pt x="620" y="56"/>
                  </a:lnTo>
                  <a:lnTo>
                    <a:pt x="618" y="60"/>
                  </a:lnTo>
                  <a:lnTo>
                    <a:pt x="618" y="62"/>
                  </a:lnTo>
                  <a:lnTo>
                    <a:pt x="618" y="62"/>
                  </a:lnTo>
                  <a:lnTo>
                    <a:pt x="618" y="62"/>
                  </a:lnTo>
                  <a:lnTo>
                    <a:pt x="616" y="66"/>
                  </a:lnTo>
                  <a:lnTo>
                    <a:pt x="616" y="66"/>
                  </a:lnTo>
                  <a:lnTo>
                    <a:pt x="616" y="66"/>
                  </a:lnTo>
                  <a:lnTo>
                    <a:pt x="616" y="68"/>
                  </a:lnTo>
                  <a:lnTo>
                    <a:pt x="616" y="68"/>
                  </a:lnTo>
                  <a:lnTo>
                    <a:pt x="616" y="68"/>
                  </a:lnTo>
                  <a:lnTo>
                    <a:pt x="616" y="70"/>
                  </a:lnTo>
                  <a:lnTo>
                    <a:pt x="616" y="70"/>
                  </a:lnTo>
                  <a:lnTo>
                    <a:pt x="614" y="70"/>
                  </a:lnTo>
                  <a:lnTo>
                    <a:pt x="608" y="70"/>
                  </a:lnTo>
                  <a:lnTo>
                    <a:pt x="608" y="70"/>
                  </a:lnTo>
                  <a:lnTo>
                    <a:pt x="606" y="72"/>
                  </a:lnTo>
                  <a:lnTo>
                    <a:pt x="606" y="76"/>
                  </a:lnTo>
                  <a:lnTo>
                    <a:pt x="604" y="78"/>
                  </a:lnTo>
                  <a:lnTo>
                    <a:pt x="604" y="76"/>
                  </a:lnTo>
                  <a:lnTo>
                    <a:pt x="604" y="78"/>
                  </a:lnTo>
                  <a:lnTo>
                    <a:pt x="602" y="80"/>
                  </a:lnTo>
                  <a:lnTo>
                    <a:pt x="600" y="80"/>
                  </a:lnTo>
                  <a:lnTo>
                    <a:pt x="598" y="82"/>
                  </a:lnTo>
                  <a:lnTo>
                    <a:pt x="596" y="82"/>
                  </a:lnTo>
                  <a:lnTo>
                    <a:pt x="592" y="82"/>
                  </a:lnTo>
                  <a:lnTo>
                    <a:pt x="592" y="82"/>
                  </a:lnTo>
                  <a:lnTo>
                    <a:pt x="590" y="84"/>
                  </a:lnTo>
                  <a:lnTo>
                    <a:pt x="588" y="86"/>
                  </a:lnTo>
                  <a:lnTo>
                    <a:pt x="586" y="88"/>
                  </a:lnTo>
                  <a:lnTo>
                    <a:pt x="582" y="92"/>
                  </a:lnTo>
                  <a:lnTo>
                    <a:pt x="578" y="94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6" y="96"/>
                  </a:lnTo>
                  <a:lnTo>
                    <a:pt x="574" y="98"/>
                  </a:lnTo>
                  <a:lnTo>
                    <a:pt x="572" y="102"/>
                  </a:lnTo>
                  <a:lnTo>
                    <a:pt x="570" y="104"/>
                  </a:lnTo>
                  <a:lnTo>
                    <a:pt x="570" y="108"/>
                  </a:lnTo>
                  <a:lnTo>
                    <a:pt x="568" y="108"/>
                  </a:lnTo>
                  <a:lnTo>
                    <a:pt x="568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6" y="110"/>
                  </a:lnTo>
                  <a:lnTo>
                    <a:pt x="564" y="112"/>
                  </a:lnTo>
                  <a:lnTo>
                    <a:pt x="562" y="112"/>
                  </a:lnTo>
                  <a:lnTo>
                    <a:pt x="560" y="112"/>
                  </a:lnTo>
                  <a:lnTo>
                    <a:pt x="560" y="112"/>
                  </a:lnTo>
                  <a:lnTo>
                    <a:pt x="558" y="114"/>
                  </a:lnTo>
                  <a:lnTo>
                    <a:pt x="558" y="114"/>
                  </a:lnTo>
                  <a:lnTo>
                    <a:pt x="558" y="116"/>
                  </a:lnTo>
                  <a:lnTo>
                    <a:pt x="558" y="118"/>
                  </a:lnTo>
                  <a:lnTo>
                    <a:pt x="560" y="120"/>
                  </a:lnTo>
                  <a:lnTo>
                    <a:pt x="560" y="120"/>
                  </a:lnTo>
                  <a:lnTo>
                    <a:pt x="558" y="120"/>
                  </a:lnTo>
                  <a:lnTo>
                    <a:pt x="554" y="122"/>
                  </a:lnTo>
                  <a:lnTo>
                    <a:pt x="552" y="122"/>
                  </a:lnTo>
                  <a:lnTo>
                    <a:pt x="552" y="122"/>
                  </a:lnTo>
                  <a:lnTo>
                    <a:pt x="550" y="122"/>
                  </a:lnTo>
                  <a:lnTo>
                    <a:pt x="550" y="122"/>
                  </a:lnTo>
                  <a:lnTo>
                    <a:pt x="550" y="122"/>
                  </a:lnTo>
                  <a:lnTo>
                    <a:pt x="548" y="124"/>
                  </a:lnTo>
                  <a:lnTo>
                    <a:pt x="546" y="128"/>
                  </a:lnTo>
                  <a:lnTo>
                    <a:pt x="546" y="128"/>
                  </a:lnTo>
                  <a:lnTo>
                    <a:pt x="544" y="128"/>
                  </a:lnTo>
                  <a:lnTo>
                    <a:pt x="544" y="134"/>
                  </a:lnTo>
                  <a:lnTo>
                    <a:pt x="542" y="138"/>
                  </a:lnTo>
                  <a:lnTo>
                    <a:pt x="542" y="144"/>
                  </a:lnTo>
                  <a:lnTo>
                    <a:pt x="542" y="154"/>
                  </a:lnTo>
                  <a:lnTo>
                    <a:pt x="540" y="158"/>
                  </a:lnTo>
                  <a:lnTo>
                    <a:pt x="540" y="162"/>
                  </a:lnTo>
                  <a:lnTo>
                    <a:pt x="540" y="162"/>
                  </a:lnTo>
                  <a:lnTo>
                    <a:pt x="540" y="166"/>
                  </a:lnTo>
                  <a:lnTo>
                    <a:pt x="540" y="166"/>
                  </a:lnTo>
                  <a:lnTo>
                    <a:pt x="538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6" y="166"/>
                  </a:lnTo>
                  <a:lnTo>
                    <a:pt x="534" y="168"/>
                  </a:lnTo>
                  <a:lnTo>
                    <a:pt x="534" y="168"/>
                  </a:lnTo>
                  <a:lnTo>
                    <a:pt x="534" y="170"/>
                  </a:lnTo>
                  <a:lnTo>
                    <a:pt x="534" y="174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4" y="176"/>
                  </a:lnTo>
                  <a:lnTo>
                    <a:pt x="532" y="176"/>
                  </a:lnTo>
                  <a:lnTo>
                    <a:pt x="532" y="176"/>
                  </a:lnTo>
                  <a:lnTo>
                    <a:pt x="532" y="176"/>
                  </a:lnTo>
                  <a:lnTo>
                    <a:pt x="530" y="176"/>
                  </a:lnTo>
                  <a:lnTo>
                    <a:pt x="530" y="176"/>
                  </a:lnTo>
                  <a:lnTo>
                    <a:pt x="528" y="176"/>
                  </a:lnTo>
                  <a:lnTo>
                    <a:pt x="528" y="176"/>
                  </a:lnTo>
                  <a:lnTo>
                    <a:pt x="528" y="176"/>
                  </a:lnTo>
                  <a:lnTo>
                    <a:pt x="526" y="176"/>
                  </a:lnTo>
                  <a:lnTo>
                    <a:pt x="526" y="178"/>
                  </a:lnTo>
                  <a:lnTo>
                    <a:pt x="526" y="178"/>
                  </a:lnTo>
                  <a:lnTo>
                    <a:pt x="526" y="178"/>
                  </a:lnTo>
                  <a:lnTo>
                    <a:pt x="526" y="180"/>
                  </a:lnTo>
                  <a:lnTo>
                    <a:pt x="526" y="180"/>
                  </a:lnTo>
                  <a:lnTo>
                    <a:pt x="526" y="180"/>
                  </a:lnTo>
                  <a:lnTo>
                    <a:pt x="526" y="182"/>
                  </a:lnTo>
                  <a:lnTo>
                    <a:pt x="526" y="184"/>
                  </a:lnTo>
                  <a:lnTo>
                    <a:pt x="526" y="186"/>
                  </a:lnTo>
                  <a:lnTo>
                    <a:pt x="524" y="188"/>
                  </a:lnTo>
                  <a:lnTo>
                    <a:pt x="522" y="192"/>
                  </a:lnTo>
                  <a:lnTo>
                    <a:pt x="520" y="194"/>
                  </a:lnTo>
                  <a:lnTo>
                    <a:pt x="518" y="196"/>
                  </a:lnTo>
                  <a:lnTo>
                    <a:pt x="516" y="198"/>
                  </a:lnTo>
                  <a:lnTo>
                    <a:pt x="514" y="198"/>
                  </a:lnTo>
                  <a:lnTo>
                    <a:pt x="514" y="198"/>
                  </a:lnTo>
                  <a:lnTo>
                    <a:pt x="514" y="198"/>
                  </a:lnTo>
                  <a:lnTo>
                    <a:pt x="512" y="200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2" y="204"/>
                  </a:lnTo>
                  <a:lnTo>
                    <a:pt x="512" y="206"/>
                  </a:lnTo>
                  <a:lnTo>
                    <a:pt x="512" y="206"/>
                  </a:lnTo>
                  <a:lnTo>
                    <a:pt x="512" y="208"/>
                  </a:lnTo>
                  <a:lnTo>
                    <a:pt x="514" y="210"/>
                  </a:lnTo>
                  <a:lnTo>
                    <a:pt x="514" y="210"/>
                  </a:lnTo>
                  <a:lnTo>
                    <a:pt x="514" y="210"/>
                  </a:lnTo>
                  <a:lnTo>
                    <a:pt x="516" y="212"/>
                  </a:lnTo>
                  <a:lnTo>
                    <a:pt x="516" y="212"/>
                  </a:lnTo>
                  <a:lnTo>
                    <a:pt x="516" y="212"/>
                  </a:lnTo>
                  <a:lnTo>
                    <a:pt x="518" y="212"/>
                  </a:lnTo>
                  <a:lnTo>
                    <a:pt x="520" y="212"/>
                  </a:lnTo>
                  <a:lnTo>
                    <a:pt x="520" y="214"/>
                  </a:lnTo>
                  <a:lnTo>
                    <a:pt x="518" y="216"/>
                  </a:lnTo>
                  <a:lnTo>
                    <a:pt x="516" y="218"/>
                  </a:lnTo>
                  <a:lnTo>
                    <a:pt x="516" y="218"/>
                  </a:lnTo>
                  <a:lnTo>
                    <a:pt x="516" y="218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6" y="220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4" y="224"/>
                  </a:lnTo>
                  <a:lnTo>
                    <a:pt x="512" y="226"/>
                  </a:lnTo>
                  <a:lnTo>
                    <a:pt x="508" y="226"/>
                  </a:lnTo>
                  <a:lnTo>
                    <a:pt x="506" y="226"/>
                  </a:lnTo>
                  <a:lnTo>
                    <a:pt x="500" y="228"/>
                  </a:lnTo>
                  <a:lnTo>
                    <a:pt x="500" y="228"/>
                  </a:lnTo>
                  <a:lnTo>
                    <a:pt x="498" y="230"/>
                  </a:lnTo>
                  <a:lnTo>
                    <a:pt x="498" y="232"/>
                  </a:lnTo>
                  <a:lnTo>
                    <a:pt x="500" y="234"/>
                  </a:lnTo>
                  <a:lnTo>
                    <a:pt x="500" y="236"/>
                  </a:lnTo>
                  <a:lnTo>
                    <a:pt x="500" y="240"/>
                  </a:lnTo>
                  <a:lnTo>
                    <a:pt x="500" y="240"/>
                  </a:lnTo>
                  <a:lnTo>
                    <a:pt x="500" y="244"/>
                  </a:lnTo>
                  <a:lnTo>
                    <a:pt x="498" y="244"/>
                  </a:lnTo>
                  <a:lnTo>
                    <a:pt x="498" y="246"/>
                  </a:lnTo>
                  <a:lnTo>
                    <a:pt x="496" y="248"/>
                  </a:lnTo>
                  <a:lnTo>
                    <a:pt x="492" y="250"/>
                  </a:lnTo>
                  <a:lnTo>
                    <a:pt x="488" y="252"/>
                  </a:lnTo>
                  <a:lnTo>
                    <a:pt x="488" y="252"/>
                  </a:lnTo>
                  <a:lnTo>
                    <a:pt x="486" y="254"/>
                  </a:lnTo>
                  <a:lnTo>
                    <a:pt x="486" y="256"/>
                  </a:lnTo>
                  <a:lnTo>
                    <a:pt x="488" y="258"/>
                  </a:lnTo>
                  <a:lnTo>
                    <a:pt x="490" y="260"/>
                  </a:lnTo>
                  <a:lnTo>
                    <a:pt x="490" y="260"/>
                  </a:lnTo>
                  <a:lnTo>
                    <a:pt x="490" y="262"/>
                  </a:lnTo>
                  <a:lnTo>
                    <a:pt x="490" y="262"/>
                  </a:lnTo>
                  <a:lnTo>
                    <a:pt x="492" y="264"/>
                  </a:lnTo>
                  <a:lnTo>
                    <a:pt x="496" y="266"/>
                  </a:lnTo>
                  <a:lnTo>
                    <a:pt x="496" y="268"/>
                  </a:lnTo>
                  <a:lnTo>
                    <a:pt x="494" y="268"/>
                  </a:lnTo>
                  <a:lnTo>
                    <a:pt x="494" y="268"/>
                  </a:lnTo>
                  <a:lnTo>
                    <a:pt x="494" y="268"/>
                  </a:lnTo>
                  <a:lnTo>
                    <a:pt x="492" y="270"/>
                  </a:lnTo>
                  <a:lnTo>
                    <a:pt x="492" y="270"/>
                  </a:lnTo>
                  <a:lnTo>
                    <a:pt x="492" y="270"/>
                  </a:lnTo>
                  <a:lnTo>
                    <a:pt x="490" y="270"/>
                  </a:lnTo>
                  <a:lnTo>
                    <a:pt x="490" y="270"/>
                  </a:lnTo>
                  <a:lnTo>
                    <a:pt x="490" y="272"/>
                  </a:lnTo>
                  <a:lnTo>
                    <a:pt x="488" y="274"/>
                  </a:lnTo>
                  <a:lnTo>
                    <a:pt x="488" y="274"/>
                  </a:lnTo>
                  <a:lnTo>
                    <a:pt x="488" y="274"/>
                  </a:lnTo>
                  <a:lnTo>
                    <a:pt x="486" y="276"/>
                  </a:lnTo>
                  <a:lnTo>
                    <a:pt x="486" y="278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484" y="282"/>
                  </a:lnTo>
                  <a:lnTo>
                    <a:pt x="484" y="286"/>
                  </a:lnTo>
                  <a:lnTo>
                    <a:pt x="484" y="292"/>
                  </a:lnTo>
                  <a:lnTo>
                    <a:pt x="484" y="300"/>
                  </a:lnTo>
                  <a:lnTo>
                    <a:pt x="484" y="304"/>
                  </a:lnTo>
                  <a:lnTo>
                    <a:pt x="484" y="308"/>
                  </a:lnTo>
                  <a:lnTo>
                    <a:pt x="486" y="312"/>
                  </a:lnTo>
                  <a:close/>
                  <a:moveTo>
                    <a:pt x="52" y="880"/>
                  </a:moveTo>
                  <a:lnTo>
                    <a:pt x="52" y="876"/>
                  </a:lnTo>
                  <a:lnTo>
                    <a:pt x="52" y="874"/>
                  </a:lnTo>
                  <a:lnTo>
                    <a:pt x="52" y="874"/>
                  </a:lnTo>
                  <a:lnTo>
                    <a:pt x="52" y="874"/>
                  </a:lnTo>
                  <a:lnTo>
                    <a:pt x="50" y="870"/>
                  </a:lnTo>
                  <a:lnTo>
                    <a:pt x="50" y="870"/>
                  </a:lnTo>
                  <a:lnTo>
                    <a:pt x="50" y="870"/>
                  </a:lnTo>
                  <a:lnTo>
                    <a:pt x="46" y="868"/>
                  </a:lnTo>
                  <a:lnTo>
                    <a:pt x="46" y="868"/>
                  </a:lnTo>
                  <a:lnTo>
                    <a:pt x="46" y="868"/>
                  </a:lnTo>
                  <a:lnTo>
                    <a:pt x="42" y="866"/>
                  </a:lnTo>
                  <a:lnTo>
                    <a:pt x="42" y="866"/>
                  </a:lnTo>
                  <a:lnTo>
                    <a:pt x="42" y="866"/>
                  </a:lnTo>
                  <a:lnTo>
                    <a:pt x="38" y="864"/>
                  </a:lnTo>
                  <a:lnTo>
                    <a:pt x="32" y="862"/>
                  </a:lnTo>
                  <a:lnTo>
                    <a:pt x="26" y="862"/>
                  </a:lnTo>
                  <a:lnTo>
                    <a:pt x="26" y="862"/>
                  </a:lnTo>
                  <a:lnTo>
                    <a:pt x="24" y="862"/>
                  </a:lnTo>
                  <a:lnTo>
                    <a:pt x="20" y="864"/>
                  </a:lnTo>
                  <a:lnTo>
                    <a:pt x="16" y="866"/>
                  </a:lnTo>
                  <a:lnTo>
                    <a:pt x="10" y="868"/>
                  </a:lnTo>
                  <a:lnTo>
                    <a:pt x="6" y="872"/>
                  </a:lnTo>
                  <a:lnTo>
                    <a:pt x="2" y="874"/>
                  </a:lnTo>
                  <a:lnTo>
                    <a:pt x="2" y="874"/>
                  </a:lnTo>
                  <a:lnTo>
                    <a:pt x="2" y="874"/>
                  </a:lnTo>
                  <a:lnTo>
                    <a:pt x="0" y="876"/>
                  </a:lnTo>
                  <a:lnTo>
                    <a:pt x="0" y="878"/>
                  </a:lnTo>
                  <a:lnTo>
                    <a:pt x="0" y="878"/>
                  </a:lnTo>
                  <a:lnTo>
                    <a:pt x="0" y="878"/>
                  </a:lnTo>
                  <a:lnTo>
                    <a:pt x="0" y="880"/>
                  </a:lnTo>
                  <a:lnTo>
                    <a:pt x="0" y="880"/>
                  </a:lnTo>
                  <a:lnTo>
                    <a:pt x="0" y="880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884"/>
                  </a:lnTo>
                  <a:lnTo>
                    <a:pt x="4" y="886"/>
                  </a:lnTo>
                  <a:lnTo>
                    <a:pt x="4" y="886"/>
                  </a:lnTo>
                  <a:lnTo>
                    <a:pt x="4" y="886"/>
                  </a:lnTo>
                  <a:lnTo>
                    <a:pt x="10" y="886"/>
                  </a:lnTo>
                  <a:lnTo>
                    <a:pt x="16" y="888"/>
                  </a:lnTo>
                  <a:lnTo>
                    <a:pt x="26" y="888"/>
                  </a:lnTo>
                  <a:lnTo>
                    <a:pt x="38" y="888"/>
                  </a:lnTo>
                  <a:lnTo>
                    <a:pt x="50" y="888"/>
                  </a:lnTo>
                  <a:lnTo>
                    <a:pt x="50" y="888"/>
                  </a:lnTo>
                  <a:lnTo>
                    <a:pt x="52" y="888"/>
                  </a:lnTo>
                  <a:lnTo>
                    <a:pt x="52" y="888"/>
                  </a:lnTo>
                  <a:lnTo>
                    <a:pt x="52" y="886"/>
                  </a:lnTo>
                  <a:lnTo>
                    <a:pt x="52" y="882"/>
                  </a:lnTo>
                  <a:lnTo>
                    <a:pt x="52" y="880"/>
                  </a:lnTo>
                  <a:close/>
                  <a:moveTo>
                    <a:pt x="2398" y="340"/>
                  </a:moveTo>
                  <a:lnTo>
                    <a:pt x="2398" y="340"/>
                  </a:lnTo>
                  <a:lnTo>
                    <a:pt x="2398" y="342"/>
                  </a:lnTo>
                  <a:lnTo>
                    <a:pt x="2398" y="342"/>
                  </a:lnTo>
                  <a:lnTo>
                    <a:pt x="2398" y="342"/>
                  </a:lnTo>
                  <a:lnTo>
                    <a:pt x="2398" y="344"/>
                  </a:lnTo>
                  <a:lnTo>
                    <a:pt x="2400" y="346"/>
                  </a:lnTo>
                  <a:lnTo>
                    <a:pt x="2400" y="346"/>
                  </a:lnTo>
                  <a:lnTo>
                    <a:pt x="2402" y="346"/>
                  </a:lnTo>
                  <a:lnTo>
                    <a:pt x="2402" y="346"/>
                  </a:lnTo>
                  <a:lnTo>
                    <a:pt x="2402" y="346"/>
                  </a:lnTo>
                  <a:lnTo>
                    <a:pt x="2404" y="346"/>
                  </a:lnTo>
                  <a:lnTo>
                    <a:pt x="2406" y="348"/>
                  </a:lnTo>
                  <a:lnTo>
                    <a:pt x="2410" y="348"/>
                  </a:lnTo>
                  <a:lnTo>
                    <a:pt x="2414" y="348"/>
                  </a:lnTo>
                  <a:lnTo>
                    <a:pt x="2420" y="346"/>
                  </a:lnTo>
                  <a:lnTo>
                    <a:pt x="2422" y="346"/>
                  </a:lnTo>
                  <a:lnTo>
                    <a:pt x="2426" y="346"/>
                  </a:lnTo>
                  <a:lnTo>
                    <a:pt x="2428" y="344"/>
                  </a:lnTo>
                  <a:lnTo>
                    <a:pt x="2428" y="344"/>
                  </a:lnTo>
                  <a:lnTo>
                    <a:pt x="2430" y="344"/>
                  </a:lnTo>
                  <a:lnTo>
                    <a:pt x="2432" y="342"/>
                  </a:lnTo>
                  <a:lnTo>
                    <a:pt x="2434" y="342"/>
                  </a:lnTo>
                  <a:lnTo>
                    <a:pt x="2438" y="340"/>
                  </a:lnTo>
                  <a:lnTo>
                    <a:pt x="2436" y="340"/>
                  </a:lnTo>
                  <a:lnTo>
                    <a:pt x="2438" y="338"/>
                  </a:lnTo>
                  <a:lnTo>
                    <a:pt x="2440" y="338"/>
                  </a:lnTo>
                  <a:lnTo>
                    <a:pt x="2446" y="336"/>
                  </a:lnTo>
                  <a:lnTo>
                    <a:pt x="2448" y="334"/>
                  </a:lnTo>
                  <a:lnTo>
                    <a:pt x="2450" y="334"/>
                  </a:lnTo>
                  <a:lnTo>
                    <a:pt x="2450" y="334"/>
                  </a:lnTo>
                  <a:lnTo>
                    <a:pt x="2452" y="334"/>
                  </a:lnTo>
                  <a:lnTo>
                    <a:pt x="2452" y="332"/>
                  </a:lnTo>
                  <a:lnTo>
                    <a:pt x="2452" y="332"/>
                  </a:lnTo>
                  <a:lnTo>
                    <a:pt x="2454" y="332"/>
                  </a:lnTo>
                  <a:lnTo>
                    <a:pt x="2454" y="330"/>
                  </a:lnTo>
                  <a:lnTo>
                    <a:pt x="2454" y="330"/>
                  </a:lnTo>
                  <a:lnTo>
                    <a:pt x="2454" y="330"/>
                  </a:lnTo>
                  <a:lnTo>
                    <a:pt x="2454" y="328"/>
                  </a:lnTo>
                  <a:lnTo>
                    <a:pt x="2454" y="328"/>
                  </a:lnTo>
                  <a:lnTo>
                    <a:pt x="2454" y="328"/>
                  </a:lnTo>
                  <a:lnTo>
                    <a:pt x="2454" y="326"/>
                  </a:lnTo>
                  <a:lnTo>
                    <a:pt x="2454" y="326"/>
                  </a:lnTo>
                  <a:lnTo>
                    <a:pt x="2454" y="324"/>
                  </a:lnTo>
                  <a:lnTo>
                    <a:pt x="2454" y="322"/>
                  </a:lnTo>
                  <a:lnTo>
                    <a:pt x="2454" y="322"/>
                  </a:lnTo>
                  <a:lnTo>
                    <a:pt x="2452" y="320"/>
                  </a:lnTo>
                  <a:lnTo>
                    <a:pt x="2450" y="318"/>
                  </a:lnTo>
                  <a:lnTo>
                    <a:pt x="2450" y="318"/>
                  </a:lnTo>
                  <a:lnTo>
                    <a:pt x="2450" y="316"/>
                  </a:lnTo>
                  <a:lnTo>
                    <a:pt x="2448" y="316"/>
                  </a:lnTo>
                  <a:lnTo>
                    <a:pt x="2446" y="314"/>
                  </a:lnTo>
                  <a:lnTo>
                    <a:pt x="2446" y="314"/>
                  </a:lnTo>
                  <a:lnTo>
                    <a:pt x="2446" y="314"/>
                  </a:lnTo>
                  <a:lnTo>
                    <a:pt x="2444" y="312"/>
                  </a:lnTo>
                  <a:lnTo>
                    <a:pt x="2442" y="310"/>
                  </a:lnTo>
                  <a:lnTo>
                    <a:pt x="2438" y="310"/>
                  </a:lnTo>
                  <a:lnTo>
                    <a:pt x="2436" y="308"/>
                  </a:lnTo>
                  <a:lnTo>
                    <a:pt x="2432" y="308"/>
                  </a:lnTo>
                  <a:lnTo>
                    <a:pt x="2428" y="306"/>
                  </a:lnTo>
                  <a:lnTo>
                    <a:pt x="2428" y="306"/>
                  </a:lnTo>
                  <a:lnTo>
                    <a:pt x="2428" y="306"/>
                  </a:lnTo>
                  <a:lnTo>
                    <a:pt x="2424" y="306"/>
                  </a:lnTo>
                  <a:lnTo>
                    <a:pt x="2422" y="306"/>
                  </a:lnTo>
                  <a:lnTo>
                    <a:pt x="2422" y="306"/>
                  </a:lnTo>
                  <a:lnTo>
                    <a:pt x="2420" y="308"/>
                  </a:lnTo>
                  <a:lnTo>
                    <a:pt x="2418" y="308"/>
                  </a:lnTo>
                  <a:lnTo>
                    <a:pt x="2418" y="308"/>
                  </a:lnTo>
                  <a:lnTo>
                    <a:pt x="2418" y="308"/>
                  </a:lnTo>
                  <a:lnTo>
                    <a:pt x="2414" y="310"/>
                  </a:lnTo>
                  <a:lnTo>
                    <a:pt x="2412" y="312"/>
                  </a:lnTo>
                  <a:lnTo>
                    <a:pt x="2408" y="314"/>
                  </a:lnTo>
                  <a:lnTo>
                    <a:pt x="2406" y="318"/>
                  </a:lnTo>
                  <a:lnTo>
                    <a:pt x="2404" y="320"/>
                  </a:lnTo>
                  <a:lnTo>
                    <a:pt x="2402" y="322"/>
                  </a:lnTo>
                  <a:lnTo>
                    <a:pt x="2400" y="324"/>
                  </a:lnTo>
                  <a:lnTo>
                    <a:pt x="2398" y="326"/>
                  </a:lnTo>
                  <a:lnTo>
                    <a:pt x="2398" y="330"/>
                  </a:lnTo>
                  <a:lnTo>
                    <a:pt x="2398" y="330"/>
                  </a:lnTo>
                  <a:lnTo>
                    <a:pt x="2398" y="330"/>
                  </a:lnTo>
                  <a:lnTo>
                    <a:pt x="2396" y="334"/>
                  </a:lnTo>
                  <a:lnTo>
                    <a:pt x="2396" y="336"/>
                  </a:lnTo>
                  <a:lnTo>
                    <a:pt x="2396" y="338"/>
                  </a:lnTo>
                  <a:lnTo>
                    <a:pt x="2398" y="340"/>
                  </a:lnTo>
                  <a:close/>
                  <a:moveTo>
                    <a:pt x="2568" y="530"/>
                  </a:moveTo>
                  <a:lnTo>
                    <a:pt x="2568" y="530"/>
                  </a:lnTo>
                  <a:lnTo>
                    <a:pt x="2566" y="530"/>
                  </a:lnTo>
                  <a:lnTo>
                    <a:pt x="2566" y="528"/>
                  </a:lnTo>
                  <a:lnTo>
                    <a:pt x="2566" y="528"/>
                  </a:lnTo>
                  <a:lnTo>
                    <a:pt x="2566" y="528"/>
                  </a:lnTo>
                  <a:lnTo>
                    <a:pt x="2564" y="526"/>
                  </a:lnTo>
                  <a:lnTo>
                    <a:pt x="2564" y="526"/>
                  </a:lnTo>
                  <a:lnTo>
                    <a:pt x="2562" y="526"/>
                  </a:lnTo>
                  <a:lnTo>
                    <a:pt x="2560" y="524"/>
                  </a:lnTo>
                  <a:lnTo>
                    <a:pt x="2558" y="522"/>
                  </a:lnTo>
                  <a:lnTo>
                    <a:pt x="2554" y="520"/>
                  </a:lnTo>
                  <a:lnTo>
                    <a:pt x="2552" y="520"/>
                  </a:lnTo>
                  <a:lnTo>
                    <a:pt x="2550" y="518"/>
                  </a:lnTo>
                  <a:lnTo>
                    <a:pt x="2550" y="518"/>
                  </a:lnTo>
                  <a:lnTo>
                    <a:pt x="2550" y="516"/>
                  </a:lnTo>
                  <a:lnTo>
                    <a:pt x="2548" y="514"/>
                  </a:lnTo>
                  <a:lnTo>
                    <a:pt x="2548" y="516"/>
                  </a:lnTo>
                  <a:lnTo>
                    <a:pt x="2548" y="512"/>
                  </a:lnTo>
                  <a:lnTo>
                    <a:pt x="2548" y="508"/>
                  </a:lnTo>
                  <a:lnTo>
                    <a:pt x="2548" y="506"/>
                  </a:lnTo>
                  <a:lnTo>
                    <a:pt x="2548" y="506"/>
                  </a:lnTo>
                  <a:lnTo>
                    <a:pt x="2548" y="506"/>
                  </a:lnTo>
                  <a:lnTo>
                    <a:pt x="2546" y="504"/>
                  </a:lnTo>
                  <a:lnTo>
                    <a:pt x="2546" y="504"/>
                  </a:lnTo>
                  <a:lnTo>
                    <a:pt x="2546" y="504"/>
                  </a:lnTo>
                  <a:lnTo>
                    <a:pt x="2546" y="502"/>
                  </a:lnTo>
                  <a:lnTo>
                    <a:pt x="2546" y="502"/>
                  </a:lnTo>
                  <a:lnTo>
                    <a:pt x="2544" y="502"/>
                  </a:lnTo>
                  <a:lnTo>
                    <a:pt x="2542" y="500"/>
                  </a:lnTo>
                  <a:lnTo>
                    <a:pt x="2542" y="500"/>
                  </a:lnTo>
                  <a:lnTo>
                    <a:pt x="2542" y="498"/>
                  </a:lnTo>
                  <a:lnTo>
                    <a:pt x="2538" y="498"/>
                  </a:lnTo>
                  <a:lnTo>
                    <a:pt x="2538" y="498"/>
                  </a:lnTo>
                  <a:lnTo>
                    <a:pt x="2538" y="498"/>
                  </a:lnTo>
                  <a:lnTo>
                    <a:pt x="2536" y="496"/>
                  </a:lnTo>
                  <a:lnTo>
                    <a:pt x="2534" y="496"/>
                  </a:lnTo>
                  <a:lnTo>
                    <a:pt x="2530" y="496"/>
                  </a:lnTo>
                  <a:lnTo>
                    <a:pt x="2528" y="496"/>
                  </a:lnTo>
                  <a:lnTo>
                    <a:pt x="2524" y="496"/>
                  </a:lnTo>
                  <a:lnTo>
                    <a:pt x="2520" y="496"/>
                  </a:lnTo>
                  <a:lnTo>
                    <a:pt x="2516" y="496"/>
                  </a:lnTo>
                  <a:lnTo>
                    <a:pt x="2512" y="498"/>
                  </a:lnTo>
                  <a:lnTo>
                    <a:pt x="2508" y="498"/>
                  </a:lnTo>
                  <a:lnTo>
                    <a:pt x="2508" y="498"/>
                  </a:lnTo>
                  <a:lnTo>
                    <a:pt x="2508" y="498"/>
                  </a:lnTo>
                  <a:lnTo>
                    <a:pt x="2506" y="498"/>
                  </a:lnTo>
                  <a:lnTo>
                    <a:pt x="2506" y="498"/>
                  </a:lnTo>
                  <a:lnTo>
                    <a:pt x="2506" y="500"/>
                  </a:lnTo>
                  <a:lnTo>
                    <a:pt x="2504" y="500"/>
                  </a:lnTo>
                  <a:lnTo>
                    <a:pt x="2504" y="500"/>
                  </a:lnTo>
                  <a:lnTo>
                    <a:pt x="2504" y="502"/>
                  </a:lnTo>
                  <a:lnTo>
                    <a:pt x="2502" y="502"/>
                  </a:lnTo>
                  <a:lnTo>
                    <a:pt x="2502" y="502"/>
                  </a:lnTo>
                  <a:lnTo>
                    <a:pt x="2502" y="504"/>
                  </a:lnTo>
                  <a:lnTo>
                    <a:pt x="2502" y="504"/>
                  </a:lnTo>
                  <a:lnTo>
                    <a:pt x="2502" y="504"/>
                  </a:lnTo>
                  <a:lnTo>
                    <a:pt x="2502" y="506"/>
                  </a:lnTo>
                  <a:lnTo>
                    <a:pt x="2502" y="508"/>
                  </a:lnTo>
                  <a:lnTo>
                    <a:pt x="2504" y="510"/>
                  </a:lnTo>
                  <a:lnTo>
                    <a:pt x="2504" y="512"/>
                  </a:lnTo>
                  <a:lnTo>
                    <a:pt x="2504" y="514"/>
                  </a:lnTo>
                  <a:lnTo>
                    <a:pt x="2504" y="516"/>
                  </a:lnTo>
                  <a:lnTo>
                    <a:pt x="2504" y="518"/>
                  </a:lnTo>
                  <a:lnTo>
                    <a:pt x="2504" y="522"/>
                  </a:lnTo>
                  <a:lnTo>
                    <a:pt x="2504" y="522"/>
                  </a:lnTo>
                  <a:lnTo>
                    <a:pt x="2504" y="522"/>
                  </a:lnTo>
                  <a:lnTo>
                    <a:pt x="2502" y="520"/>
                  </a:lnTo>
                  <a:lnTo>
                    <a:pt x="2498" y="518"/>
                  </a:lnTo>
                  <a:lnTo>
                    <a:pt x="2498" y="516"/>
                  </a:lnTo>
                  <a:lnTo>
                    <a:pt x="2496" y="514"/>
                  </a:lnTo>
                  <a:lnTo>
                    <a:pt x="2496" y="516"/>
                  </a:lnTo>
                  <a:lnTo>
                    <a:pt x="2496" y="514"/>
                  </a:lnTo>
                  <a:lnTo>
                    <a:pt x="2496" y="514"/>
                  </a:lnTo>
                  <a:lnTo>
                    <a:pt x="2496" y="512"/>
                  </a:lnTo>
                  <a:lnTo>
                    <a:pt x="2496" y="508"/>
                  </a:lnTo>
                  <a:lnTo>
                    <a:pt x="2498" y="504"/>
                  </a:lnTo>
                  <a:lnTo>
                    <a:pt x="2498" y="504"/>
                  </a:lnTo>
                  <a:lnTo>
                    <a:pt x="2498" y="504"/>
                  </a:lnTo>
                  <a:lnTo>
                    <a:pt x="2498" y="502"/>
                  </a:lnTo>
                  <a:lnTo>
                    <a:pt x="2500" y="500"/>
                  </a:lnTo>
                  <a:lnTo>
                    <a:pt x="2500" y="500"/>
                  </a:lnTo>
                  <a:lnTo>
                    <a:pt x="2500" y="500"/>
                  </a:lnTo>
                  <a:lnTo>
                    <a:pt x="2500" y="498"/>
                  </a:lnTo>
                  <a:lnTo>
                    <a:pt x="2502" y="496"/>
                  </a:lnTo>
                  <a:lnTo>
                    <a:pt x="2502" y="496"/>
                  </a:lnTo>
                  <a:lnTo>
                    <a:pt x="2502" y="496"/>
                  </a:lnTo>
                  <a:lnTo>
                    <a:pt x="2502" y="494"/>
                  </a:lnTo>
                  <a:lnTo>
                    <a:pt x="2502" y="494"/>
                  </a:lnTo>
                  <a:lnTo>
                    <a:pt x="2502" y="492"/>
                  </a:lnTo>
                  <a:lnTo>
                    <a:pt x="2502" y="490"/>
                  </a:lnTo>
                  <a:lnTo>
                    <a:pt x="2500" y="490"/>
                  </a:lnTo>
                  <a:lnTo>
                    <a:pt x="2500" y="488"/>
                  </a:lnTo>
                  <a:lnTo>
                    <a:pt x="2498" y="486"/>
                  </a:lnTo>
                  <a:lnTo>
                    <a:pt x="2496" y="484"/>
                  </a:lnTo>
                  <a:lnTo>
                    <a:pt x="2492" y="480"/>
                  </a:lnTo>
                  <a:lnTo>
                    <a:pt x="2490" y="478"/>
                  </a:lnTo>
                  <a:lnTo>
                    <a:pt x="2486" y="476"/>
                  </a:lnTo>
                  <a:lnTo>
                    <a:pt x="2480" y="470"/>
                  </a:lnTo>
                  <a:lnTo>
                    <a:pt x="2472" y="464"/>
                  </a:lnTo>
                  <a:lnTo>
                    <a:pt x="2462" y="456"/>
                  </a:lnTo>
                  <a:lnTo>
                    <a:pt x="2454" y="450"/>
                  </a:lnTo>
                  <a:lnTo>
                    <a:pt x="2448" y="446"/>
                  </a:lnTo>
                  <a:lnTo>
                    <a:pt x="2444" y="442"/>
                  </a:lnTo>
                  <a:lnTo>
                    <a:pt x="2442" y="440"/>
                  </a:lnTo>
                  <a:lnTo>
                    <a:pt x="2438" y="436"/>
                  </a:lnTo>
                  <a:lnTo>
                    <a:pt x="2434" y="432"/>
                  </a:lnTo>
                  <a:lnTo>
                    <a:pt x="2432" y="430"/>
                  </a:lnTo>
                  <a:lnTo>
                    <a:pt x="2430" y="426"/>
                  </a:lnTo>
                  <a:lnTo>
                    <a:pt x="2424" y="420"/>
                  </a:lnTo>
                  <a:lnTo>
                    <a:pt x="2422" y="418"/>
                  </a:lnTo>
                  <a:lnTo>
                    <a:pt x="2418" y="414"/>
                  </a:lnTo>
                  <a:lnTo>
                    <a:pt x="2414" y="412"/>
                  </a:lnTo>
                  <a:lnTo>
                    <a:pt x="2408" y="410"/>
                  </a:lnTo>
                  <a:lnTo>
                    <a:pt x="2398" y="404"/>
                  </a:lnTo>
                  <a:lnTo>
                    <a:pt x="2392" y="402"/>
                  </a:lnTo>
                  <a:lnTo>
                    <a:pt x="2388" y="398"/>
                  </a:lnTo>
                  <a:lnTo>
                    <a:pt x="2384" y="396"/>
                  </a:lnTo>
                  <a:lnTo>
                    <a:pt x="2380" y="394"/>
                  </a:lnTo>
                  <a:lnTo>
                    <a:pt x="2376" y="394"/>
                  </a:lnTo>
                  <a:lnTo>
                    <a:pt x="2374" y="392"/>
                  </a:lnTo>
                  <a:lnTo>
                    <a:pt x="2372" y="392"/>
                  </a:lnTo>
                  <a:lnTo>
                    <a:pt x="2370" y="390"/>
                  </a:lnTo>
                  <a:lnTo>
                    <a:pt x="2368" y="388"/>
                  </a:lnTo>
                  <a:lnTo>
                    <a:pt x="2368" y="388"/>
                  </a:lnTo>
                  <a:lnTo>
                    <a:pt x="2368" y="388"/>
                  </a:lnTo>
                  <a:lnTo>
                    <a:pt x="2366" y="388"/>
                  </a:lnTo>
                  <a:lnTo>
                    <a:pt x="2364" y="388"/>
                  </a:lnTo>
                  <a:lnTo>
                    <a:pt x="2364" y="388"/>
                  </a:lnTo>
                  <a:lnTo>
                    <a:pt x="2358" y="388"/>
                  </a:lnTo>
                  <a:lnTo>
                    <a:pt x="2352" y="388"/>
                  </a:lnTo>
                  <a:lnTo>
                    <a:pt x="2348" y="388"/>
                  </a:lnTo>
                  <a:lnTo>
                    <a:pt x="2342" y="388"/>
                  </a:lnTo>
                  <a:lnTo>
                    <a:pt x="2340" y="388"/>
                  </a:lnTo>
                  <a:lnTo>
                    <a:pt x="2336" y="386"/>
                  </a:lnTo>
                  <a:lnTo>
                    <a:pt x="2330" y="386"/>
                  </a:lnTo>
                  <a:lnTo>
                    <a:pt x="2324" y="384"/>
                  </a:lnTo>
                  <a:lnTo>
                    <a:pt x="2322" y="384"/>
                  </a:lnTo>
                  <a:lnTo>
                    <a:pt x="2318" y="382"/>
                  </a:lnTo>
                  <a:lnTo>
                    <a:pt x="2316" y="382"/>
                  </a:lnTo>
                  <a:lnTo>
                    <a:pt x="2316" y="382"/>
                  </a:lnTo>
                  <a:lnTo>
                    <a:pt x="2312" y="382"/>
                  </a:lnTo>
                  <a:lnTo>
                    <a:pt x="2310" y="380"/>
                  </a:lnTo>
                  <a:lnTo>
                    <a:pt x="2308" y="380"/>
                  </a:lnTo>
                  <a:lnTo>
                    <a:pt x="2306" y="380"/>
                  </a:lnTo>
                  <a:lnTo>
                    <a:pt x="2304" y="380"/>
                  </a:lnTo>
                  <a:lnTo>
                    <a:pt x="2300" y="378"/>
                  </a:lnTo>
                  <a:lnTo>
                    <a:pt x="2294" y="376"/>
                  </a:lnTo>
                  <a:lnTo>
                    <a:pt x="2290" y="376"/>
                  </a:lnTo>
                  <a:lnTo>
                    <a:pt x="2288" y="376"/>
                  </a:lnTo>
                  <a:lnTo>
                    <a:pt x="2286" y="376"/>
                  </a:lnTo>
                  <a:lnTo>
                    <a:pt x="2284" y="376"/>
                  </a:lnTo>
                  <a:lnTo>
                    <a:pt x="2282" y="376"/>
                  </a:lnTo>
                  <a:lnTo>
                    <a:pt x="2282" y="376"/>
                  </a:lnTo>
                  <a:lnTo>
                    <a:pt x="2282" y="376"/>
                  </a:lnTo>
                  <a:lnTo>
                    <a:pt x="2280" y="376"/>
                  </a:lnTo>
                  <a:lnTo>
                    <a:pt x="2280" y="376"/>
                  </a:lnTo>
                  <a:lnTo>
                    <a:pt x="2280" y="376"/>
                  </a:lnTo>
                  <a:lnTo>
                    <a:pt x="2278" y="378"/>
                  </a:lnTo>
                  <a:lnTo>
                    <a:pt x="2278" y="378"/>
                  </a:lnTo>
                  <a:lnTo>
                    <a:pt x="2278" y="378"/>
                  </a:lnTo>
                  <a:lnTo>
                    <a:pt x="2276" y="382"/>
                  </a:lnTo>
                  <a:lnTo>
                    <a:pt x="2276" y="382"/>
                  </a:lnTo>
                  <a:lnTo>
                    <a:pt x="2276" y="382"/>
                  </a:lnTo>
                  <a:lnTo>
                    <a:pt x="2274" y="386"/>
                  </a:lnTo>
                  <a:lnTo>
                    <a:pt x="2274" y="386"/>
                  </a:lnTo>
                  <a:lnTo>
                    <a:pt x="2274" y="392"/>
                  </a:lnTo>
                  <a:lnTo>
                    <a:pt x="2274" y="392"/>
                  </a:lnTo>
                  <a:lnTo>
                    <a:pt x="2274" y="392"/>
                  </a:lnTo>
                  <a:lnTo>
                    <a:pt x="2274" y="394"/>
                  </a:lnTo>
                  <a:lnTo>
                    <a:pt x="2274" y="394"/>
                  </a:lnTo>
                  <a:lnTo>
                    <a:pt x="2276" y="396"/>
                  </a:lnTo>
                  <a:lnTo>
                    <a:pt x="2276" y="400"/>
                  </a:lnTo>
                  <a:lnTo>
                    <a:pt x="2278" y="404"/>
                  </a:lnTo>
                  <a:lnTo>
                    <a:pt x="2280" y="408"/>
                  </a:lnTo>
                  <a:lnTo>
                    <a:pt x="2282" y="412"/>
                  </a:lnTo>
                  <a:lnTo>
                    <a:pt x="2282" y="416"/>
                  </a:lnTo>
                  <a:lnTo>
                    <a:pt x="2284" y="420"/>
                  </a:lnTo>
                  <a:lnTo>
                    <a:pt x="2284" y="420"/>
                  </a:lnTo>
                  <a:lnTo>
                    <a:pt x="2284" y="420"/>
                  </a:lnTo>
                  <a:lnTo>
                    <a:pt x="2282" y="420"/>
                  </a:lnTo>
                  <a:lnTo>
                    <a:pt x="2280" y="420"/>
                  </a:lnTo>
                  <a:lnTo>
                    <a:pt x="2276" y="420"/>
                  </a:lnTo>
                  <a:lnTo>
                    <a:pt x="2272" y="420"/>
                  </a:lnTo>
                  <a:lnTo>
                    <a:pt x="2268" y="418"/>
                  </a:lnTo>
                  <a:lnTo>
                    <a:pt x="2266" y="418"/>
                  </a:lnTo>
                  <a:lnTo>
                    <a:pt x="2262" y="418"/>
                  </a:lnTo>
                  <a:lnTo>
                    <a:pt x="2258" y="416"/>
                  </a:lnTo>
                  <a:lnTo>
                    <a:pt x="2254" y="416"/>
                  </a:lnTo>
                  <a:lnTo>
                    <a:pt x="2250" y="414"/>
                  </a:lnTo>
                  <a:lnTo>
                    <a:pt x="2252" y="416"/>
                  </a:lnTo>
                  <a:lnTo>
                    <a:pt x="2250" y="414"/>
                  </a:lnTo>
                  <a:lnTo>
                    <a:pt x="2250" y="414"/>
                  </a:lnTo>
                  <a:lnTo>
                    <a:pt x="2248" y="412"/>
                  </a:lnTo>
                  <a:lnTo>
                    <a:pt x="2248" y="410"/>
                  </a:lnTo>
                  <a:lnTo>
                    <a:pt x="2248" y="408"/>
                  </a:lnTo>
                  <a:lnTo>
                    <a:pt x="2246" y="404"/>
                  </a:lnTo>
                  <a:lnTo>
                    <a:pt x="2246" y="402"/>
                  </a:lnTo>
                  <a:lnTo>
                    <a:pt x="2246" y="398"/>
                  </a:lnTo>
                  <a:lnTo>
                    <a:pt x="2246" y="400"/>
                  </a:lnTo>
                  <a:lnTo>
                    <a:pt x="2248" y="398"/>
                  </a:lnTo>
                  <a:lnTo>
                    <a:pt x="2248" y="396"/>
                  </a:lnTo>
                  <a:lnTo>
                    <a:pt x="2248" y="396"/>
                  </a:lnTo>
                  <a:lnTo>
                    <a:pt x="2250" y="394"/>
                  </a:lnTo>
                  <a:lnTo>
                    <a:pt x="2252" y="394"/>
                  </a:lnTo>
                  <a:lnTo>
                    <a:pt x="2256" y="394"/>
                  </a:lnTo>
                  <a:lnTo>
                    <a:pt x="2258" y="394"/>
                  </a:lnTo>
                  <a:lnTo>
                    <a:pt x="2262" y="392"/>
                  </a:lnTo>
                  <a:lnTo>
                    <a:pt x="2264" y="392"/>
                  </a:lnTo>
                  <a:lnTo>
                    <a:pt x="2264" y="392"/>
                  </a:lnTo>
                  <a:lnTo>
                    <a:pt x="2264" y="392"/>
                  </a:lnTo>
                  <a:lnTo>
                    <a:pt x="2266" y="390"/>
                  </a:lnTo>
                  <a:lnTo>
                    <a:pt x="2266" y="390"/>
                  </a:lnTo>
                  <a:lnTo>
                    <a:pt x="2266" y="388"/>
                  </a:lnTo>
                  <a:lnTo>
                    <a:pt x="2266" y="386"/>
                  </a:lnTo>
                  <a:lnTo>
                    <a:pt x="2266" y="386"/>
                  </a:lnTo>
                  <a:lnTo>
                    <a:pt x="2264" y="386"/>
                  </a:lnTo>
                  <a:lnTo>
                    <a:pt x="2264" y="384"/>
                  </a:lnTo>
                  <a:lnTo>
                    <a:pt x="2262" y="382"/>
                  </a:lnTo>
                  <a:lnTo>
                    <a:pt x="2258" y="380"/>
                  </a:lnTo>
                  <a:lnTo>
                    <a:pt x="2256" y="378"/>
                  </a:lnTo>
                  <a:lnTo>
                    <a:pt x="2254" y="378"/>
                  </a:lnTo>
                  <a:lnTo>
                    <a:pt x="2254" y="378"/>
                  </a:lnTo>
                  <a:lnTo>
                    <a:pt x="2254" y="378"/>
                  </a:lnTo>
                  <a:lnTo>
                    <a:pt x="2250" y="376"/>
                  </a:lnTo>
                  <a:lnTo>
                    <a:pt x="2250" y="376"/>
                  </a:lnTo>
                  <a:lnTo>
                    <a:pt x="2250" y="376"/>
                  </a:lnTo>
                  <a:lnTo>
                    <a:pt x="2248" y="376"/>
                  </a:lnTo>
                  <a:lnTo>
                    <a:pt x="2248" y="376"/>
                  </a:lnTo>
                  <a:lnTo>
                    <a:pt x="2248" y="376"/>
                  </a:lnTo>
                  <a:lnTo>
                    <a:pt x="2246" y="378"/>
                  </a:lnTo>
                  <a:lnTo>
                    <a:pt x="2246" y="378"/>
                  </a:lnTo>
                  <a:lnTo>
                    <a:pt x="2244" y="378"/>
                  </a:lnTo>
                  <a:lnTo>
                    <a:pt x="2244" y="380"/>
                  </a:lnTo>
                  <a:lnTo>
                    <a:pt x="2244" y="380"/>
                  </a:lnTo>
                  <a:lnTo>
                    <a:pt x="2244" y="380"/>
                  </a:lnTo>
                  <a:lnTo>
                    <a:pt x="2242" y="382"/>
                  </a:lnTo>
                  <a:lnTo>
                    <a:pt x="2240" y="386"/>
                  </a:lnTo>
                  <a:lnTo>
                    <a:pt x="2238" y="390"/>
                  </a:lnTo>
                  <a:lnTo>
                    <a:pt x="2236" y="392"/>
                  </a:lnTo>
                  <a:lnTo>
                    <a:pt x="2234" y="394"/>
                  </a:lnTo>
                  <a:lnTo>
                    <a:pt x="2230" y="398"/>
                  </a:lnTo>
                  <a:lnTo>
                    <a:pt x="2230" y="400"/>
                  </a:lnTo>
                  <a:lnTo>
                    <a:pt x="2228" y="402"/>
                  </a:lnTo>
                  <a:lnTo>
                    <a:pt x="2226" y="402"/>
                  </a:lnTo>
                  <a:lnTo>
                    <a:pt x="2226" y="402"/>
                  </a:lnTo>
                  <a:lnTo>
                    <a:pt x="2226" y="402"/>
                  </a:lnTo>
                  <a:lnTo>
                    <a:pt x="2224" y="402"/>
                  </a:lnTo>
                  <a:lnTo>
                    <a:pt x="2224" y="402"/>
                  </a:lnTo>
                  <a:lnTo>
                    <a:pt x="2222" y="400"/>
                  </a:lnTo>
                  <a:lnTo>
                    <a:pt x="2220" y="398"/>
                  </a:lnTo>
                  <a:lnTo>
                    <a:pt x="2220" y="398"/>
                  </a:lnTo>
                  <a:lnTo>
                    <a:pt x="2220" y="398"/>
                  </a:lnTo>
                  <a:lnTo>
                    <a:pt x="2218" y="398"/>
                  </a:lnTo>
                  <a:lnTo>
                    <a:pt x="2218" y="398"/>
                  </a:lnTo>
                  <a:lnTo>
                    <a:pt x="2216" y="398"/>
                  </a:lnTo>
                  <a:lnTo>
                    <a:pt x="2216" y="396"/>
                  </a:lnTo>
                  <a:lnTo>
                    <a:pt x="2216" y="396"/>
                  </a:lnTo>
                  <a:lnTo>
                    <a:pt x="2214" y="396"/>
                  </a:lnTo>
                  <a:lnTo>
                    <a:pt x="2212" y="396"/>
                  </a:lnTo>
                  <a:lnTo>
                    <a:pt x="2210" y="396"/>
                  </a:lnTo>
                  <a:lnTo>
                    <a:pt x="2204" y="398"/>
                  </a:lnTo>
                  <a:lnTo>
                    <a:pt x="2198" y="398"/>
                  </a:lnTo>
                  <a:lnTo>
                    <a:pt x="2196" y="398"/>
                  </a:lnTo>
                  <a:lnTo>
                    <a:pt x="2194" y="398"/>
                  </a:lnTo>
                  <a:lnTo>
                    <a:pt x="2194" y="398"/>
                  </a:lnTo>
                  <a:lnTo>
                    <a:pt x="2192" y="396"/>
                  </a:lnTo>
                  <a:lnTo>
                    <a:pt x="2192" y="394"/>
                  </a:lnTo>
                  <a:lnTo>
                    <a:pt x="2190" y="390"/>
                  </a:lnTo>
                  <a:lnTo>
                    <a:pt x="2190" y="390"/>
                  </a:lnTo>
                  <a:lnTo>
                    <a:pt x="2190" y="390"/>
                  </a:lnTo>
                  <a:lnTo>
                    <a:pt x="2188" y="390"/>
                  </a:lnTo>
                  <a:lnTo>
                    <a:pt x="2188" y="390"/>
                  </a:lnTo>
                  <a:lnTo>
                    <a:pt x="2186" y="388"/>
                  </a:lnTo>
                  <a:lnTo>
                    <a:pt x="2186" y="388"/>
                  </a:lnTo>
                  <a:lnTo>
                    <a:pt x="2186" y="388"/>
                  </a:lnTo>
                  <a:lnTo>
                    <a:pt x="2184" y="388"/>
                  </a:lnTo>
                  <a:lnTo>
                    <a:pt x="2182" y="388"/>
                  </a:lnTo>
                  <a:lnTo>
                    <a:pt x="2178" y="388"/>
                  </a:lnTo>
                  <a:lnTo>
                    <a:pt x="2176" y="388"/>
                  </a:lnTo>
                  <a:lnTo>
                    <a:pt x="2172" y="388"/>
                  </a:lnTo>
                  <a:lnTo>
                    <a:pt x="2164" y="388"/>
                  </a:lnTo>
                  <a:lnTo>
                    <a:pt x="2162" y="388"/>
                  </a:lnTo>
                  <a:lnTo>
                    <a:pt x="2158" y="388"/>
                  </a:lnTo>
                  <a:lnTo>
                    <a:pt x="2156" y="390"/>
                  </a:lnTo>
                  <a:lnTo>
                    <a:pt x="2154" y="390"/>
                  </a:lnTo>
                  <a:lnTo>
                    <a:pt x="2154" y="390"/>
                  </a:lnTo>
                  <a:lnTo>
                    <a:pt x="2154" y="390"/>
                  </a:lnTo>
                  <a:lnTo>
                    <a:pt x="2150" y="392"/>
                  </a:lnTo>
                  <a:lnTo>
                    <a:pt x="2150" y="392"/>
                  </a:lnTo>
                  <a:lnTo>
                    <a:pt x="2150" y="392"/>
                  </a:lnTo>
                  <a:lnTo>
                    <a:pt x="2148" y="394"/>
                  </a:lnTo>
                  <a:lnTo>
                    <a:pt x="2144" y="398"/>
                  </a:lnTo>
                  <a:lnTo>
                    <a:pt x="2144" y="400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2" y="402"/>
                  </a:lnTo>
                  <a:lnTo>
                    <a:pt x="2140" y="402"/>
                  </a:lnTo>
                  <a:lnTo>
                    <a:pt x="2140" y="400"/>
                  </a:lnTo>
                  <a:lnTo>
                    <a:pt x="2140" y="400"/>
                  </a:lnTo>
                  <a:lnTo>
                    <a:pt x="2140" y="400"/>
                  </a:lnTo>
                  <a:lnTo>
                    <a:pt x="2138" y="398"/>
                  </a:lnTo>
                  <a:lnTo>
                    <a:pt x="2138" y="398"/>
                  </a:lnTo>
                  <a:lnTo>
                    <a:pt x="2138" y="398"/>
                  </a:lnTo>
                  <a:lnTo>
                    <a:pt x="2136" y="396"/>
                  </a:lnTo>
                  <a:lnTo>
                    <a:pt x="2132" y="394"/>
                  </a:lnTo>
                  <a:lnTo>
                    <a:pt x="2130" y="390"/>
                  </a:lnTo>
                  <a:lnTo>
                    <a:pt x="2128" y="390"/>
                  </a:lnTo>
                  <a:lnTo>
                    <a:pt x="2128" y="390"/>
                  </a:lnTo>
                  <a:lnTo>
                    <a:pt x="2128" y="390"/>
                  </a:lnTo>
                  <a:lnTo>
                    <a:pt x="2126" y="388"/>
                  </a:lnTo>
                  <a:lnTo>
                    <a:pt x="2120" y="388"/>
                  </a:lnTo>
                  <a:lnTo>
                    <a:pt x="2118" y="388"/>
                  </a:lnTo>
                  <a:lnTo>
                    <a:pt x="2118" y="386"/>
                  </a:lnTo>
                  <a:lnTo>
                    <a:pt x="2118" y="386"/>
                  </a:lnTo>
                  <a:lnTo>
                    <a:pt x="2120" y="384"/>
                  </a:lnTo>
                  <a:lnTo>
                    <a:pt x="2124" y="382"/>
                  </a:lnTo>
                  <a:lnTo>
                    <a:pt x="2124" y="382"/>
                  </a:lnTo>
                  <a:lnTo>
                    <a:pt x="2124" y="380"/>
                  </a:lnTo>
                  <a:lnTo>
                    <a:pt x="2124" y="378"/>
                  </a:lnTo>
                  <a:lnTo>
                    <a:pt x="2124" y="378"/>
                  </a:lnTo>
                  <a:lnTo>
                    <a:pt x="2126" y="378"/>
                  </a:lnTo>
                  <a:lnTo>
                    <a:pt x="2126" y="376"/>
                  </a:lnTo>
                  <a:lnTo>
                    <a:pt x="2126" y="376"/>
                  </a:lnTo>
                  <a:lnTo>
                    <a:pt x="2126" y="376"/>
                  </a:lnTo>
                  <a:lnTo>
                    <a:pt x="2126" y="372"/>
                  </a:lnTo>
                  <a:lnTo>
                    <a:pt x="2126" y="372"/>
                  </a:lnTo>
                  <a:lnTo>
                    <a:pt x="2126" y="368"/>
                  </a:lnTo>
                  <a:lnTo>
                    <a:pt x="2126" y="366"/>
                  </a:lnTo>
                  <a:lnTo>
                    <a:pt x="2126" y="362"/>
                  </a:lnTo>
                  <a:lnTo>
                    <a:pt x="2124" y="358"/>
                  </a:lnTo>
                  <a:lnTo>
                    <a:pt x="2122" y="356"/>
                  </a:lnTo>
                  <a:lnTo>
                    <a:pt x="2120" y="354"/>
                  </a:lnTo>
                  <a:lnTo>
                    <a:pt x="2120" y="350"/>
                  </a:lnTo>
                  <a:lnTo>
                    <a:pt x="2116" y="346"/>
                  </a:lnTo>
                  <a:lnTo>
                    <a:pt x="2114" y="342"/>
                  </a:lnTo>
                  <a:lnTo>
                    <a:pt x="2112" y="340"/>
                  </a:lnTo>
                  <a:lnTo>
                    <a:pt x="2108" y="336"/>
                  </a:lnTo>
                  <a:lnTo>
                    <a:pt x="2108" y="336"/>
                  </a:lnTo>
                  <a:lnTo>
                    <a:pt x="2108" y="336"/>
                  </a:lnTo>
                  <a:lnTo>
                    <a:pt x="2104" y="334"/>
                  </a:lnTo>
                  <a:lnTo>
                    <a:pt x="2104" y="334"/>
                  </a:lnTo>
                  <a:lnTo>
                    <a:pt x="2104" y="334"/>
                  </a:lnTo>
                  <a:lnTo>
                    <a:pt x="2098" y="332"/>
                  </a:lnTo>
                  <a:lnTo>
                    <a:pt x="2094" y="330"/>
                  </a:lnTo>
                  <a:lnTo>
                    <a:pt x="2088" y="330"/>
                  </a:lnTo>
                  <a:lnTo>
                    <a:pt x="2082" y="328"/>
                  </a:lnTo>
                  <a:lnTo>
                    <a:pt x="2076" y="328"/>
                  </a:lnTo>
                  <a:lnTo>
                    <a:pt x="2068" y="328"/>
                  </a:lnTo>
                  <a:lnTo>
                    <a:pt x="2062" y="328"/>
                  </a:lnTo>
                  <a:lnTo>
                    <a:pt x="2056" y="328"/>
                  </a:lnTo>
                  <a:lnTo>
                    <a:pt x="2052" y="328"/>
                  </a:lnTo>
                  <a:lnTo>
                    <a:pt x="2048" y="328"/>
                  </a:lnTo>
                  <a:lnTo>
                    <a:pt x="2048" y="328"/>
                  </a:lnTo>
                  <a:lnTo>
                    <a:pt x="2046" y="328"/>
                  </a:lnTo>
                  <a:lnTo>
                    <a:pt x="2044" y="330"/>
                  </a:lnTo>
                  <a:lnTo>
                    <a:pt x="2044" y="330"/>
                  </a:lnTo>
                  <a:lnTo>
                    <a:pt x="2044" y="330"/>
                  </a:lnTo>
                  <a:lnTo>
                    <a:pt x="2042" y="332"/>
                  </a:lnTo>
                  <a:lnTo>
                    <a:pt x="2042" y="332"/>
                  </a:lnTo>
                  <a:lnTo>
                    <a:pt x="2040" y="332"/>
                  </a:lnTo>
                  <a:lnTo>
                    <a:pt x="2038" y="334"/>
                  </a:lnTo>
                  <a:lnTo>
                    <a:pt x="2038" y="336"/>
                  </a:lnTo>
                  <a:lnTo>
                    <a:pt x="2036" y="338"/>
                  </a:lnTo>
                  <a:lnTo>
                    <a:pt x="2036" y="338"/>
                  </a:lnTo>
                  <a:lnTo>
                    <a:pt x="2034" y="340"/>
                  </a:lnTo>
                  <a:lnTo>
                    <a:pt x="2032" y="340"/>
                  </a:lnTo>
                  <a:lnTo>
                    <a:pt x="2030" y="340"/>
                  </a:lnTo>
                  <a:lnTo>
                    <a:pt x="2026" y="340"/>
                  </a:lnTo>
                  <a:lnTo>
                    <a:pt x="2018" y="338"/>
                  </a:lnTo>
                  <a:lnTo>
                    <a:pt x="2014" y="336"/>
                  </a:lnTo>
                  <a:lnTo>
                    <a:pt x="2010" y="336"/>
                  </a:lnTo>
                  <a:lnTo>
                    <a:pt x="2006" y="334"/>
                  </a:lnTo>
                  <a:lnTo>
                    <a:pt x="2004" y="334"/>
                  </a:lnTo>
                  <a:lnTo>
                    <a:pt x="2002" y="332"/>
                  </a:lnTo>
                  <a:lnTo>
                    <a:pt x="2002" y="334"/>
                  </a:lnTo>
                  <a:lnTo>
                    <a:pt x="2000" y="332"/>
                  </a:lnTo>
                  <a:lnTo>
                    <a:pt x="2000" y="332"/>
                  </a:lnTo>
                  <a:lnTo>
                    <a:pt x="2000" y="332"/>
                  </a:lnTo>
                  <a:lnTo>
                    <a:pt x="1998" y="330"/>
                  </a:lnTo>
                  <a:lnTo>
                    <a:pt x="1996" y="328"/>
                  </a:lnTo>
                  <a:lnTo>
                    <a:pt x="1994" y="326"/>
                  </a:lnTo>
                  <a:lnTo>
                    <a:pt x="1992" y="326"/>
                  </a:lnTo>
                  <a:lnTo>
                    <a:pt x="1988" y="322"/>
                  </a:lnTo>
                  <a:lnTo>
                    <a:pt x="1984" y="318"/>
                  </a:lnTo>
                  <a:lnTo>
                    <a:pt x="1980" y="314"/>
                  </a:lnTo>
                  <a:lnTo>
                    <a:pt x="1978" y="310"/>
                  </a:lnTo>
                  <a:lnTo>
                    <a:pt x="1974" y="306"/>
                  </a:lnTo>
                  <a:lnTo>
                    <a:pt x="1972" y="304"/>
                  </a:lnTo>
                  <a:lnTo>
                    <a:pt x="1968" y="300"/>
                  </a:lnTo>
                  <a:lnTo>
                    <a:pt x="1966" y="296"/>
                  </a:lnTo>
                  <a:lnTo>
                    <a:pt x="1966" y="296"/>
                  </a:lnTo>
                  <a:lnTo>
                    <a:pt x="1966" y="294"/>
                  </a:lnTo>
                  <a:lnTo>
                    <a:pt x="1966" y="290"/>
                  </a:lnTo>
                  <a:lnTo>
                    <a:pt x="1968" y="286"/>
                  </a:lnTo>
                  <a:lnTo>
                    <a:pt x="1968" y="284"/>
                  </a:lnTo>
                  <a:lnTo>
                    <a:pt x="1968" y="284"/>
                  </a:lnTo>
                  <a:lnTo>
                    <a:pt x="1968" y="284"/>
                  </a:lnTo>
                  <a:lnTo>
                    <a:pt x="1966" y="282"/>
                  </a:lnTo>
                  <a:lnTo>
                    <a:pt x="1966" y="282"/>
                  </a:lnTo>
                  <a:lnTo>
                    <a:pt x="1966" y="280"/>
                  </a:lnTo>
                  <a:lnTo>
                    <a:pt x="1964" y="278"/>
                  </a:lnTo>
                  <a:lnTo>
                    <a:pt x="1964" y="278"/>
                  </a:lnTo>
                  <a:lnTo>
                    <a:pt x="1964" y="278"/>
                  </a:lnTo>
                  <a:lnTo>
                    <a:pt x="1962" y="276"/>
                  </a:lnTo>
                  <a:lnTo>
                    <a:pt x="1962" y="276"/>
                  </a:lnTo>
                  <a:lnTo>
                    <a:pt x="1962" y="276"/>
                  </a:lnTo>
                  <a:lnTo>
                    <a:pt x="1960" y="274"/>
                  </a:lnTo>
                  <a:lnTo>
                    <a:pt x="1958" y="274"/>
                  </a:lnTo>
                  <a:lnTo>
                    <a:pt x="1954" y="272"/>
                  </a:lnTo>
                  <a:lnTo>
                    <a:pt x="1952" y="270"/>
                  </a:lnTo>
                  <a:lnTo>
                    <a:pt x="1948" y="270"/>
                  </a:lnTo>
                  <a:lnTo>
                    <a:pt x="1944" y="268"/>
                  </a:lnTo>
                  <a:lnTo>
                    <a:pt x="1940" y="268"/>
                  </a:lnTo>
                  <a:lnTo>
                    <a:pt x="1934" y="268"/>
                  </a:lnTo>
                  <a:lnTo>
                    <a:pt x="1924" y="266"/>
                  </a:lnTo>
                  <a:lnTo>
                    <a:pt x="1920" y="266"/>
                  </a:lnTo>
                  <a:lnTo>
                    <a:pt x="1916" y="264"/>
                  </a:lnTo>
                  <a:lnTo>
                    <a:pt x="1914" y="264"/>
                  </a:lnTo>
                  <a:lnTo>
                    <a:pt x="1910" y="262"/>
                  </a:lnTo>
                  <a:lnTo>
                    <a:pt x="1906" y="260"/>
                  </a:lnTo>
                  <a:lnTo>
                    <a:pt x="1900" y="256"/>
                  </a:lnTo>
                  <a:lnTo>
                    <a:pt x="1896" y="254"/>
                  </a:lnTo>
                  <a:lnTo>
                    <a:pt x="1890" y="252"/>
                  </a:lnTo>
                  <a:lnTo>
                    <a:pt x="1884" y="250"/>
                  </a:lnTo>
                  <a:lnTo>
                    <a:pt x="1876" y="248"/>
                  </a:lnTo>
                  <a:lnTo>
                    <a:pt x="1870" y="248"/>
                  </a:lnTo>
                  <a:lnTo>
                    <a:pt x="1870" y="248"/>
                  </a:lnTo>
                  <a:lnTo>
                    <a:pt x="1866" y="248"/>
                  </a:lnTo>
                  <a:lnTo>
                    <a:pt x="1862" y="248"/>
                  </a:lnTo>
                  <a:lnTo>
                    <a:pt x="1852" y="250"/>
                  </a:lnTo>
                  <a:lnTo>
                    <a:pt x="1848" y="252"/>
                  </a:lnTo>
                  <a:lnTo>
                    <a:pt x="1844" y="254"/>
                  </a:lnTo>
                  <a:lnTo>
                    <a:pt x="1840" y="254"/>
                  </a:lnTo>
                  <a:lnTo>
                    <a:pt x="1836" y="256"/>
                  </a:lnTo>
                  <a:lnTo>
                    <a:pt x="1832" y="258"/>
                  </a:lnTo>
                  <a:lnTo>
                    <a:pt x="1828" y="260"/>
                  </a:lnTo>
                  <a:lnTo>
                    <a:pt x="1828" y="260"/>
                  </a:lnTo>
                  <a:lnTo>
                    <a:pt x="1828" y="260"/>
                  </a:lnTo>
                  <a:lnTo>
                    <a:pt x="1824" y="264"/>
                  </a:lnTo>
                  <a:lnTo>
                    <a:pt x="1824" y="264"/>
                  </a:lnTo>
                  <a:lnTo>
                    <a:pt x="1824" y="264"/>
                  </a:lnTo>
                  <a:lnTo>
                    <a:pt x="1822" y="266"/>
                  </a:lnTo>
                  <a:lnTo>
                    <a:pt x="1822" y="266"/>
                  </a:lnTo>
                  <a:lnTo>
                    <a:pt x="1822" y="268"/>
                  </a:lnTo>
                  <a:lnTo>
                    <a:pt x="1820" y="270"/>
                  </a:lnTo>
                  <a:lnTo>
                    <a:pt x="1820" y="274"/>
                  </a:lnTo>
                  <a:lnTo>
                    <a:pt x="1818" y="274"/>
                  </a:lnTo>
                  <a:lnTo>
                    <a:pt x="1818" y="274"/>
                  </a:lnTo>
                  <a:lnTo>
                    <a:pt x="1818" y="270"/>
                  </a:lnTo>
                  <a:lnTo>
                    <a:pt x="1818" y="266"/>
                  </a:lnTo>
                  <a:lnTo>
                    <a:pt x="1818" y="264"/>
                  </a:lnTo>
                  <a:lnTo>
                    <a:pt x="1818" y="262"/>
                  </a:lnTo>
                  <a:lnTo>
                    <a:pt x="1818" y="262"/>
                  </a:lnTo>
                  <a:lnTo>
                    <a:pt x="1818" y="262"/>
                  </a:lnTo>
                  <a:lnTo>
                    <a:pt x="1816" y="262"/>
                  </a:lnTo>
                  <a:lnTo>
                    <a:pt x="1816" y="260"/>
                  </a:lnTo>
                  <a:lnTo>
                    <a:pt x="1816" y="260"/>
                  </a:lnTo>
                  <a:lnTo>
                    <a:pt x="1814" y="260"/>
                  </a:lnTo>
                  <a:lnTo>
                    <a:pt x="1814" y="260"/>
                  </a:lnTo>
                  <a:lnTo>
                    <a:pt x="1814" y="260"/>
                  </a:lnTo>
                  <a:lnTo>
                    <a:pt x="1812" y="260"/>
                  </a:lnTo>
                  <a:lnTo>
                    <a:pt x="1812" y="260"/>
                  </a:lnTo>
                  <a:lnTo>
                    <a:pt x="1812" y="260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10" y="262"/>
                  </a:lnTo>
                  <a:lnTo>
                    <a:pt x="1808" y="266"/>
                  </a:lnTo>
                  <a:lnTo>
                    <a:pt x="1806" y="268"/>
                  </a:lnTo>
                  <a:lnTo>
                    <a:pt x="1806" y="272"/>
                  </a:lnTo>
                  <a:lnTo>
                    <a:pt x="1804" y="276"/>
                  </a:lnTo>
                  <a:lnTo>
                    <a:pt x="1804" y="278"/>
                  </a:lnTo>
                  <a:lnTo>
                    <a:pt x="1804" y="280"/>
                  </a:lnTo>
                  <a:lnTo>
                    <a:pt x="1804" y="280"/>
                  </a:lnTo>
                  <a:lnTo>
                    <a:pt x="1804" y="282"/>
                  </a:lnTo>
                  <a:lnTo>
                    <a:pt x="1804" y="282"/>
                  </a:lnTo>
                  <a:lnTo>
                    <a:pt x="1804" y="282"/>
                  </a:lnTo>
                  <a:lnTo>
                    <a:pt x="1804" y="284"/>
                  </a:lnTo>
                  <a:lnTo>
                    <a:pt x="1806" y="284"/>
                  </a:lnTo>
                  <a:lnTo>
                    <a:pt x="1806" y="284"/>
                  </a:lnTo>
                  <a:lnTo>
                    <a:pt x="1806" y="286"/>
                  </a:lnTo>
                  <a:lnTo>
                    <a:pt x="1808" y="286"/>
                  </a:lnTo>
                  <a:lnTo>
                    <a:pt x="1810" y="286"/>
                  </a:lnTo>
                  <a:lnTo>
                    <a:pt x="1812" y="288"/>
                  </a:lnTo>
                  <a:lnTo>
                    <a:pt x="1814" y="288"/>
                  </a:lnTo>
                  <a:lnTo>
                    <a:pt x="1814" y="290"/>
                  </a:lnTo>
                  <a:lnTo>
                    <a:pt x="1814" y="292"/>
                  </a:lnTo>
                  <a:lnTo>
                    <a:pt x="1816" y="294"/>
                  </a:lnTo>
                  <a:lnTo>
                    <a:pt x="1816" y="298"/>
                  </a:lnTo>
                  <a:lnTo>
                    <a:pt x="1816" y="302"/>
                  </a:lnTo>
                  <a:lnTo>
                    <a:pt x="1816" y="304"/>
                  </a:lnTo>
                  <a:lnTo>
                    <a:pt x="1816" y="308"/>
                  </a:lnTo>
                  <a:lnTo>
                    <a:pt x="1816" y="310"/>
                  </a:lnTo>
                  <a:lnTo>
                    <a:pt x="1814" y="310"/>
                  </a:lnTo>
                  <a:lnTo>
                    <a:pt x="1814" y="310"/>
                  </a:lnTo>
                  <a:lnTo>
                    <a:pt x="1812" y="310"/>
                  </a:lnTo>
                  <a:lnTo>
                    <a:pt x="1808" y="310"/>
                  </a:lnTo>
                  <a:lnTo>
                    <a:pt x="1802" y="308"/>
                  </a:lnTo>
                  <a:lnTo>
                    <a:pt x="1800" y="306"/>
                  </a:lnTo>
                  <a:lnTo>
                    <a:pt x="1798" y="306"/>
                  </a:lnTo>
                  <a:lnTo>
                    <a:pt x="1798" y="306"/>
                  </a:lnTo>
                  <a:lnTo>
                    <a:pt x="1796" y="306"/>
                  </a:lnTo>
                  <a:lnTo>
                    <a:pt x="1794" y="306"/>
                  </a:lnTo>
                  <a:lnTo>
                    <a:pt x="1794" y="306"/>
                  </a:lnTo>
                  <a:lnTo>
                    <a:pt x="1792" y="308"/>
                  </a:lnTo>
                  <a:lnTo>
                    <a:pt x="1790" y="308"/>
                  </a:lnTo>
                  <a:lnTo>
                    <a:pt x="1790" y="308"/>
                  </a:lnTo>
                  <a:lnTo>
                    <a:pt x="1788" y="308"/>
                  </a:lnTo>
                  <a:lnTo>
                    <a:pt x="1786" y="308"/>
                  </a:lnTo>
                  <a:lnTo>
                    <a:pt x="1782" y="308"/>
                  </a:lnTo>
                  <a:lnTo>
                    <a:pt x="1780" y="308"/>
                  </a:lnTo>
                  <a:lnTo>
                    <a:pt x="1774" y="308"/>
                  </a:lnTo>
                  <a:lnTo>
                    <a:pt x="1770" y="308"/>
                  </a:lnTo>
                  <a:lnTo>
                    <a:pt x="1766" y="308"/>
                  </a:lnTo>
                  <a:lnTo>
                    <a:pt x="1760" y="308"/>
                  </a:lnTo>
                  <a:lnTo>
                    <a:pt x="1756" y="308"/>
                  </a:lnTo>
                  <a:lnTo>
                    <a:pt x="1754" y="308"/>
                  </a:lnTo>
                  <a:lnTo>
                    <a:pt x="1752" y="308"/>
                  </a:lnTo>
                  <a:lnTo>
                    <a:pt x="1752" y="308"/>
                  </a:lnTo>
                  <a:lnTo>
                    <a:pt x="1750" y="308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8" y="310"/>
                  </a:lnTo>
                  <a:lnTo>
                    <a:pt x="1746" y="310"/>
                  </a:lnTo>
                  <a:lnTo>
                    <a:pt x="1746" y="312"/>
                  </a:lnTo>
                  <a:lnTo>
                    <a:pt x="1744" y="314"/>
                  </a:lnTo>
                  <a:lnTo>
                    <a:pt x="1744" y="314"/>
                  </a:lnTo>
                  <a:lnTo>
                    <a:pt x="1742" y="314"/>
                  </a:lnTo>
                  <a:lnTo>
                    <a:pt x="1742" y="314"/>
                  </a:lnTo>
                  <a:lnTo>
                    <a:pt x="1740" y="314"/>
                  </a:lnTo>
                  <a:lnTo>
                    <a:pt x="1734" y="316"/>
                  </a:lnTo>
                  <a:lnTo>
                    <a:pt x="1730" y="316"/>
                  </a:lnTo>
                  <a:lnTo>
                    <a:pt x="1728" y="316"/>
                  </a:lnTo>
                  <a:lnTo>
                    <a:pt x="1728" y="316"/>
                  </a:lnTo>
                  <a:lnTo>
                    <a:pt x="1726" y="314"/>
                  </a:lnTo>
                  <a:lnTo>
                    <a:pt x="1722" y="312"/>
                  </a:lnTo>
                  <a:lnTo>
                    <a:pt x="1724" y="312"/>
                  </a:lnTo>
                  <a:lnTo>
                    <a:pt x="1722" y="310"/>
                  </a:lnTo>
                  <a:lnTo>
                    <a:pt x="1720" y="306"/>
                  </a:lnTo>
                  <a:lnTo>
                    <a:pt x="1720" y="306"/>
                  </a:lnTo>
                  <a:lnTo>
                    <a:pt x="1720" y="304"/>
                  </a:lnTo>
                  <a:lnTo>
                    <a:pt x="1718" y="302"/>
                  </a:lnTo>
                  <a:lnTo>
                    <a:pt x="1718" y="296"/>
                  </a:lnTo>
                  <a:lnTo>
                    <a:pt x="1718" y="294"/>
                  </a:lnTo>
                  <a:lnTo>
                    <a:pt x="1718" y="292"/>
                  </a:lnTo>
                  <a:lnTo>
                    <a:pt x="1718" y="290"/>
                  </a:lnTo>
                  <a:lnTo>
                    <a:pt x="1718" y="290"/>
                  </a:lnTo>
                  <a:lnTo>
                    <a:pt x="1716" y="288"/>
                  </a:lnTo>
                  <a:lnTo>
                    <a:pt x="1716" y="288"/>
                  </a:lnTo>
                  <a:lnTo>
                    <a:pt x="1716" y="288"/>
                  </a:lnTo>
                  <a:lnTo>
                    <a:pt x="1714" y="286"/>
                  </a:lnTo>
                  <a:lnTo>
                    <a:pt x="1714" y="286"/>
                  </a:lnTo>
                  <a:lnTo>
                    <a:pt x="1714" y="286"/>
                  </a:lnTo>
                  <a:lnTo>
                    <a:pt x="1712" y="288"/>
                  </a:lnTo>
                  <a:lnTo>
                    <a:pt x="1710" y="288"/>
                  </a:lnTo>
                  <a:lnTo>
                    <a:pt x="1710" y="288"/>
                  </a:lnTo>
                  <a:lnTo>
                    <a:pt x="1710" y="288"/>
                  </a:lnTo>
                  <a:lnTo>
                    <a:pt x="1708" y="290"/>
                  </a:lnTo>
                  <a:lnTo>
                    <a:pt x="1706" y="292"/>
                  </a:lnTo>
                  <a:lnTo>
                    <a:pt x="1704" y="296"/>
                  </a:lnTo>
                  <a:lnTo>
                    <a:pt x="1702" y="298"/>
                  </a:lnTo>
                  <a:lnTo>
                    <a:pt x="1702" y="300"/>
                  </a:lnTo>
                  <a:lnTo>
                    <a:pt x="1700" y="302"/>
                  </a:lnTo>
                  <a:lnTo>
                    <a:pt x="1700" y="302"/>
                  </a:lnTo>
                  <a:lnTo>
                    <a:pt x="1700" y="304"/>
                  </a:lnTo>
                  <a:lnTo>
                    <a:pt x="1700" y="306"/>
                  </a:lnTo>
                  <a:lnTo>
                    <a:pt x="1700" y="308"/>
                  </a:lnTo>
                  <a:lnTo>
                    <a:pt x="1700" y="312"/>
                  </a:lnTo>
                  <a:lnTo>
                    <a:pt x="1700" y="316"/>
                  </a:lnTo>
                  <a:lnTo>
                    <a:pt x="1700" y="318"/>
                  </a:lnTo>
                  <a:lnTo>
                    <a:pt x="1698" y="322"/>
                  </a:lnTo>
                  <a:lnTo>
                    <a:pt x="1696" y="326"/>
                  </a:lnTo>
                  <a:lnTo>
                    <a:pt x="1696" y="330"/>
                  </a:lnTo>
                  <a:lnTo>
                    <a:pt x="1694" y="334"/>
                  </a:lnTo>
                  <a:lnTo>
                    <a:pt x="1692" y="338"/>
                  </a:lnTo>
                  <a:lnTo>
                    <a:pt x="1690" y="342"/>
                  </a:lnTo>
                  <a:lnTo>
                    <a:pt x="1688" y="344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6" y="346"/>
                  </a:lnTo>
                  <a:lnTo>
                    <a:pt x="1684" y="344"/>
                  </a:lnTo>
                  <a:lnTo>
                    <a:pt x="1682" y="342"/>
                  </a:lnTo>
                  <a:lnTo>
                    <a:pt x="1680" y="340"/>
                  </a:lnTo>
                  <a:lnTo>
                    <a:pt x="1678" y="336"/>
                  </a:lnTo>
                  <a:lnTo>
                    <a:pt x="1674" y="334"/>
                  </a:lnTo>
                  <a:lnTo>
                    <a:pt x="1672" y="330"/>
                  </a:lnTo>
                  <a:lnTo>
                    <a:pt x="1668" y="326"/>
                  </a:lnTo>
                  <a:lnTo>
                    <a:pt x="1666" y="322"/>
                  </a:lnTo>
                  <a:lnTo>
                    <a:pt x="1664" y="318"/>
                  </a:lnTo>
                  <a:lnTo>
                    <a:pt x="1662" y="314"/>
                  </a:lnTo>
                  <a:lnTo>
                    <a:pt x="1660" y="312"/>
                  </a:lnTo>
                  <a:lnTo>
                    <a:pt x="1660" y="308"/>
                  </a:lnTo>
                  <a:lnTo>
                    <a:pt x="1658" y="302"/>
                  </a:lnTo>
                  <a:lnTo>
                    <a:pt x="1658" y="294"/>
                  </a:lnTo>
                  <a:lnTo>
                    <a:pt x="1658" y="288"/>
                  </a:lnTo>
                  <a:lnTo>
                    <a:pt x="1658" y="286"/>
                  </a:lnTo>
                  <a:lnTo>
                    <a:pt x="1658" y="284"/>
                  </a:lnTo>
                  <a:lnTo>
                    <a:pt x="1658" y="284"/>
                  </a:lnTo>
                  <a:lnTo>
                    <a:pt x="1660" y="280"/>
                  </a:lnTo>
                  <a:lnTo>
                    <a:pt x="1662" y="276"/>
                  </a:lnTo>
                  <a:lnTo>
                    <a:pt x="1664" y="274"/>
                  </a:lnTo>
                  <a:lnTo>
                    <a:pt x="1664" y="274"/>
                  </a:lnTo>
                  <a:lnTo>
                    <a:pt x="1664" y="274"/>
                  </a:lnTo>
                  <a:lnTo>
                    <a:pt x="1664" y="272"/>
                  </a:lnTo>
                  <a:lnTo>
                    <a:pt x="1664" y="268"/>
                  </a:lnTo>
                  <a:lnTo>
                    <a:pt x="1664" y="264"/>
                  </a:lnTo>
                  <a:lnTo>
                    <a:pt x="1664" y="258"/>
                  </a:lnTo>
                  <a:lnTo>
                    <a:pt x="1664" y="250"/>
                  </a:lnTo>
                  <a:lnTo>
                    <a:pt x="1664" y="244"/>
                  </a:lnTo>
                  <a:lnTo>
                    <a:pt x="1664" y="244"/>
                  </a:lnTo>
                  <a:lnTo>
                    <a:pt x="1664" y="244"/>
                  </a:lnTo>
                  <a:lnTo>
                    <a:pt x="1662" y="240"/>
                  </a:lnTo>
                  <a:lnTo>
                    <a:pt x="1662" y="238"/>
                  </a:lnTo>
                  <a:lnTo>
                    <a:pt x="1658" y="232"/>
                  </a:lnTo>
                  <a:lnTo>
                    <a:pt x="1658" y="232"/>
                  </a:lnTo>
                  <a:lnTo>
                    <a:pt x="1658" y="232"/>
                  </a:lnTo>
                  <a:lnTo>
                    <a:pt x="1654" y="226"/>
                  </a:lnTo>
                  <a:lnTo>
                    <a:pt x="1648" y="222"/>
                  </a:lnTo>
                  <a:lnTo>
                    <a:pt x="1648" y="222"/>
                  </a:lnTo>
                  <a:lnTo>
                    <a:pt x="1648" y="222"/>
                  </a:lnTo>
                  <a:lnTo>
                    <a:pt x="1646" y="220"/>
                  </a:lnTo>
                  <a:lnTo>
                    <a:pt x="1646" y="220"/>
                  </a:lnTo>
                  <a:lnTo>
                    <a:pt x="1646" y="220"/>
                  </a:lnTo>
                  <a:lnTo>
                    <a:pt x="1642" y="218"/>
                  </a:lnTo>
                  <a:lnTo>
                    <a:pt x="1642" y="218"/>
                  </a:lnTo>
                  <a:lnTo>
                    <a:pt x="1642" y="218"/>
                  </a:lnTo>
                  <a:lnTo>
                    <a:pt x="1636" y="216"/>
                  </a:lnTo>
                  <a:lnTo>
                    <a:pt x="1630" y="216"/>
                  </a:lnTo>
                  <a:lnTo>
                    <a:pt x="1626" y="216"/>
                  </a:lnTo>
                  <a:lnTo>
                    <a:pt x="1624" y="214"/>
                  </a:lnTo>
                  <a:lnTo>
                    <a:pt x="1618" y="214"/>
                  </a:lnTo>
                  <a:lnTo>
                    <a:pt x="1614" y="212"/>
                  </a:lnTo>
                  <a:lnTo>
                    <a:pt x="1610" y="210"/>
                  </a:lnTo>
                  <a:lnTo>
                    <a:pt x="1606" y="210"/>
                  </a:lnTo>
                  <a:lnTo>
                    <a:pt x="1606" y="210"/>
                  </a:lnTo>
                  <a:lnTo>
                    <a:pt x="1604" y="208"/>
                  </a:lnTo>
                  <a:lnTo>
                    <a:pt x="1604" y="208"/>
                  </a:lnTo>
                  <a:lnTo>
                    <a:pt x="1602" y="206"/>
                  </a:lnTo>
                  <a:lnTo>
                    <a:pt x="1600" y="204"/>
                  </a:lnTo>
                  <a:lnTo>
                    <a:pt x="1598" y="202"/>
                  </a:lnTo>
                  <a:lnTo>
                    <a:pt x="1596" y="200"/>
                  </a:lnTo>
                  <a:lnTo>
                    <a:pt x="1596" y="200"/>
                  </a:lnTo>
                  <a:lnTo>
                    <a:pt x="1596" y="200"/>
                  </a:lnTo>
                  <a:lnTo>
                    <a:pt x="1594" y="198"/>
                  </a:lnTo>
                  <a:lnTo>
                    <a:pt x="1594" y="198"/>
                  </a:lnTo>
                  <a:lnTo>
                    <a:pt x="1594" y="198"/>
                  </a:lnTo>
                  <a:lnTo>
                    <a:pt x="1592" y="196"/>
                  </a:lnTo>
                  <a:lnTo>
                    <a:pt x="1592" y="196"/>
                  </a:lnTo>
                  <a:lnTo>
                    <a:pt x="1592" y="196"/>
                  </a:lnTo>
                  <a:lnTo>
                    <a:pt x="1586" y="196"/>
                  </a:lnTo>
                  <a:lnTo>
                    <a:pt x="1586" y="196"/>
                  </a:lnTo>
                  <a:lnTo>
                    <a:pt x="1582" y="198"/>
                  </a:lnTo>
                  <a:lnTo>
                    <a:pt x="1582" y="198"/>
                  </a:lnTo>
                  <a:lnTo>
                    <a:pt x="1582" y="198"/>
                  </a:lnTo>
                  <a:lnTo>
                    <a:pt x="1578" y="198"/>
                  </a:lnTo>
                  <a:lnTo>
                    <a:pt x="1578" y="198"/>
                  </a:lnTo>
                  <a:lnTo>
                    <a:pt x="1578" y="198"/>
                  </a:lnTo>
                  <a:lnTo>
                    <a:pt x="1576" y="200"/>
                  </a:lnTo>
                  <a:lnTo>
                    <a:pt x="1574" y="200"/>
                  </a:lnTo>
                  <a:lnTo>
                    <a:pt x="1574" y="200"/>
                  </a:lnTo>
                  <a:lnTo>
                    <a:pt x="1574" y="200"/>
                  </a:lnTo>
                  <a:lnTo>
                    <a:pt x="1572" y="202"/>
                  </a:lnTo>
                  <a:lnTo>
                    <a:pt x="1572" y="202"/>
                  </a:lnTo>
                  <a:lnTo>
                    <a:pt x="1572" y="204"/>
                  </a:lnTo>
                  <a:lnTo>
                    <a:pt x="1570" y="206"/>
                  </a:lnTo>
                  <a:lnTo>
                    <a:pt x="1570" y="206"/>
                  </a:lnTo>
                  <a:lnTo>
                    <a:pt x="1570" y="206"/>
                  </a:lnTo>
                  <a:lnTo>
                    <a:pt x="1568" y="210"/>
                  </a:lnTo>
                  <a:lnTo>
                    <a:pt x="1568" y="210"/>
                  </a:lnTo>
                  <a:lnTo>
                    <a:pt x="1568" y="210"/>
                  </a:lnTo>
                  <a:lnTo>
                    <a:pt x="1568" y="214"/>
                  </a:lnTo>
                  <a:lnTo>
                    <a:pt x="1568" y="214"/>
                  </a:lnTo>
                  <a:lnTo>
                    <a:pt x="1568" y="216"/>
                  </a:lnTo>
                  <a:lnTo>
                    <a:pt x="1568" y="216"/>
                  </a:lnTo>
                  <a:lnTo>
                    <a:pt x="1568" y="216"/>
                  </a:lnTo>
                  <a:lnTo>
                    <a:pt x="1570" y="220"/>
                  </a:lnTo>
                  <a:lnTo>
                    <a:pt x="1570" y="222"/>
                  </a:lnTo>
                  <a:lnTo>
                    <a:pt x="1572" y="224"/>
                  </a:lnTo>
                  <a:lnTo>
                    <a:pt x="1574" y="226"/>
                  </a:lnTo>
                  <a:lnTo>
                    <a:pt x="1574" y="228"/>
                  </a:lnTo>
                  <a:lnTo>
                    <a:pt x="1576" y="230"/>
                  </a:lnTo>
                  <a:lnTo>
                    <a:pt x="1576" y="232"/>
                  </a:lnTo>
                  <a:lnTo>
                    <a:pt x="1576" y="232"/>
                  </a:lnTo>
                  <a:lnTo>
                    <a:pt x="1576" y="234"/>
                  </a:lnTo>
                  <a:lnTo>
                    <a:pt x="1574" y="236"/>
                  </a:lnTo>
                  <a:lnTo>
                    <a:pt x="1570" y="238"/>
                  </a:lnTo>
                  <a:lnTo>
                    <a:pt x="1572" y="238"/>
                  </a:lnTo>
                  <a:lnTo>
                    <a:pt x="1570" y="238"/>
                  </a:lnTo>
                  <a:lnTo>
                    <a:pt x="1570" y="238"/>
                  </a:lnTo>
                  <a:lnTo>
                    <a:pt x="1568" y="236"/>
                  </a:lnTo>
                  <a:lnTo>
                    <a:pt x="1566" y="234"/>
                  </a:lnTo>
                  <a:lnTo>
                    <a:pt x="1566" y="234"/>
                  </a:lnTo>
                  <a:lnTo>
                    <a:pt x="1566" y="234"/>
                  </a:lnTo>
                  <a:lnTo>
                    <a:pt x="1564" y="234"/>
                  </a:lnTo>
                  <a:lnTo>
                    <a:pt x="1564" y="234"/>
                  </a:lnTo>
                  <a:lnTo>
                    <a:pt x="1564" y="234"/>
                  </a:lnTo>
                  <a:lnTo>
                    <a:pt x="1562" y="232"/>
                  </a:lnTo>
                  <a:lnTo>
                    <a:pt x="1560" y="232"/>
                  </a:lnTo>
                  <a:lnTo>
                    <a:pt x="1558" y="234"/>
                  </a:lnTo>
                  <a:lnTo>
                    <a:pt x="1556" y="234"/>
                  </a:lnTo>
                  <a:lnTo>
                    <a:pt x="1550" y="234"/>
                  </a:lnTo>
                  <a:lnTo>
                    <a:pt x="1544" y="236"/>
                  </a:lnTo>
                  <a:lnTo>
                    <a:pt x="1542" y="238"/>
                  </a:lnTo>
                  <a:lnTo>
                    <a:pt x="1540" y="238"/>
                  </a:lnTo>
                  <a:lnTo>
                    <a:pt x="1534" y="238"/>
                  </a:lnTo>
                  <a:lnTo>
                    <a:pt x="1530" y="238"/>
                  </a:lnTo>
                  <a:lnTo>
                    <a:pt x="1526" y="238"/>
                  </a:lnTo>
                  <a:lnTo>
                    <a:pt x="1526" y="238"/>
                  </a:lnTo>
                  <a:lnTo>
                    <a:pt x="1524" y="238"/>
                  </a:lnTo>
                  <a:lnTo>
                    <a:pt x="1524" y="238"/>
                  </a:lnTo>
                  <a:lnTo>
                    <a:pt x="1524" y="238"/>
                  </a:lnTo>
                  <a:lnTo>
                    <a:pt x="1522" y="236"/>
                  </a:lnTo>
                  <a:lnTo>
                    <a:pt x="1524" y="238"/>
                  </a:lnTo>
                  <a:lnTo>
                    <a:pt x="1522" y="234"/>
                  </a:lnTo>
                  <a:lnTo>
                    <a:pt x="1522" y="232"/>
                  </a:lnTo>
                  <a:lnTo>
                    <a:pt x="1522" y="230"/>
                  </a:lnTo>
                  <a:lnTo>
                    <a:pt x="1522" y="230"/>
                  </a:lnTo>
                  <a:lnTo>
                    <a:pt x="1522" y="230"/>
                  </a:lnTo>
                  <a:lnTo>
                    <a:pt x="1522" y="228"/>
                  </a:lnTo>
                  <a:lnTo>
                    <a:pt x="1522" y="228"/>
                  </a:lnTo>
                  <a:lnTo>
                    <a:pt x="1520" y="228"/>
                  </a:lnTo>
                  <a:lnTo>
                    <a:pt x="1520" y="228"/>
                  </a:lnTo>
                  <a:lnTo>
                    <a:pt x="1520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6" y="228"/>
                  </a:lnTo>
                  <a:lnTo>
                    <a:pt x="1514" y="228"/>
                  </a:lnTo>
                  <a:lnTo>
                    <a:pt x="1512" y="230"/>
                  </a:lnTo>
                  <a:lnTo>
                    <a:pt x="1512" y="232"/>
                  </a:lnTo>
                  <a:lnTo>
                    <a:pt x="1510" y="234"/>
                  </a:lnTo>
                  <a:lnTo>
                    <a:pt x="1510" y="234"/>
                  </a:lnTo>
                  <a:lnTo>
                    <a:pt x="1508" y="234"/>
                  </a:lnTo>
                  <a:lnTo>
                    <a:pt x="1508" y="234"/>
                  </a:lnTo>
                  <a:lnTo>
                    <a:pt x="1508" y="234"/>
                  </a:lnTo>
                  <a:lnTo>
                    <a:pt x="1506" y="232"/>
                  </a:lnTo>
                  <a:lnTo>
                    <a:pt x="1504" y="230"/>
                  </a:lnTo>
                  <a:lnTo>
                    <a:pt x="1504" y="228"/>
                  </a:lnTo>
                  <a:lnTo>
                    <a:pt x="1504" y="228"/>
                  </a:lnTo>
                  <a:lnTo>
                    <a:pt x="1504" y="226"/>
                  </a:lnTo>
                  <a:lnTo>
                    <a:pt x="1506" y="220"/>
                  </a:lnTo>
                  <a:lnTo>
                    <a:pt x="1506" y="218"/>
                  </a:lnTo>
                  <a:lnTo>
                    <a:pt x="1506" y="218"/>
                  </a:lnTo>
                  <a:lnTo>
                    <a:pt x="1508" y="218"/>
                  </a:lnTo>
                  <a:lnTo>
                    <a:pt x="1508" y="216"/>
                  </a:lnTo>
                  <a:lnTo>
                    <a:pt x="1508" y="214"/>
                  </a:lnTo>
                  <a:lnTo>
                    <a:pt x="1508" y="212"/>
                  </a:lnTo>
                  <a:lnTo>
                    <a:pt x="1508" y="212"/>
                  </a:lnTo>
                  <a:lnTo>
                    <a:pt x="1506" y="210"/>
                  </a:lnTo>
                  <a:lnTo>
                    <a:pt x="1506" y="208"/>
                  </a:lnTo>
                  <a:lnTo>
                    <a:pt x="1506" y="208"/>
                  </a:lnTo>
                  <a:lnTo>
                    <a:pt x="1504" y="208"/>
                  </a:lnTo>
                  <a:lnTo>
                    <a:pt x="1502" y="206"/>
                  </a:lnTo>
                  <a:lnTo>
                    <a:pt x="1502" y="206"/>
                  </a:lnTo>
                  <a:lnTo>
                    <a:pt x="1502" y="206"/>
                  </a:lnTo>
                  <a:lnTo>
                    <a:pt x="1498" y="206"/>
                  </a:lnTo>
                  <a:lnTo>
                    <a:pt x="1494" y="204"/>
                  </a:lnTo>
                  <a:lnTo>
                    <a:pt x="1488" y="204"/>
                  </a:lnTo>
                  <a:lnTo>
                    <a:pt x="1480" y="204"/>
                  </a:lnTo>
                  <a:lnTo>
                    <a:pt x="1476" y="204"/>
                  </a:lnTo>
                  <a:lnTo>
                    <a:pt x="1472" y="202"/>
                  </a:lnTo>
                  <a:lnTo>
                    <a:pt x="1466" y="202"/>
                  </a:lnTo>
                  <a:lnTo>
                    <a:pt x="1458" y="202"/>
                  </a:lnTo>
                  <a:lnTo>
                    <a:pt x="1452" y="202"/>
                  </a:lnTo>
                  <a:lnTo>
                    <a:pt x="1446" y="202"/>
                  </a:lnTo>
                  <a:lnTo>
                    <a:pt x="1442" y="204"/>
                  </a:lnTo>
                  <a:lnTo>
                    <a:pt x="1438" y="204"/>
                  </a:lnTo>
                  <a:lnTo>
                    <a:pt x="1432" y="204"/>
                  </a:lnTo>
                  <a:lnTo>
                    <a:pt x="1428" y="204"/>
                  </a:lnTo>
                  <a:lnTo>
                    <a:pt x="1424" y="204"/>
                  </a:lnTo>
                  <a:lnTo>
                    <a:pt x="1424" y="204"/>
                  </a:lnTo>
                  <a:lnTo>
                    <a:pt x="1424" y="204"/>
                  </a:lnTo>
                  <a:lnTo>
                    <a:pt x="1422" y="204"/>
                  </a:lnTo>
                  <a:lnTo>
                    <a:pt x="1422" y="204"/>
                  </a:lnTo>
                  <a:lnTo>
                    <a:pt x="1420" y="206"/>
                  </a:lnTo>
                  <a:lnTo>
                    <a:pt x="1420" y="206"/>
                  </a:lnTo>
                  <a:lnTo>
                    <a:pt x="1418" y="202"/>
                  </a:lnTo>
                  <a:lnTo>
                    <a:pt x="1418" y="198"/>
                  </a:lnTo>
                  <a:lnTo>
                    <a:pt x="1416" y="194"/>
                  </a:lnTo>
                  <a:lnTo>
                    <a:pt x="1416" y="194"/>
                  </a:lnTo>
                  <a:lnTo>
                    <a:pt x="1416" y="194"/>
                  </a:lnTo>
                  <a:lnTo>
                    <a:pt x="1416" y="192"/>
                  </a:lnTo>
                  <a:lnTo>
                    <a:pt x="1416" y="192"/>
                  </a:lnTo>
                  <a:lnTo>
                    <a:pt x="1416" y="192"/>
                  </a:lnTo>
                  <a:lnTo>
                    <a:pt x="1414" y="190"/>
                  </a:lnTo>
                  <a:lnTo>
                    <a:pt x="1414" y="190"/>
                  </a:lnTo>
                  <a:lnTo>
                    <a:pt x="1414" y="190"/>
                  </a:lnTo>
                  <a:lnTo>
                    <a:pt x="1414" y="188"/>
                  </a:lnTo>
                  <a:lnTo>
                    <a:pt x="1414" y="188"/>
                  </a:lnTo>
                  <a:lnTo>
                    <a:pt x="1414" y="186"/>
                  </a:lnTo>
                  <a:lnTo>
                    <a:pt x="1414" y="186"/>
                  </a:lnTo>
                  <a:lnTo>
                    <a:pt x="1416" y="186"/>
                  </a:lnTo>
                  <a:lnTo>
                    <a:pt x="1416" y="186"/>
                  </a:lnTo>
                  <a:lnTo>
                    <a:pt x="1416" y="186"/>
                  </a:lnTo>
                  <a:lnTo>
                    <a:pt x="1418" y="184"/>
                  </a:lnTo>
                  <a:lnTo>
                    <a:pt x="1418" y="184"/>
                  </a:lnTo>
                  <a:lnTo>
                    <a:pt x="1420" y="184"/>
                  </a:lnTo>
                  <a:lnTo>
                    <a:pt x="1420" y="182"/>
                  </a:lnTo>
                  <a:lnTo>
                    <a:pt x="1420" y="182"/>
                  </a:lnTo>
                  <a:lnTo>
                    <a:pt x="1420" y="180"/>
                  </a:lnTo>
                  <a:lnTo>
                    <a:pt x="1420" y="178"/>
                  </a:lnTo>
                  <a:lnTo>
                    <a:pt x="1418" y="176"/>
                  </a:lnTo>
                  <a:lnTo>
                    <a:pt x="1418" y="172"/>
                  </a:lnTo>
                  <a:lnTo>
                    <a:pt x="1416" y="168"/>
                  </a:lnTo>
                  <a:lnTo>
                    <a:pt x="1416" y="166"/>
                  </a:lnTo>
                  <a:lnTo>
                    <a:pt x="1414" y="162"/>
                  </a:lnTo>
                  <a:lnTo>
                    <a:pt x="1412" y="160"/>
                  </a:lnTo>
                  <a:lnTo>
                    <a:pt x="1412" y="160"/>
                  </a:lnTo>
                  <a:lnTo>
                    <a:pt x="1412" y="160"/>
                  </a:lnTo>
                  <a:lnTo>
                    <a:pt x="1410" y="158"/>
                  </a:lnTo>
                  <a:lnTo>
                    <a:pt x="1410" y="158"/>
                  </a:lnTo>
                  <a:lnTo>
                    <a:pt x="1410" y="158"/>
                  </a:lnTo>
                  <a:lnTo>
                    <a:pt x="1408" y="156"/>
                  </a:lnTo>
                  <a:lnTo>
                    <a:pt x="1408" y="156"/>
                  </a:lnTo>
                  <a:lnTo>
                    <a:pt x="1408" y="156"/>
                  </a:lnTo>
                  <a:lnTo>
                    <a:pt x="1406" y="156"/>
                  </a:lnTo>
                  <a:lnTo>
                    <a:pt x="1406" y="156"/>
                  </a:lnTo>
                  <a:lnTo>
                    <a:pt x="1406" y="156"/>
                  </a:lnTo>
                  <a:lnTo>
                    <a:pt x="1400" y="156"/>
                  </a:lnTo>
                  <a:lnTo>
                    <a:pt x="1400" y="156"/>
                  </a:lnTo>
                  <a:lnTo>
                    <a:pt x="1398" y="156"/>
                  </a:lnTo>
                  <a:lnTo>
                    <a:pt x="1398" y="156"/>
                  </a:lnTo>
                  <a:lnTo>
                    <a:pt x="1398" y="156"/>
                  </a:lnTo>
                  <a:lnTo>
                    <a:pt x="1396" y="156"/>
                  </a:lnTo>
                  <a:lnTo>
                    <a:pt x="1396" y="156"/>
                  </a:lnTo>
                  <a:lnTo>
                    <a:pt x="1396" y="156"/>
                  </a:lnTo>
                  <a:lnTo>
                    <a:pt x="1394" y="158"/>
                  </a:lnTo>
                  <a:lnTo>
                    <a:pt x="1394" y="158"/>
                  </a:lnTo>
                  <a:lnTo>
                    <a:pt x="1392" y="158"/>
                  </a:lnTo>
                  <a:lnTo>
                    <a:pt x="1392" y="158"/>
                  </a:lnTo>
                  <a:lnTo>
                    <a:pt x="1392" y="158"/>
                  </a:lnTo>
                  <a:lnTo>
                    <a:pt x="1392" y="160"/>
                  </a:lnTo>
                  <a:lnTo>
                    <a:pt x="1390" y="162"/>
                  </a:lnTo>
                  <a:lnTo>
                    <a:pt x="1390" y="162"/>
                  </a:lnTo>
                  <a:lnTo>
                    <a:pt x="1390" y="162"/>
                  </a:lnTo>
                  <a:lnTo>
                    <a:pt x="1390" y="164"/>
                  </a:lnTo>
                  <a:lnTo>
                    <a:pt x="1390" y="164"/>
                  </a:lnTo>
                  <a:lnTo>
                    <a:pt x="1390" y="170"/>
                  </a:lnTo>
                  <a:lnTo>
                    <a:pt x="1390" y="170"/>
                  </a:lnTo>
                  <a:lnTo>
                    <a:pt x="1390" y="170"/>
                  </a:lnTo>
                  <a:lnTo>
                    <a:pt x="1392" y="174"/>
                  </a:lnTo>
                  <a:lnTo>
                    <a:pt x="1392" y="174"/>
                  </a:lnTo>
                  <a:lnTo>
                    <a:pt x="1392" y="176"/>
                  </a:lnTo>
                  <a:lnTo>
                    <a:pt x="1394" y="178"/>
                  </a:lnTo>
                  <a:lnTo>
                    <a:pt x="1394" y="180"/>
                  </a:lnTo>
                  <a:lnTo>
                    <a:pt x="1394" y="180"/>
                  </a:lnTo>
                  <a:lnTo>
                    <a:pt x="1394" y="180"/>
                  </a:lnTo>
                  <a:lnTo>
                    <a:pt x="1396" y="182"/>
                  </a:lnTo>
                  <a:lnTo>
                    <a:pt x="1396" y="182"/>
                  </a:lnTo>
                  <a:lnTo>
                    <a:pt x="1396" y="182"/>
                  </a:lnTo>
                  <a:lnTo>
                    <a:pt x="1398" y="182"/>
                  </a:lnTo>
                  <a:lnTo>
                    <a:pt x="1398" y="182"/>
                  </a:lnTo>
                  <a:lnTo>
                    <a:pt x="1398" y="182"/>
                  </a:lnTo>
                  <a:lnTo>
                    <a:pt x="1404" y="184"/>
                  </a:lnTo>
                  <a:lnTo>
                    <a:pt x="1404" y="184"/>
                  </a:lnTo>
                  <a:lnTo>
                    <a:pt x="1404" y="184"/>
                  </a:lnTo>
                  <a:lnTo>
                    <a:pt x="1404" y="188"/>
                  </a:lnTo>
                  <a:lnTo>
                    <a:pt x="1404" y="188"/>
                  </a:lnTo>
                  <a:lnTo>
                    <a:pt x="1404" y="188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4" y="190"/>
                  </a:lnTo>
                  <a:lnTo>
                    <a:pt x="1408" y="192"/>
                  </a:lnTo>
                  <a:lnTo>
                    <a:pt x="1408" y="194"/>
                  </a:lnTo>
                  <a:lnTo>
                    <a:pt x="1408" y="196"/>
                  </a:lnTo>
                  <a:lnTo>
                    <a:pt x="1406" y="200"/>
                  </a:lnTo>
                  <a:lnTo>
                    <a:pt x="1406" y="202"/>
                  </a:lnTo>
                  <a:lnTo>
                    <a:pt x="1404" y="204"/>
                  </a:lnTo>
                  <a:lnTo>
                    <a:pt x="1404" y="204"/>
                  </a:lnTo>
                  <a:lnTo>
                    <a:pt x="1402" y="200"/>
                  </a:lnTo>
                  <a:lnTo>
                    <a:pt x="1402" y="196"/>
                  </a:lnTo>
                  <a:lnTo>
                    <a:pt x="1400" y="192"/>
                  </a:lnTo>
                  <a:lnTo>
                    <a:pt x="1396" y="188"/>
                  </a:lnTo>
                  <a:lnTo>
                    <a:pt x="1394" y="186"/>
                  </a:lnTo>
                  <a:lnTo>
                    <a:pt x="1394" y="186"/>
                  </a:lnTo>
                  <a:lnTo>
                    <a:pt x="1394" y="186"/>
                  </a:lnTo>
                  <a:lnTo>
                    <a:pt x="1394" y="184"/>
                  </a:lnTo>
                  <a:lnTo>
                    <a:pt x="1394" y="184"/>
                  </a:lnTo>
                  <a:lnTo>
                    <a:pt x="1392" y="184"/>
                  </a:lnTo>
                  <a:lnTo>
                    <a:pt x="1392" y="184"/>
                  </a:lnTo>
                  <a:lnTo>
                    <a:pt x="1392" y="184"/>
                  </a:lnTo>
                  <a:lnTo>
                    <a:pt x="1390" y="184"/>
                  </a:lnTo>
                  <a:lnTo>
                    <a:pt x="1390" y="184"/>
                  </a:lnTo>
                  <a:lnTo>
                    <a:pt x="1390" y="184"/>
                  </a:lnTo>
                  <a:lnTo>
                    <a:pt x="1388" y="184"/>
                  </a:lnTo>
                  <a:lnTo>
                    <a:pt x="1388" y="184"/>
                  </a:lnTo>
                  <a:lnTo>
                    <a:pt x="1388" y="184"/>
                  </a:lnTo>
                  <a:lnTo>
                    <a:pt x="1386" y="184"/>
                  </a:lnTo>
                  <a:lnTo>
                    <a:pt x="1384" y="186"/>
                  </a:lnTo>
                  <a:lnTo>
                    <a:pt x="1384" y="186"/>
                  </a:lnTo>
                  <a:lnTo>
                    <a:pt x="1384" y="188"/>
                  </a:lnTo>
                  <a:lnTo>
                    <a:pt x="1382" y="190"/>
                  </a:lnTo>
                  <a:lnTo>
                    <a:pt x="1382" y="192"/>
                  </a:lnTo>
                  <a:lnTo>
                    <a:pt x="1382" y="192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80" y="190"/>
                  </a:lnTo>
                  <a:lnTo>
                    <a:pt x="1378" y="190"/>
                  </a:lnTo>
                  <a:lnTo>
                    <a:pt x="1378" y="190"/>
                  </a:lnTo>
                  <a:lnTo>
                    <a:pt x="1376" y="190"/>
                  </a:lnTo>
                  <a:lnTo>
                    <a:pt x="1374" y="190"/>
                  </a:lnTo>
                  <a:lnTo>
                    <a:pt x="1370" y="188"/>
                  </a:lnTo>
                  <a:lnTo>
                    <a:pt x="1368" y="190"/>
                  </a:lnTo>
                  <a:lnTo>
                    <a:pt x="1364" y="190"/>
                  </a:lnTo>
                  <a:lnTo>
                    <a:pt x="1362" y="190"/>
                  </a:lnTo>
                  <a:lnTo>
                    <a:pt x="1362" y="190"/>
                  </a:lnTo>
                  <a:lnTo>
                    <a:pt x="1362" y="190"/>
                  </a:lnTo>
                  <a:lnTo>
                    <a:pt x="1362" y="192"/>
                  </a:lnTo>
                  <a:lnTo>
                    <a:pt x="1362" y="192"/>
                  </a:lnTo>
                  <a:lnTo>
                    <a:pt x="1360" y="192"/>
                  </a:lnTo>
                  <a:lnTo>
                    <a:pt x="1360" y="192"/>
                  </a:lnTo>
                  <a:lnTo>
                    <a:pt x="1360" y="192"/>
                  </a:lnTo>
                  <a:lnTo>
                    <a:pt x="1360" y="194"/>
                  </a:lnTo>
                  <a:lnTo>
                    <a:pt x="1360" y="196"/>
                  </a:lnTo>
                  <a:lnTo>
                    <a:pt x="1360" y="196"/>
                  </a:lnTo>
                  <a:lnTo>
                    <a:pt x="1360" y="196"/>
                  </a:lnTo>
                  <a:lnTo>
                    <a:pt x="1362" y="198"/>
                  </a:lnTo>
                  <a:lnTo>
                    <a:pt x="1364" y="200"/>
                  </a:lnTo>
                  <a:lnTo>
                    <a:pt x="1366" y="202"/>
                  </a:lnTo>
                  <a:lnTo>
                    <a:pt x="1368" y="204"/>
                  </a:lnTo>
                  <a:lnTo>
                    <a:pt x="1370" y="206"/>
                  </a:lnTo>
                  <a:lnTo>
                    <a:pt x="1368" y="206"/>
                  </a:lnTo>
                  <a:lnTo>
                    <a:pt x="1366" y="208"/>
                  </a:lnTo>
                  <a:lnTo>
                    <a:pt x="1366" y="210"/>
                  </a:lnTo>
                  <a:lnTo>
                    <a:pt x="1362" y="212"/>
                  </a:lnTo>
                  <a:lnTo>
                    <a:pt x="1356" y="214"/>
                  </a:lnTo>
                  <a:lnTo>
                    <a:pt x="1352" y="216"/>
                  </a:lnTo>
                  <a:lnTo>
                    <a:pt x="1352" y="216"/>
                  </a:lnTo>
                  <a:lnTo>
                    <a:pt x="1352" y="216"/>
                  </a:lnTo>
                  <a:lnTo>
                    <a:pt x="1348" y="218"/>
                  </a:lnTo>
                  <a:lnTo>
                    <a:pt x="1348" y="218"/>
                  </a:lnTo>
                  <a:lnTo>
                    <a:pt x="1348" y="218"/>
                  </a:lnTo>
                  <a:lnTo>
                    <a:pt x="1346" y="218"/>
                  </a:lnTo>
                  <a:lnTo>
                    <a:pt x="1346" y="218"/>
                  </a:lnTo>
                  <a:lnTo>
                    <a:pt x="1346" y="220"/>
                  </a:lnTo>
                  <a:lnTo>
                    <a:pt x="1344" y="222"/>
                  </a:lnTo>
                  <a:lnTo>
                    <a:pt x="1344" y="222"/>
                  </a:lnTo>
                  <a:lnTo>
                    <a:pt x="1344" y="222"/>
                  </a:lnTo>
                  <a:lnTo>
                    <a:pt x="1342" y="226"/>
                  </a:lnTo>
                  <a:lnTo>
                    <a:pt x="1342" y="228"/>
                  </a:lnTo>
                  <a:lnTo>
                    <a:pt x="1340" y="230"/>
                  </a:lnTo>
                  <a:lnTo>
                    <a:pt x="1340" y="230"/>
                  </a:lnTo>
                  <a:lnTo>
                    <a:pt x="1338" y="230"/>
                  </a:lnTo>
                  <a:lnTo>
                    <a:pt x="1336" y="232"/>
                  </a:lnTo>
                  <a:lnTo>
                    <a:pt x="1332" y="232"/>
                  </a:lnTo>
                  <a:lnTo>
                    <a:pt x="1330" y="232"/>
                  </a:lnTo>
                  <a:lnTo>
                    <a:pt x="1330" y="232"/>
                  </a:lnTo>
                  <a:lnTo>
                    <a:pt x="1328" y="232"/>
                  </a:lnTo>
                  <a:lnTo>
                    <a:pt x="1326" y="232"/>
                  </a:lnTo>
                  <a:lnTo>
                    <a:pt x="1324" y="234"/>
                  </a:lnTo>
                  <a:lnTo>
                    <a:pt x="1322" y="234"/>
                  </a:lnTo>
                  <a:lnTo>
                    <a:pt x="1320" y="236"/>
                  </a:lnTo>
                  <a:lnTo>
                    <a:pt x="1318" y="238"/>
                  </a:lnTo>
                  <a:lnTo>
                    <a:pt x="1314" y="240"/>
                  </a:lnTo>
                  <a:lnTo>
                    <a:pt x="1310" y="242"/>
                  </a:lnTo>
                  <a:lnTo>
                    <a:pt x="1306" y="244"/>
                  </a:lnTo>
                  <a:lnTo>
                    <a:pt x="1306" y="244"/>
                  </a:lnTo>
                  <a:lnTo>
                    <a:pt x="1306" y="244"/>
                  </a:lnTo>
                  <a:lnTo>
                    <a:pt x="1310" y="238"/>
                  </a:lnTo>
                  <a:lnTo>
                    <a:pt x="1312" y="236"/>
                  </a:lnTo>
                  <a:lnTo>
                    <a:pt x="1314" y="234"/>
                  </a:lnTo>
                  <a:lnTo>
                    <a:pt x="1314" y="232"/>
                  </a:lnTo>
                  <a:lnTo>
                    <a:pt x="1316" y="230"/>
                  </a:lnTo>
                  <a:lnTo>
                    <a:pt x="1318" y="226"/>
                  </a:lnTo>
                  <a:lnTo>
                    <a:pt x="1320" y="224"/>
                  </a:lnTo>
                  <a:lnTo>
                    <a:pt x="1322" y="222"/>
                  </a:lnTo>
                  <a:lnTo>
                    <a:pt x="1322" y="222"/>
                  </a:lnTo>
                  <a:lnTo>
                    <a:pt x="1322" y="222"/>
                  </a:lnTo>
                  <a:lnTo>
                    <a:pt x="1322" y="220"/>
                  </a:lnTo>
                  <a:lnTo>
                    <a:pt x="1322" y="220"/>
                  </a:lnTo>
                  <a:lnTo>
                    <a:pt x="1324" y="220"/>
                  </a:lnTo>
                  <a:lnTo>
                    <a:pt x="1324" y="218"/>
                  </a:lnTo>
                  <a:lnTo>
                    <a:pt x="1324" y="218"/>
                  </a:lnTo>
                  <a:lnTo>
                    <a:pt x="1324" y="216"/>
                  </a:lnTo>
                  <a:lnTo>
                    <a:pt x="1324" y="216"/>
                  </a:lnTo>
                  <a:lnTo>
                    <a:pt x="1324" y="216"/>
                  </a:lnTo>
                  <a:lnTo>
                    <a:pt x="1322" y="214"/>
                  </a:lnTo>
                  <a:lnTo>
                    <a:pt x="1322" y="212"/>
                  </a:lnTo>
                  <a:lnTo>
                    <a:pt x="1322" y="214"/>
                  </a:lnTo>
                  <a:lnTo>
                    <a:pt x="1322" y="214"/>
                  </a:lnTo>
                  <a:lnTo>
                    <a:pt x="1324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26" y="214"/>
                  </a:lnTo>
                  <a:lnTo>
                    <a:pt x="1330" y="214"/>
                  </a:lnTo>
                  <a:lnTo>
                    <a:pt x="1330" y="214"/>
                  </a:lnTo>
                  <a:lnTo>
                    <a:pt x="1334" y="212"/>
                  </a:lnTo>
                  <a:lnTo>
                    <a:pt x="1334" y="212"/>
                  </a:lnTo>
                  <a:lnTo>
                    <a:pt x="1334" y="212"/>
                  </a:lnTo>
                  <a:lnTo>
                    <a:pt x="1338" y="210"/>
                  </a:lnTo>
                  <a:lnTo>
                    <a:pt x="1338" y="210"/>
                  </a:lnTo>
                  <a:lnTo>
                    <a:pt x="1338" y="210"/>
                  </a:lnTo>
                  <a:lnTo>
                    <a:pt x="1342" y="208"/>
                  </a:lnTo>
                  <a:lnTo>
                    <a:pt x="1342" y="208"/>
                  </a:lnTo>
                  <a:lnTo>
                    <a:pt x="1342" y="208"/>
                  </a:lnTo>
                  <a:lnTo>
                    <a:pt x="1344" y="206"/>
                  </a:lnTo>
                  <a:lnTo>
                    <a:pt x="1344" y="206"/>
                  </a:lnTo>
                  <a:lnTo>
                    <a:pt x="1344" y="206"/>
                  </a:lnTo>
                  <a:lnTo>
                    <a:pt x="1346" y="204"/>
                  </a:lnTo>
                  <a:lnTo>
                    <a:pt x="1348" y="200"/>
                  </a:lnTo>
                  <a:lnTo>
                    <a:pt x="1352" y="196"/>
                  </a:lnTo>
                  <a:lnTo>
                    <a:pt x="1354" y="192"/>
                  </a:lnTo>
                  <a:lnTo>
                    <a:pt x="1356" y="188"/>
                  </a:lnTo>
                  <a:lnTo>
                    <a:pt x="1358" y="184"/>
                  </a:lnTo>
                  <a:lnTo>
                    <a:pt x="1360" y="180"/>
                  </a:lnTo>
                  <a:lnTo>
                    <a:pt x="1364" y="176"/>
                  </a:lnTo>
                  <a:lnTo>
                    <a:pt x="1366" y="174"/>
                  </a:lnTo>
                  <a:lnTo>
                    <a:pt x="1368" y="172"/>
                  </a:lnTo>
                  <a:lnTo>
                    <a:pt x="1374" y="166"/>
                  </a:lnTo>
                  <a:lnTo>
                    <a:pt x="1378" y="160"/>
                  </a:lnTo>
                  <a:lnTo>
                    <a:pt x="1380" y="158"/>
                  </a:lnTo>
                  <a:lnTo>
                    <a:pt x="1384" y="156"/>
                  </a:lnTo>
                  <a:lnTo>
                    <a:pt x="1386" y="154"/>
                  </a:lnTo>
                  <a:lnTo>
                    <a:pt x="1388" y="154"/>
                  </a:lnTo>
                  <a:lnTo>
                    <a:pt x="1394" y="152"/>
                  </a:lnTo>
                  <a:lnTo>
                    <a:pt x="1396" y="150"/>
                  </a:lnTo>
                  <a:lnTo>
                    <a:pt x="1400" y="148"/>
                  </a:lnTo>
                  <a:lnTo>
                    <a:pt x="1402" y="146"/>
                  </a:lnTo>
                  <a:lnTo>
                    <a:pt x="1404" y="144"/>
                  </a:lnTo>
                  <a:lnTo>
                    <a:pt x="1408" y="140"/>
                  </a:lnTo>
                  <a:lnTo>
                    <a:pt x="1412" y="138"/>
                  </a:lnTo>
                  <a:lnTo>
                    <a:pt x="1414" y="134"/>
                  </a:lnTo>
                  <a:lnTo>
                    <a:pt x="1418" y="130"/>
                  </a:lnTo>
                  <a:lnTo>
                    <a:pt x="1422" y="124"/>
                  </a:lnTo>
                  <a:lnTo>
                    <a:pt x="1424" y="120"/>
                  </a:lnTo>
                  <a:lnTo>
                    <a:pt x="1426" y="118"/>
                  </a:lnTo>
                  <a:lnTo>
                    <a:pt x="1428" y="114"/>
                  </a:lnTo>
                  <a:lnTo>
                    <a:pt x="1430" y="112"/>
                  </a:lnTo>
                  <a:lnTo>
                    <a:pt x="1430" y="112"/>
                  </a:lnTo>
                  <a:lnTo>
                    <a:pt x="1430" y="110"/>
                  </a:lnTo>
                  <a:lnTo>
                    <a:pt x="1430" y="108"/>
                  </a:lnTo>
                  <a:lnTo>
                    <a:pt x="1430" y="108"/>
                  </a:lnTo>
                  <a:lnTo>
                    <a:pt x="1430" y="108"/>
                  </a:lnTo>
                  <a:lnTo>
                    <a:pt x="1430" y="106"/>
                  </a:lnTo>
                  <a:lnTo>
                    <a:pt x="1430" y="106"/>
                  </a:lnTo>
                  <a:lnTo>
                    <a:pt x="1428" y="104"/>
                  </a:lnTo>
                  <a:lnTo>
                    <a:pt x="1428" y="102"/>
                  </a:lnTo>
                  <a:lnTo>
                    <a:pt x="1426" y="98"/>
                  </a:lnTo>
                  <a:lnTo>
                    <a:pt x="1426" y="100"/>
                  </a:lnTo>
                  <a:lnTo>
                    <a:pt x="1426" y="98"/>
                  </a:lnTo>
                  <a:lnTo>
                    <a:pt x="1426" y="98"/>
                  </a:lnTo>
                  <a:lnTo>
                    <a:pt x="1426" y="98"/>
                  </a:lnTo>
                  <a:lnTo>
                    <a:pt x="1426" y="96"/>
                  </a:lnTo>
                  <a:lnTo>
                    <a:pt x="1430" y="94"/>
                  </a:lnTo>
                  <a:lnTo>
                    <a:pt x="1432" y="92"/>
                  </a:lnTo>
                  <a:lnTo>
                    <a:pt x="1432" y="92"/>
                  </a:lnTo>
                  <a:lnTo>
                    <a:pt x="1432" y="90"/>
                  </a:lnTo>
                  <a:lnTo>
                    <a:pt x="1434" y="90"/>
                  </a:lnTo>
                  <a:lnTo>
                    <a:pt x="1434" y="90"/>
                  </a:lnTo>
                  <a:lnTo>
                    <a:pt x="1434" y="88"/>
                  </a:lnTo>
                  <a:lnTo>
                    <a:pt x="1434" y="86"/>
                  </a:lnTo>
                  <a:lnTo>
                    <a:pt x="1434" y="86"/>
                  </a:lnTo>
                  <a:lnTo>
                    <a:pt x="1434" y="84"/>
                  </a:lnTo>
                  <a:lnTo>
                    <a:pt x="1434" y="84"/>
                  </a:lnTo>
                  <a:lnTo>
                    <a:pt x="1434" y="82"/>
                  </a:lnTo>
                  <a:lnTo>
                    <a:pt x="1432" y="80"/>
                  </a:lnTo>
                  <a:lnTo>
                    <a:pt x="1430" y="76"/>
                  </a:lnTo>
                  <a:lnTo>
                    <a:pt x="1428" y="70"/>
                  </a:lnTo>
                  <a:lnTo>
                    <a:pt x="1426" y="68"/>
                  </a:lnTo>
                  <a:lnTo>
                    <a:pt x="1426" y="66"/>
                  </a:lnTo>
                  <a:lnTo>
                    <a:pt x="1426" y="66"/>
                  </a:lnTo>
                  <a:lnTo>
                    <a:pt x="1426" y="64"/>
                  </a:lnTo>
                  <a:lnTo>
                    <a:pt x="1426" y="62"/>
                  </a:lnTo>
                  <a:lnTo>
                    <a:pt x="1426" y="56"/>
                  </a:lnTo>
                  <a:lnTo>
                    <a:pt x="1426" y="54"/>
                  </a:lnTo>
                  <a:lnTo>
                    <a:pt x="1428" y="52"/>
                  </a:lnTo>
                  <a:lnTo>
                    <a:pt x="1428" y="50"/>
                  </a:lnTo>
                  <a:lnTo>
                    <a:pt x="1428" y="50"/>
                  </a:lnTo>
                  <a:lnTo>
                    <a:pt x="1426" y="48"/>
                  </a:lnTo>
                  <a:lnTo>
                    <a:pt x="1426" y="48"/>
                  </a:lnTo>
                  <a:lnTo>
                    <a:pt x="1426" y="48"/>
                  </a:lnTo>
                  <a:lnTo>
                    <a:pt x="1424" y="46"/>
                  </a:lnTo>
                  <a:lnTo>
                    <a:pt x="1424" y="46"/>
                  </a:lnTo>
                  <a:lnTo>
                    <a:pt x="1424" y="46"/>
                  </a:lnTo>
                  <a:lnTo>
                    <a:pt x="1422" y="46"/>
                  </a:lnTo>
                  <a:lnTo>
                    <a:pt x="1420" y="46"/>
                  </a:lnTo>
                  <a:lnTo>
                    <a:pt x="1418" y="46"/>
                  </a:lnTo>
                  <a:lnTo>
                    <a:pt x="1416" y="48"/>
                  </a:lnTo>
                  <a:lnTo>
                    <a:pt x="1410" y="48"/>
                  </a:lnTo>
                  <a:lnTo>
                    <a:pt x="1408" y="50"/>
                  </a:lnTo>
                  <a:lnTo>
                    <a:pt x="1408" y="50"/>
                  </a:lnTo>
                  <a:lnTo>
                    <a:pt x="1408" y="48"/>
                  </a:lnTo>
                  <a:lnTo>
                    <a:pt x="1408" y="46"/>
                  </a:lnTo>
                  <a:lnTo>
                    <a:pt x="1408" y="42"/>
                  </a:lnTo>
                  <a:lnTo>
                    <a:pt x="1408" y="42"/>
                  </a:lnTo>
                  <a:lnTo>
                    <a:pt x="1408" y="42"/>
                  </a:lnTo>
                  <a:lnTo>
                    <a:pt x="1406" y="42"/>
                  </a:lnTo>
                  <a:lnTo>
                    <a:pt x="1406" y="42"/>
                  </a:lnTo>
                  <a:lnTo>
                    <a:pt x="1406" y="40"/>
                  </a:lnTo>
                  <a:lnTo>
                    <a:pt x="1404" y="38"/>
                  </a:lnTo>
                  <a:lnTo>
                    <a:pt x="1402" y="36"/>
                  </a:lnTo>
                  <a:lnTo>
                    <a:pt x="1400" y="34"/>
                  </a:lnTo>
                  <a:lnTo>
                    <a:pt x="1400" y="34"/>
                  </a:lnTo>
                  <a:lnTo>
                    <a:pt x="1400" y="34"/>
                  </a:lnTo>
                  <a:lnTo>
                    <a:pt x="1398" y="32"/>
                  </a:lnTo>
                  <a:lnTo>
                    <a:pt x="1394" y="32"/>
                  </a:lnTo>
                  <a:lnTo>
                    <a:pt x="1392" y="30"/>
                  </a:lnTo>
                  <a:lnTo>
                    <a:pt x="1388" y="30"/>
                  </a:lnTo>
                  <a:lnTo>
                    <a:pt x="1386" y="28"/>
                  </a:lnTo>
                  <a:lnTo>
                    <a:pt x="1384" y="28"/>
                  </a:lnTo>
                  <a:lnTo>
                    <a:pt x="1378" y="28"/>
                  </a:lnTo>
                  <a:lnTo>
                    <a:pt x="1372" y="26"/>
                  </a:lnTo>
                  <a:lnTo>
                    <a:pt x="1366" y="26"/>
                  </a:lnTo>
                  <a:lnTo>
                    <a:pt x="1358" y="26"/>
                  </a:lnTo>
                  <a:lnTo>
                    <a:pt x="1352" y="26"/>
                  </a:lnTo>
                  <a:lnTo>
                    <a:pt x="1348" y="24"/>
                  </a:lnTo>
                  <a:lnTo>
                    <a:pt x="1346" y="26"/>
                  </a:lnTo>
                  <a:lnTo>
                    <a:pt x="1344" y="26"/>
                  </a:lnTo>
                  <a:lnTo>
                    <a:pt x="1344" y="26"/>
                  </a:lnTo>
                  <a:lnTo>
                    <a:pt x="1340" y="26"/>
                  </a:lnTo>
                  <a:lnTo>
                    <a:pt x="1340" y="26"/>
                  </a:lnTo>
                  <a:lnTo>
                    <a:pt x="1340" y="26"/>
                  </a:lnTo>
                  <a:lnTo>
                    <a:pt x="1338" y="28"/>
                  </a:lnTo>
                  <a:lnTo>
                    <a:pt x="1338" y="28"/>
                  </a:lnTo>
                  <a:lnTo>
                    <a:pt x="1338" y="28"/>
                  </a:lnTo>
                  <a:lnTo>
                    <a:pt x="1336" y="30"/>
                  </a:lnTo>
                  <a:lnTo>
                    <a:pt x="1336" y="30"/>
                  </a:lnTo>
                  <a:lnTo>
                    <a:pt x="1336" y="30"/>
                  </a:lnTo>
                  <a:lnTo>
                    <a:pt x="1336" y="32"/>
                  </a:lnTo>
                  <a:lnTo>
                    <a:pt x="1336" y="32"/>
                  </a:lnTo>
                  <a:lnTo>
                    <a:pt x="1336" y="32"/>
                  </a:lnTo>
                  <a:lnTo>
                    <a:pt x="1336" y="34"/>
                  </a:lnTo>
                  <a:lnTo>
                    <a:pt x="1336" y="34"/>
                  </a:lnTo>
                  <a:lnTo>
                    <a:pt x="1336" y="34"/>
                  </a:lnTo>
                  <a:lnTo>
                    <a:pt x="1334" y="36"/>
                  </a:lnTo>
                  <a:lnTo>
                    <a:pt x="1332" y="36"/>
                  </a:lnTo>
                  <a:lnTo>
                    <a:pt x="1326" y="38"/>
                  </a:lnTo>
                  <a:lnTo>
                    <a:pt x="1326" y="38"/>
                  </a:lnTo>
                  <a:lnTo>
                    <a:pt x="1322" y="38"/>
                  </a:lnTo>
                  <a:lnTo>
                    <a:pt x="1322" y="38"/>
                  </a:lnTo>
                  <a:lnTo>
                    <a:pt x="1322" y="38"/>
                  </a:lnTo>
                  <a:lnTo>
                    <a:pt x="1322" y="36"/>
                  </a:lnTo>
                  <a:lnTo>
                    <a:pt x="1324" y="36"/>
                  </a:lnTo>
                  <a:lnTo>
                    <a:pt x="1324" y="36"/>
                  </a:lnTo>
                  <a:lnTo>
                    <a:pt x="1324" y="36"/>
                  </a:lnTo>
                  <a:lnTo>
                    <a:pt x="1326" y="34"/>
                  </a:lnTo>
                  <a:lnTo>
                    <a:pt x="1326" y="30"/>
                  </a:lnTo>
                  <a:lnTo>
                    <a:pt x="1328" y="28"/>
                  </a:lnTo>
                  <a:lnTo>
                    <a:pt x="1330" y="24"/>
                  </a:lnTo>
                  <a:lnTo>
                    <a:pt x="1330" y="20"/>
                  </a:lnTo>
                  <a:lnTo>
                    <a:pt x="1332" y="16"/>
                  </a:lnTo>
                  <a:lnTo>
                    <a:pt x="1332" y="12"/>
                  </a:lnTo>
                  <a:lnTo>
                    <a:pt x="1332" y="10"/>
                  </a:lnTo>
                  <a:lnTo>
                    <a:pt x="1332" y="10"/>
                  </a:lnTo>
                  <a:lnTo>
                    <a:pt x="1332" y="8"/>
                  </a:lnTo>
                  <a:lnTo>
                    <a:pt x="1332" y="6"/>
                  </a:lnTo>
                  <a:lnTo>
                    <a:pt x="1332" y="6"/>
                  </a:lnTo>
                  <a:lnTo>
                    <a:pt x="1332" y="6"/>
                  </a:lnTo>
                  <a:lnTo>
                    <a:pt x="1330" y="4"/>
                  </a:lnTo>
                  <a:lnTo>
                    <a:pt x="1330" y="4"/>
                  </a:lnTo>
                  <a:lnTo>
                    <a:pt x="1330" y="2"/>
                  </a:lnTo>
                  <a:lnTo>
                    <a:pt x="1328" y="2"/>
                  </a:lnTo>
                  <a:lnTo>
                    <a:pt x="1328" y="2"/>
                  </a:lnTo>
                  <a:lnTo>
                    <a:pt x="1326" y="2"/>
                  </a:lnTo>
                  <a:lnTo>
                    <a:pt x="1324" y="0"/>
                  </a:lnTo>
                  <a:lnTo>
                    <a:pt x="1324" y="0"/>
                  </a:lnTo>
                  <a:lnTo>
                    <a:pt x="1322" y="0"/>
                  </a:lnTo>
                  <a:lnTo>
                    <a:pt x="1318" y="0"/>
                  </a:lnTo>
                  <a:lnTo>
                    <a:pt x="1314" y="0"/>
                  </a:lnTo>
                  <a:lnTo>
                    <a:pt x="1310" y="0"/>
                  </a:lnTo>
                  <a:lnTo>
                    <a:pt x="1304" y="0"/>
                  </a:lnTo>
                  <a:lnTo>
                    <a:pt x="1302" y="0"/>
                  </a:lnTo>
                  <a:lnTo>
                    <a:pt x="1298" y="0"/>
                  </a:lnTo>
                  <a:lnTo>
                    <a:pt x="1294" y="0"/>
                  </a:lnTo>
                  <a:lnTo>
                    <a:pt x="1290" y="0"/>
                  </a:lnTo>
                  <a:lnTo>
                    <a:pt x="1280" y="0"/>
                  </a:lnTo>
                  <a:lnTo>
                    <a:pt x="1270" y="0"/>
                  </a:lnTo>
                  <a:lnTo>
                    <a:pt x="1260" y="0"/>
                  </a:lnTo>
                  <a:lnTo>
                    <a:pt x="1250" y="0"/>
                  </a:lnTo>
                  <a:lnTo>
                    <a:pt x="1246" y="0"/>
                  </a:lnTo>
                  <a:lnTo>
                    <a:pt x="1242" y="0"/>
                  </a:lnTo>
                  <a:lnTo>
                    <a:pt x="1240" y="0"/>
                  </a:lnTo>
                  <a:lnTo>
                    <a:pt x="1236" y="0"/>
                  </a:lnTo>
                  <a:lnTo>
                    <a:pt x="1234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2" y="0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30" y="2"/>
                  </a:lnTo>
                  <a:lnTo>
                    <a:pt x="1228" y="2"/>
                  </a:lnTo>
                  <a:lnTo>
                    <a:pt x="1228" y="2"/>
                  </a:lnTo>
                  <a:lnTo>
                    <a:pt x="1228" y="6"/>
                  </a:lnTo>
                  <a:lnTo>
                    <a:pt x="1228" y="6"/>
                  </a:lnTo>
                  <a:lnTo>
                    <a:pt x="1228" y="6"/>
                  </a:lnTo>
                  <a:lnTo>
                    <a:pt x="1228" y="8"/>
                  </a:lnTo>
                  <a:lnTo>
                    <a:pt x="1230" y="8"/>
                  </a:lnTo>
                  <a:lnTo>
                    <a:pt x="1230" y="10"/>
                  </a:lnTo>
                  <a:lnTo>
                    <a:pt x="1230" y="10"/>
                  </a:lnTo>
                  <a:lnTo>
                    <a:pt x="1230" y="12"/>
                  </a:lnTo>
                  <a:lnTo>
                    <a:pt x="1230" y="14"/>
                  </a:lnTo>
                  <a:lnTo>
                    <a:pt x="1232" y="16"/>
                  </a:lnTo>
                  <a:lnTo>
                    <a:pt x="1232" y="20"/>
                  </a:lnTo>
                  <a:lnTo>
                    <a:pt x="1234" y="24"/>
                  </a:lnTo>
                  <a:lnTo>
                    <a:pt x="1234" y="26"/>
                  </a:lnTo>
                  <a:lnTo>
                    <a:pt x="1234" y="28"/>
                  </a:lnTo>
                  <a:lnTo>
                    <a:pt x="1234" y="28"/>
                  </a:lnTo>
                  <a:lnTo>
                    <a:pt x="1232" y="30"/>
                  </a:lnTo>
                  <a:lnTo>
                    <a:pt x="1232" y="36"/>
                  </a:lnTo>
                  <a:lnTo>
                    <a:pt x="1232" y="34"/>
                  </a:lnTo>
                  <a:lnTo>
                    <a:pt x="1228" y="38"/>
                  </a:lnTo>
                  <a:lnTo>
                    <a:pt x="1230" y="38"/>
                  </a:lnTo>
                  <a:lnTo>
                    <a:pt x="1228" y="40"/>
                  </a:lnTo>
                  <a:lnTo>
                    <a:pt x="1228" y="40"/>
                  </a:lnTo>
                  <a:lnTo>
                    <a:pt x="1226" y="40"/>
                  </a:lnTo>
                  <a:lnTo>
                    <a:pt x="1224" y="42"/>
                  </a:lnTo>
                  <a:lnTo>
                    <a:pt x="1216" y="42"/>
                  </a:lnTo>
                  <a:lnTo>
                    <a:pt x="1214" y="42"/>
                  </a:lnTo>
                  <a:lnTo>
                    <a:pt x="1214" y="42"/>
                  </a:lnTo>
                  <a:lnTo>
                    <a:pt x="1212" y="42"/>
                  </a:lnTo>
                  <a:lnTo>
                    <a:pt x="1210" y="42"/>
                  </a:lnTo>
                  <a:lnTo>
                    <a:pt x="1210" y="42"/>
                  </a:lnTo>
                  <a:lnTo>
                    <a:pt x="1210" y="42"/>
                  </a:lnTo>
                  <a:lnTo>
                    <a:pt x="1208" y="44"/>
                  </a:lnTo>
                  <a:lnTo>
                    <a:pt x="1208" y="44"/>
                  </a:lnTo>
                  <a:lnTo>
                    <a:pt x="1206" y="44"/>
                  </a:lnTo>
                  <a:lnTo>
                    <a:pt x="1206" y="46"/>
                  </a:lnTo>
                  <a:lnTo>
                    <a:pt x="1206" y="46"/>
                  </a:lnTo>
                  <a:lnTo>
                    <a:pt x="1206" y="48"/>
                  </a:lnTo>
                  <a:lnTo>
                    <a:pt x="1206" y="50"/>
                  </a:lnTo>
                  <a:lnTo>
                    <a:pt x="1206" y="50"/>
                  </a:lnTo>
                  <a:lnTo>
                    <a:pt x="1206" y="52"/>
                  </a:lnTo>
                  <a:lnTo>
                    <a:pt x="1208" y="54"/>
                  </a:lnTo>
                  <a:lnTo>
                    <a:pt x="1208" y="58"/>
                  </a:lnTo>
                  <a:lnTo>
                    <a:pt x="1210" y="60"/>
                  </a:lnTo>
                  <a:lnTo>
                    <a:pt x="1210" y="60"/>
                  </a:lnTo>
                  <a:lnTo>
                    <a:pt x="1208" y="60"/>
                  </a:lnTo>
                  <a:lnTo>
                    <a:pt x="1204" y="58"/>
                  </a:lnTo>
                  <a:lnTo>
                    <a:pt x="1204" y="58"/>
                  </a:lnTo>
                  <a:lnTo>
                    <a:pt x="1204" y="58"/>
                  </a:lnTo>
                  <a:lnTo>
                    <a:pt x="1202" y="56"/>
                  </a:lnTo>
                  <a:lnTo>
                    <a:pt x="1202" y="56"/>
                  </a:lnTo>
                  <a:lnTo>
                    <a:pt x="1202" y="56"/>
                  </a:lnTo>
                  <a:lnTo>
                    <a:pt x="1200" y="56"/>
                  </a:lnTo>
                  <a:lnTo>
                    <a:pt x="1198" y="56"/>
                  </a:lnTo>
                  <a:lnTo>
                    <a:pt x="1196" y="56"/>
                  </a:lnTo>
                  <a:lnTo>
                    <a:pt x="1192" y="56"/>
                  </a:lnTo>
                  <a:lnTo>
                    <a:pt x="1188" y="58"/>
                  </a:lnTo>
                  <a:lnTo>
                    <a:pt x="1182" y="62"/>
                  </a:lnTo>
                  <a:lnTo>
                    <a:pt x="1176" y="64"/>
                  </a:lnTo>
                  <a:lnTo>
                    <a:pt x="1176" y="64"/>
                  </a:lnTo>
                  <a:lnTo>
                    <a:pt x="1174" y="64"/>
                  </a:lnTo>
                  <a:lnTo>
                    <a:pt x="1172" y="66"/>
                  </a:lnTo>
                  <a:lnTo>
                    <a:pt x="1170" y="70"/>
                  </a:lnTo>
                  <a:lnTo>
                    <a:pt x="1166" y="74"/>
                  </a:lnTo>
                  <a:lnTo>
                    <a:pt x="1164" y="76"/>
                  </a:lnTo>
                  <a:lnTo>
                    <a:pt x="1162" y="78"/>
                  </a:lnTo>
                  <a:lnTo>
                    <a:pt x="1160" y="78"/>
                  </a:lnTo>
                  <a:lnTo>
                    <a:pt x="1160" y="78"/>
                  </a:lnTo>
                  <a:lnTo>
                    <a:pt x="1158" y="78"/>
                  </a:lnTo>
                  <a:lnTo>
                    <a:pt x="1158" y="78"/>
                  </a:lnTo>
                  <a:lnTo>
                    <a:pt x="1158" y="78"/>
                  </a:lnTo>
                  <a:lnTo>
                    <a:pt x="1156" y="76"/>
                  </a:lnTo>
                  <a:lnTo>
                    <a:pt x="1152" y="72"/>
                  </a:lnTo>
                  <a:lnTo>
                    <a:pt x="1150" y="70"/>
                  </a:lnTo>
                  <a:lnTo>
                    <a:pt x="1148" y="66"/>
                  </a:lnTo>
                  <a:lnTo>
                    <a:pt x="1144" y="62"/>
                  </a:lnTo>
                  <a:lnTo>
                    <a:pt x="1142" y="58"/>
                  </a:lnTo>
                  <a:lnTo>
                    <a:pt x="1142" y="58"/>
                  </a:lnTo>
                  <a:lnTo>
                    <a:pt x="1142" y="58"/>
                  </a:lnTo>
                  <a:lnTo>
                    <a:pt x="1140" y="58"/>
                  </a:lnTo>
                  <a:lnTo>
                    <a:pt x="1140" y="58"/>
                  </a:lnTo>
                  <a:lnTo>
                    <a:pt x="1140" y="58"/>
                  </a:lnTo>
                  <a:lnTo>
                    <a:pt x="1140" y="56"/>
                  </a:lnTo>
                  <a:lnTo>
                    <a:pt x="1140" y="56"/>
                  </a:lnTo>
                  <a:lnTo>
                    <a:pt x="1138" y="56"/>
                  </a:lnTo>
                  <a:lnTo>
                    <a:pt x="1136" y="56"/>
                  </a:lnTo>
                  <a:lnTo>
                    <a:pt x="1136" y="56"/>
                  </a:lnTo>
                  <a:lnTo>
                    <a:pt x="1136" y="56"/>
                  </a:lnTo>
                  <a:lnTo>
                    <a:pt x="1134" y="56"/>
                  </a:lnTo>
                  <a:lnTo>
                    <a:pt x="1134" y="56"/>
                  </a:lnTo>
                  <a:lnTo>
                    <a:pt x="1132" y="56"/>
                  </a:lnTo>
                  <a:lnTo>
                    <a:pt x="1132" y="58"/>
                  </a:lnTo>
                  <a:lnTo>
                    <a:pt x="1132" y="58"/>
                  </a:lnTo>
                  <a:lnTo>
                    <a:pt x="1130" y="58"/>
                  </a:lnTo>
                  <a:lnTo>
                    <a:pt x="1130" y="60"/>
                  </a:lnTo>
                  <a:lnTo>
                    <a:pt x="1130" y="60"/>
                  </a:lnTo>
                  <a:lnTo>
                    <a:pt x="1130" y="60"/>
                  </a:lnTo>
                  <a:lnTo>
                    <a:pt x="1126" y="62"/>
                  </a:lnTo>
                  <a:lnTo>
                    <a:pt x="1124" y="66"/>
                  </a:lnTo>
                  <a:lnTo>
                    <a:pt x="1120" y="70"/>
                  </a:lnTo>
                  <a:lnTo>
                    <a:pt x="1118" y="74"/>
                  </a:lnTo>
                  <a:lnTo>
                    <a:pt x="1114" y="78"/>
                  </a:lnTo>
                  <a:lnTo>
                    <a:pt x="1112" y="82"/>
                  </a:lnTo>
                  <a:lnTo>
                    <a:pt x="1112" y="82"/>
                  </a:lnTo>
                  <a:lnTo>
                    <a:pt x="1112" y="82"/>
                  </a:lnTo>
                  <a:lnTo>
                    <a:pt x="1112" y="84"/>
                  </a:lnTo>
                  <a:lnTo>
                    <a:pt x="1112" y="84"/>
                  </a:lnTo>
                  <a:lnTo>
                    <a:pt x="1112" y="84"/>
                  </a:lnTo>
                  <a:lnTo>
                    <a:pt x="1112" y="86"/>
                  </a:lnTo>
                  <a:lnTo>
                    <a:pt x="1112" y="86"/>
                  </a:lnTo>
                  <a:lnTo>
                    <a:pt x="1112" y="90"/>
                  </a:lnTo>
                  <a:lnTo>
                    <a:pt x="1112" y="92"/>
                  </a:lnTo>
                  <a:lnTo>
                    <a:pt x="1112" y="92"/>
                  </a:lnTo>
                  <a:lnTo>
                    <a:pt x="1112" y="92"/>
                  </a:lnTo>
                  <a:lnTo>
                    <a:pt x="1110" y="92"/>
                  </a:lnTo>
                  <a:lnTo>
                    <a:pt x="1108" y="94"/>
                  </a:lnTo>
                  <a:lnTo>
                    <a:pt x="1106" y="94"/>
                  </a:lnTo>
                  <a:lnTo>
                    <a:pt x="1102" y="94"/>
                  </a:lnTo>
                  <a:lnTo>
                    <a:pt x="1096" y="94"/>
                  </a:lnTo>
                  <a:lnTo>
                    <a:pt x="1086" y="94"/>
                  </a:lnTo>
                  <a:lnTo>
                    <a:pt x="1084" y="94"/>
                  </a:lnTo>
                  <a:lnTo>
                    <a:pt x="1080" y="94"/>
                  </a:lnTo>
                  <a:lnTo>
                    <a:pt x="1076" y="94"/>
                  </a:lnTo>
                  <a:lnTo>
                    <a:pt x="1072" y="94"/>
                  </a:lnTo>
                  <a:lnTo>
                    <a:pt x="1070" y="94"/>
                  </a:lnTo>
                  <a:lnTo>
                    <a:pt x="1064" y="96"/>
                  </a:lnTo>
                  <a:lnTo>
                    <a:pt x="1056" y="98"/>
                  </a:lnTo>
                  <a:lnTo>
                    <a:pt x="1054" y="98"/>
                  </a:lnTo>
                  <a:lnTo>
                    <a:pt x="1050" y="100"/>
                  </a:lnTo>
                  <a:lnTo>
                    <a:pt x="1050" y="100"/>
                  </a:lnTo>
                  <a:lnTo>
                    <a:pt x="1050" y="100"/>
                  </a:lnTo>
                  <a:lnTo>
                    <a:pt x="1048" y="102"/>
                  </a:lnTo>
                  <a:lnTo>
                    <a:pt x="1048" y="102"/>
                  </a:lnTo>
                  <a:lnTo>
                    <a:pt x="1048" y="102"/>
                  </a:lnTo>
                  <a:lnTo>
                    <a:pt x="1046" y="106"/>
                  </a:lnTo>
                  <a:lnTo>
                    <a:pt x="1042" y="110"/>
                  </a:lnTo>
                  <a:lnTo>
                    <a:pt x="1040" y="116"/>
                  </a:lnTo>
                  <a:lnTo>
                    <a:pt x="1038" y="118"/>
                  </a:lnTo>
                  <a:lnTo>
                    <a:pt x="1038" y="118"/>
                  </a:lnTo>
                  <a:lnTo>
                    <a:pt x="1036" y="120"/>
                  </a:lnTo>
                  <a:lnTo>
                    <a:pt x="1036" y="120"/>
                  </a:lnTo>
                  <a:lnTo>
                    <a:pt x="1032" y="122"/>
                  </a:lnTo>
                  <a:lnTo>
                    <a:pt x="1028" y="122"/>
                  </a:lnTo>
                  <a:lnTo>
                    <a:pt x="1028" y="122"/>
                  </a:lnTo>
                  <a:lnTo>
                    <a:pt x="1028" y="124"/>
                  </a:lnTo>
                  <a:lnTo>
                    <a:pt x="1026" y="124"/>
                  </a:lnTo>
                  <a:lnTo>
                    <a:pt x="1026" y="124"/>
                  </a:lnTo>
                  <a:lnTo>
                    <a:pt x="1026" y="124"/>
                  </a:lnTo>
                  <a:lnTo>
                    <a:pt x="1024" y="126"/>
                  </a:lnTo>
                  <a:lnTo>
                    <a:pt x="1024" y="126"/>
                  </a:lnTo>
                  <a:lnTo>
                    <a:pt x="1024" y="126"/>
                  </a:lnTo>
                  <a:lnTo>
                    <a:pt x="1024" y="128"/>
                  </a:lnTo>
                  <a:lnTo>
                    <a:pt x="1024" y="128"/>
                  </a:lnTo>
                  <a:lnTo>
                    <a:pt x="1024" y="130"/>
                  </a:lnTo>
                  <a:lnTo>
                    <a:pt x="1022" y="132"/>
                  </a:lnTo>
                  <a:lnTo>
                    <a:pt x="1024" y="136"/>
                  </a:lnTo>
                  <a:lnTo>
                    <a:pt x="1024" y="138"/>
                  </a:lnTo>
                  <a:lnTo>
                    <a:pt x="1024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22" y="140"/>
                  </a:lnTo>
                  <a:lnTo>
                    <a:pt x="1018" y="140"/>
                  </a:lnTo>
                  <a:lnTo>
                    <a:pt x="1016" y="140"/>
                  </a:lnTo>
                  <a:lnTo>
                    <a:pt x="1012" y="140"/>
                  </a:lnTo>
                  <a:lnTo>
                    <a:pt x="1010" y="140"/>
                  </a:lnTo>
                  <a:lnTo>
                    <a:pt x="1010" y="140"/>
                  </a:lnTo>
                  <a:lnTo>
                    <a:pt x="1008" y="140"/>
                  </a:lnTo>
                  <a:lnTo>
                    <a:pt x="1008" y="140"/>
                  </a:lnTo>
                  <a:lnTo>
                    <a:pt x="1006" y="140"/>
                  </a:lnTo>
                  <a:lnTo>
                    <a:pt x="1006" y="140"/>
                  </a:lnTo>
                  <a:lnTo>
                    <a:pt x="1006" y="140"/>
                  </a:lnTo>
                  <a:lnTo>
                    <a:pt x="1004" y="142"/>
                  </a:lnTo>
                  <a:lnTo>
                    <a:pt x="1004" y="142"/>
                  </a:lnTo>
                  <a:lnTo>
                    <a:pt x="1004" y="142"/>
                  </a:lnTo>
                  <a:lnTo>
                    <a:pt x="1004" y="144"/>
                  </a:lnTo>
                  <a:lnTo>
                    <a:pt x="1004" y="146"/>
                  </a:lnTo>
                  <a:lnTo>
                    <a:pt x="1004" y="146"/>
                  </a:lnTo>
                  <a:lnTo>
                    <a:pt x="1004" y="146"/>
                  </a:lnTo>
                  <a:lnTo>
                    <a:pt x="1004" y="148"/>
                  </a:lnTo>
                  <a:lnTo>
                    <a:pt x="1006" y="150"/>
                  </a:lnTo>
                  <a:lnTo>
                    <a:pt x="1008" y="154"/>
                  </a:lnTo>
                  <a:lnTo>
                    <a:pt x="1010" y="156"/>
                  </a:lnTo>
                  <a:lnTo>
                    <a:pt x="1010" y="158"/>
                  </a:lnTo>
                  <a:lnTo>
                    <a:pt x="1012" y="162"/>
                  </a:lnTo>
                  <a:lnTo>
                    <a:pt x="1014" y="166"/>
                  </a:lnTo>
                  <a:lnTo>
                    <a:pt x="1016" y="172"/>
                  </a:lnTo>
                  <a:lnTo>
                    <a:pt x="1018" y="176"/>
                  </a:lnTo>
                  <a:lnTo>
                    <a:pt x="1020" y="180"/>
                  </a:lnTo>
                  <a:lnTo>
                    <a:pt x="1022" y="184"/>
                  </a:lnTo>
                  <a:lnTo>
                    <a:pt x="1022" y="184"/>
                  </a:lnTo>
                  <a:lnTo>
                    <a:pt x="1022" y="186"/>
                  </a:lnTo>
                  <a:lnTo>
                    <a:pt x="1022" y="188"/>
                  </a:lnTo>
                  <a:lnTo>
                    <a:pt x="1022" y="188"/>
                  </a:lnTo>
                  <a:lnTo>
                    <a:pt x="1020" y="190"/>
                  </a:lnTo>
                  <a:lnTo>
                    <a:pt x="1020" y="188"/>
                  </a:lnTo>
                  <a:lnTo>
                    <a:pt x="1018" y="190"/>
                  </a:lnTo>
                  <a:lnTo>
                    <a:pt x="1016" y="192"/>
                  </a:lnTo>
                  <a:lnTo>
                    <a:pt x="1014" y="192"/>
                  </a:lnTo>
                  <a:lnTo>
                    <a:pt x="1008" y="194"/>
                  </a:lnTo>
                  <a:lnTo>
                    <a:pt x="1004" y="196"/>
                  </a:lnTo>
                  <a:lnTo>
                    <a:pt x="1002" y="196"/>
                  </a:lnTo>
                  <a:lnTo>
                    <a:pt x="996" y="198"/>
                  </a:lnTo>
                  <a:lnTo>
                    <a:pt x="990" y="198"/>
                  </a:lnTo>
                  <a:lnTo>
                    <a:pt x="984" y="200"/>
                  </a:lnTo>
                  <a:lnTo>
                    <a:pt x="978" y="202"/>
                  </a:lnTo>
                  <a:lnTo>
                    <a:pt x="972" y="204"/>
                  </a:lnTo>
                  <a:lnTo>
                    <a:pt x="968" y="206"/>
                  </a:lnTo>
                  <a:lnTo>
                    <a:pt x="964" y="208"/>
                  </a:lnTo>
                  <a:lnTo>
                    <a:pt x="962" y="208"/>
                  </a:lnTo>
                  <a:lnTo>
                    <a:pt x="960" y="208"/>
                  </a:lnTo>
                  <a:lnTo>
                    <a:pt x="956" y="208"/>
                  </a:lnTo>
                  <a:lnTo>
                    <a:pt x="952" y="208"/>
                  </a:lnTo>
                  <a:lnTo>
                    <a:pt x="944" y="208"/>
                  </a:lnTo>
                  <a:lnTo>
                    <a:pt x="940" y="208"/>
                  </a:lnTo>
                  <a:lnTo>
                    <a:pt x="936" y="208"/>
                  </a:lnTo>
                  <a:lnTo>
                    <a:pt x="932" y="208"/>
                  </a:lnTo>
                  <a:lnTo>
                    <a:pt x="928" y="208"/>
                  </a:lnTo>
                  <a:lnTo>
                    <a:pt x="928" y="208"/>
                  </a:lnTo>
                  <a:lnTo>
                    <a:pt x="928" y="210"/>
                  </a:lnTo>
                  <a:lnTo>
                    <a:pt x="926" y="210"/>
                  </a:lnTo>
                  <a:lnTo>
                    <a:pt x="926" y="210"/>
                  </a:lnTo>
                  <a:lnTo>
                    <a:pt x="924" y="210"/>
                  </a:lnTo>
                  <a:lnTo>
                    <a:pt x="924" y="212"/>
                  </a:lnTo>
                  <a:lnTo>
                    <a:pt x="924" y="212"/>
                  </a:lnTo>
                  <a:lnTo>
                    <a:pt x="922" y="212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20" y="216"/>
                  </a:lnTo>
                  <a:lnTo>
                    <a:pt x="918" y="220"/>
                  </a:lnTo>
                  <a:lnTo>
                    <a:pt x="918" y="220"/>
                  </a:lnTo>
                  <a:lnTo>
                    <a:pt x="918" y="220"/>
                  </a:lnTo>
                  <a:lnTo>
                    <a:pt x="918" y="224"/>
                  </a:lnTo>
                  <a:lnTo>
                    <a:pt x="918" y="224"/>
                  </a:lnTo>
                  <a:lnTo>
                    <a:pt x="918" y="226"/>
                  </a:lnTo>
                  <a:lnTo>
                    <a:pt x="918" y="226"/>
                  </a:lnTo>
                  <a:lnTo>
                    <a:pt x="918" y="226"/>
                  </a:lnTo>
                  <a:lnTo>
                    <a:pt x="920" y="228"/>
                  </a:lnTo>
                  <a:lnTo>
                    <a:pt x="920" y="228"/>
                  </a:lnTo>
                  <a:lnTo>
                    <a:pt x="920" y="228"/>
                  </a:lnTo>
                  <a:lnTo>
                    <a:pt x="922" y="232"/>
                  </a:lnTo>
                  <a:lnTo>
                    <a:pt x="924" y="234"/>
                  </a:lnTo>
                  <a:lnTo>
                    <a:pt x="924" y="234"/>
                  </a:lnTo>
                  <a:lnTo>
                    <a:pt x="926" y="234"/>
                  </a:lnTo>
                  <a:lnTo>
                    <a:pt x="926" y="236"/>
                  </a:lnTo>
                  <a:lnTo>
                    <a:pt x="926" y="236"/>
                  </a:lnTo>
                  <a:lnTo>
                    <a:pt x="926" y="238"/>
                  </a:lnTo>
                  <a:lnTo>
                    <a:pt x="926" y="236"/>
                  </a:lnTo>
                  <a:lnTo>
                    <a:pt x="926" y="240"/>
                  </a:lnTo>
                  <a:lnTo>
                    <a:pt x="924" y="244"/>
                  </a:lnTo>
                  <a:lnTo>
                    <a:pt x="924" y="248"/>
                  </a:lnTo>
                  <a:lnTo>
                    <a:pt x="924" y="252"/>
                  </a:lnTo>
                  <a:lnTo>
                    <a:pt x="924" y="256"/>
                  </a:lnTo>
                  <a:lnTo>
                    <a:pt x="924" y="260"/>
                  </a:lnTo>
                  <a:lnTo>
                    <a:pt x="924" y="262"/>
                  </a:lnTo>
                  <a:lnTo>
                    <a:pt x="924" y="262"/>
                  </a:lnTo>
                  <a:lnTo>
                    <a:pt x="924" y="262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4" y="264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6" y="266"/>
                  </a:lnTo>
                  <a:lnTo>
                    <a:pt x="928" y="268"/>
                  </a:lnTo>
                  <a:lnTo>
                    <a:pt x="928" y="268"/>
                  </a:lnTo>
                  <a:lnTo>
                    <a:pt x="930" y="268"/>
                  </a:lnTo>
                  <a:lnTo>
                    <a:pt x="932" y="270"/>
                  </a:lnTo>
                  <a:lnTo>
                    <a:pt x="934" y="272"/>
                  </a:lnTo>
                  <a:lnTo>
                    <a:pt x="938" y="272"/>
                  </a:lnTo>
                  <a:lnTo>
                    <a:pt x="940" y="274"/>
                  </a:lnTo>
                  <a:lnTo>
                    <a:pt x="944" y="274"/>
                  </a:lnTo>
                  <a:lnTo>
                    <a:pt x="946" y="274"/>
                  </a:lnTo>
                  <a:lnTo>
                    <a:pt x="946" y="276"/>
                  </a:lnTo>
                  <a:lnTo>
                    <a:pt x="946" y="276"/>
                  </a:lnTo>
                  <a:lnTo>
                    <a:pt x="948" y="278"/>
                  </a:lnTo>
                  <a:lnTo>
                    <a:pt x="948" y="278"/>
                  </a:lnTo>
                  <a:lnTo>
                    <a:pt x="948" y="282"/>
                  </a:lnTo>
                  <a:lnTo>
                    <a:pt x="948" y="282"/>
                  </a:lnTo>
                  <a:lnTo>
                    <a:pt x="948" y="282"/>
                  </a:lnTo>
                  <a:lnTo>
                    <a:pt x="948" y="284"/>
                  </a:lnTo>
                  <a:lnTo>
                    <a:pt x="948" y="284"/>
                  </a:lnTo>
                  <a:lnTo>
                    <a:pt x="948" y="284"/>
                  </a:lnTo>
                  <a:lnTo>
                    <a:pt x="948" y="288"/>
                  </a:lnTo>
                  <a:lnTo>
                    <a:pt x="948" y="288"/>
                  </a:lnTo>
                  <a:lnTo>
                    <a:pt x="950" y="288"/>
                  </a:lnTo>
                  <a:lnTo>
                    <a:pt x="952" y="290"/>
                  </a:lnTo>
                  <a:lnTo>
                    <a:pt x="954" y="292"/>
                  </a:lnTo>
                  <a:lnTo>
                    <a:pt x="954" y="292"/>
                  </a:lnTo>
                  <a:lnTo>
                    <a:pt x="954" y="292"/>
                  </a:lnTo>
                  <a:lnTo>
                    <a:pt x="956" y="294"/>
                  </a:lnTo>
                  <a:lnTo>
                    <a:pt x="956" y="294"/>
                  </a:lnTo>
                  <a:lnTo>
                    <a:pt x="956" y="296"/>
                  </a:lnTo>
                  <a:lnTo>
                    <a:pt x="958" y="296"/>
                  </a:lnTo>
                  <a:lnTo>
                    <a:pt x="958" y="296"/>
                  </a:lnTo>
                  <a:lnTo>
                    <a:pt x="956" y="298"/>
                  </a:lnTo>
                  <a:lnTo>
                    <a:pt x="954" y="298"/>
                  </a:lnTo>
                  <a:lnTo>
                    <a:pt x="948" y="300"/>
                  </a:lnTo>
                  <a:lnTo>
                    <a:pt x="946" y="302"/>
                  </a:lnTo>
                  <a:lnTo>
                    <a:pt x="944" y="302"/>
                  </a:lnTo>
                  <a:lnTo>
                    <a:pt x="944" y="302"/>
                  </a:lnTo>
                  <a:lnTo>
                    <a:pt x="944" y="302"/>
                  </a:lnTo>
                  <a:lnTo>
                    <a:pt x="942" y="300"/>
                  </a:lnTo>
                  <a:lnTo>
                    <a:pt x="940" y="298"/>
                  </a:lnTo>
                  <a:lnTo>
                    <a:pt x="938" y="296"/>
                  </a:lnTo>
                  <a:lnTo>
                    <a:pt x="936" y="296"/>
                  </a:lnTo>
                  <a:lnTo>
                    <a:pt x="934" y="294"/>
                  </a:lnTo>
                  <a:lnTo>
                    <a:pt x="932" y="292"/>
                  </a:lnTo>
                  <a:lnTo>
                    <a:pt x="928" y="288"/>
                  </a:lnTo>
                  <a:lnTo>
                    <a:pt x="926" y="284"/>
                  </a:lnTo>
                  <a:lnTo>
                    <a:pt x="922" y="282"/>
                  </a:lnTo>
                  <a:lnTo>
                    <a:pt x="918" y="278"/>
                  </a:lnTo>
                  <a:lnTo>
                    <a:pt x="914" y="274"/>
                  </a:lnTo>
                  <a:lnTo>
                    <a:pt x="910" y="272"/>
                  </a:lnTo>
                  <a:lnTo>
                    <a:pt x="908" y="270"/>
                  </a:lnTo>
                  <a:lnTo>
                    <a:pt x="904" y="268"/>
                  </a:lnTo>
                  <a:lnTo>
                    <a:pt x="902" y="266"/>
                  </a:lnTo>
                  <a:lnTo>
                    <a:pt x="900" y="266"/>
                  </a:lnTo>
                  <a:lnTo>
                    <a:pt x="900" y="266"/>
                  </a:lnTo>
                  <a:lnTo>
                    <a:pt x="900" y="266"/>
                  </a:lnTo>
                  <a:lnTo>
                    <a:pt x="898" y="264"/>
                  </a:lnTo>
                  <a:lnTo>
                    <a:pt x="896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2" y="264"/>
                  </a:lnTo>
                  <a:lnTo>
                    <a:pt x="890" y="262"/>
                  </a:lnTo>
                  <a:lnTo>
                    <a:pt x="888" y="260"/>
                  </a:lnTo>
                  <a:lnTo>
                    <a:pt x="886" y="258"/>
                  </a:lnTo>
                  <a:lnTo>
                    <a:pt x="886" y="258"/>
                  </a:lnTo>
                  <a:lnTo>
                    <a:pt x="886" y="258"/>
                  </a:lnTo>
                  <a:lnTo>
                    <a:pt x="884" y="258"/>
                  </a:lnTo>
                  <a:lnTo>
                    <a:pt x="884" y="256"/>
                  </a:lnTo>
                  <a:lnTo>
                    <a:pt x="884" y="256"/>
                  </a:lnTo>
                  <a:lnTo>
                    <a:pt x="882" y="256"/>
                  </a:lnTo>
                  <a:lnTo>
                    <a:pt x="882" y="256"/>
                  </a:lnTo>
                  <a:lnTo>
                    <a:pt x="882" y="256"/>
                  </a:lnTo>
                  <a:lnTo>
                    <a:pt x="880" y="256"/>
                  </a:lnTo>
                  <a:lnTo>
                    <a:pt x="878" y="256"/>
                  </a:lnTo>
                  <a:lnTo>
                    <a:pt x="878" y="256"/>
                  </a:lnTo>
                  <a:lnTo>
                    <a:pt x="878" y="256"/>
                  </a:lnTo>
                  <a:lnTo>
                    <a:pt x="876" y="258"/>
                  </a:lnTo>
                  <a:lnTo>
                    <a:pt x="874" y="258"/>
                  </a:lnTo>
                  <a:lnTo>
                    <a:pt x="872" y="260"/>
                  </a:lnTo>
                  <a:lnTo>
                    <a:pt x="870" y="262"/>
                  </a:lnTo>
                  <a:lnTo>
                    <a:pt x="868" y="264"/>
                  </a:lnTo>
                  <a:lnTo>
                    <a:pt x="866" y="266"/>
                  </a:lnTo>
                  <a:lnTo>
                    <a:pt x="866" y="266"/>
                  </a:lnTo>
                  <a:lnTo>
                    <a:pt x="866" y="266"/>
                  </a:lnTo>
                  <a:lnTo>
                    <a:pt x="866" y="268"/>
                  </a:lnTo>
                  <a:lnTo>
                    <a:pt x="866" y="268"/>
                  </a:lnTo>
                  <a:lnTo>
                    <a:pt x="866" y="268"/>
                  </a:lnTo>
                  <a:lnTo>
                    <a:pt x="866" y="270"/>
                  </a:lnTo>
                  <a:lnTo>
                    <a:pt x="866" y="270"/>
                  </a:lnTo>
                  <a:lnTo>
                    <a:pt x="866" y="272"/>
                  </a:lnTo>
                  <a:lnTo>
                    <a:pt x="866" y="272"/>
                  </a:lnTo>
                  <a:lnTo>
                    <a:pt x="866" y="272"/>
                  </a:lnTo>
                  <a:lnTo>
                    <a:pt x="868" y="272"/>
                  </a:lnTo>
                  <a:lnTo>
                    <a:pt x="868" y="274"/>
                  </a:lnTo>
                  <a:lnTo>
                    <a:pt x="868" y="274"/>
                  </a:lnTo>
                  <a:lnTo>
                    <a:pt x="870" y="274"/>
                  </a:lnTo>
                  <a:lnTo>
                    <a:pt x="870" y="274"/>
                  </a:lnTo>
                  <a:lnTo>
                    <a:pt x="874" y="276"/>
                  </a:lnTo>
                  <a:lnTo>
                    <a:pt x="876" y="276"/>
                  </a:lnTo>
                  <a:lnTo>
                    <a:pt x="876" y="278"/>
                  </a:lnTo>
                  <a:lnTo>
                    <a:pt x="878" y="278"/>
                  </a:lnTo>
                  <a:lnTo>
                    <a:pt x="880" y="280"/>
                  </a:lnTo>
                  <a:lnTo>
                    <a:pt x="882" y="284"/>
                  </a:lnTo>
                  <a:lnTo>
                    <a:pt x="882" y="284"/>
                  </a:lnTo>
                  <a:lnTo>
                    <a:pt x="882" y="286"/>
                  </a:lnTo>
                  <a:lnTo>
                    <a:pt x="882" y="286"/>
                  </a:lnTo>
                  <a:lnTo>
                    <a:pt x="882" y="286"/>
                  </a:lnTo>
                  <a:lnTo>
                    <a:pt x="882" y="290"/>
                  </a:lnTo>
                  <a:lnTo>
                    <a:pt x="882" y="290"/>
                  </a:lnTo>
                  <a:lnTo>
                    <a:pt x="882" y="292"/>
                  </a:lnTo>
                  <a:lnTo>
                    <a:pt x="882" y="292"/>
                  </a:lnTo>
                  <a:lnTo>
                    <a:pt x="880" y="292"/>
                  </a:lnTo>
                  <a:lnTo>
                    <a:pt x="878" y="290"/>
                  </a:lnTo>
                  <a:lnTo>
                    <a:pt x="878" y="288"/>
                  </a:lnTo>
                  <a:lnTo>
                    <a:pt x="874" y="286"/>
                  </a:lnTo>
                  <a:lnTo>
                    <a:pt x="872" y="284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70" y="282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8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6" y="280"/>
                  </a:lnTo>
                  <a:lnTo>
                    <a:pt x="864" y="282"/>
                  </a:lnTo>
                  <a:lnTo>
                    <a:pt x="864" y="282"/>
                  </a:lnTo>
                  <a:lnTo>
                    <a:pt x="864" y="282"/>
                  </a:lnTo>
                  <a:lnTo>
                    <a:pt x="862" y="282"/>
                  </a:lnTo>
                  <a:lnTo>
                    <a:pt x="862" y="282"/>
                  </a:lnTo>
                  <a:lnTo>
                    <a:pt x="862" y="282"/>
                  </a:lnTo>
                  <a:lnTo>
                    <a:pt x="860" y="284"/>
                  </a:lnTo>
                  <a:lnTo>
                    <a:pt x="860" y="284"/>
                  </a:lnTo>
                  <a:lnTo>
                    <a:pt x="858" y="286"/>
                  </a:lnTo>
                  <a:lnTo>
                    <a:pt x="858" y="286"/>
                  </a:lnTo>
                  <a:lnTo>
                    <a:pt x="858" y="288"/>
                  </a:lnTo>
                  <a:lnTo>
                    <a:pt x="856" y="290"/>
                  </a:lnTo>
                  <a:lnTo>
                    <a:pt x="856" y="290"/>
                  </a:lnTo>
                  <a:lnTo>
                    <a:pt x="856" y="288"/>
                  </a:lnTo>
                  <a:lnTo>
                    <a:pt x="856" y="286"/>
                  </a:lnTo>
                  <a:lnTo>
                    <a:pt x="856" y="282"/>
                  </a:lnTo>
                  <a:lnTo>
                    <a:pt x="856" y="278"/>
                  </a:lnTo>
                  <a:lnTo>
                    <a:pt x="856" y="274"/>
                  </a:lnTo>
                  <a:lnTo>
                    <a:pt x="856" y="268"/>
                  </a:lnTo>
                  <a:lnTo>
                    <a:pt x="854" y="264"/>
                  </a:lnTo>
                  <a:lnTo>
                    <a:pt x="854" y="260"/>
                  </a:lnTo>
                  <a:lnTo>
                    <a:pt x="854" y="256"/>
                  </a:lnTo>
                  <a:lnTo>
                    <a:pt x="852" y="252"/>
                  </a:lnTo>
                  <a:lnTo>
                    <a:pt x="850" y="250"/>
                  </a:lnTo>
                  <a:lnTo>
                    <a:pt x="848" y="244"/>
                  </a:lnTo>
                  <a:lnTo>
                    <a:pt x="846" y="240"/>
                  </a:lnTo>
                  <a:lnTo>
                    <a:pt x="844" y="238"/>
                  </a:lnTo>
                  <a:lnTo>
                    <a:pt x="842" y="236"/>
                  </a:lnTo>
                  <a:lnTo>
                    <a:pt x="840" y="236"/>
                  </a:lnTo>
                  <a:lnTo>
                    <a:pt x="840" y="236"/>
                  </a:lnTo>
                  <a:lnTo>
                    <a:pt x="840" y="234"/>
                  </a:lnTo>
                  <a:lnTo>
                    <a:pt x="838" y="234"/>
                  </a:lnTo>
                  <a:lnTo>
                    <a:pt x="838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6" y="234"/>
                  </a:lnTo>
                  <a:lnTo>
                    <a:pt x="834" y="236"/>
                  </a:lnTo>
                  <a:lnTo>
                    <a:pt x="834" y="236"/>
                  </a:lnTo>
                  <a:lnTo>
                    <a:pt x="834" y="236"/>
                  </a:lnTo>
                  <a:lnTo>
                    <a:pt x="832" y="236"/>
                  </a:lnTo>
                  <a:lnTo>
                    <a:pt x="832" y="238"/>
                  </a:lnTo>
                  <a:lnTo>
                    <a:pt x="832" y="238"/>
                  </a:lnTo>
                  <a:lnTo>
                    <a:pt x="832" y="238"/>
                  </a:lnTo>
                  <a:lnTo>
                    <a:pt x="830" y="242"/>
                  </a:lnTo>
                  <a:lnTo>
                    <a:pt x="830" y="242"/>
                  </a:lnTo>
                  <a:lnTo>
                    <a:pt x="830" y="242"/>
                  </a:lnTo>
                  <a:lnTo>
                    <a:pt x="830" y="244"/>
                  </a:lnTo>
                  <a:lnTo>
                    <a:pt x="830" y="244"/>
                  </a:lnTo>
                  <a:lnTo>
                    <a:pt x="830" y="246"/>
                  </a:lnTo>
                  <a:lnTo>
                    <a:pt x="830" y="246"/>
                  </a:lnTo>
                  <a:lnTo>
                    <a:pt x="830" y="246"/>
                  </a:lnTo>
                  <a:lnTo>
                    <a:pt x="830" y="248"/>
                  </a:lnTo>
                  <a:lnTo>
                    <a:pt x="830" y="250"/>
                  </a:lnTo>
                  <a:lnTo>
                    <a:pt x="830" y="250"/>
                  </a:lnTo>
                  <a:lnTo>
                    <a:pt x="832" y="250"/>
                  </a:lnTo>
                  <a:lnTo>
                    <a:pt x="834" y="252"/>
                  </a:lnTo>
                  <a:lnTo>
                    <a:pt x="836" y="254"/>
                  </a:lnTo>
                  <a:lnTo>
                    <a:pt x="838" y="256"/>
                  </a:lnTo>
                  <a:lnTo>
                    <a:pt x="840" y="256"/>
                  </a:lnTo>
                  <a:lnTo>
                    <a:pt x="842" y="258"/>
                  </a:lnTo>
                  <a:lnTo>
                    <a:pt x="842" y="258"/>
                  </a:lnTo>
                  <a:lnTo>
                    <a:pt x="844" y="260"/>
                  </a:lnTo>
                  <a:lnTo>
                    <a:pt x="844" y="262"/>
                  </a:lnTo>
                  <a:lnTo>
                    <a:pt x="844" y="264"/>
                  </a:lnTo>
                  <a:lnTo>
                    <a:pt x="844" y="266"/>
                  </a:lnTo>
                  <a:lnTo>
                    <a:pt x="842" y="270"/>
                  </a:lnTo>
                  <a:lnTo>
                    <a:pt x="840" y="274"/>
                  </a:lnTo>
                  <a:lnTo>
                    <a:pt x="836" y="280"/>
                  </a:lnTo>
                  <a:lnTo>
                    <a:pt x="834" y="282"/>
                  </a:lnTo>
                  <a:lnTo>
                    <a:pt x="834" y="284"/>
                  </a:lnTo>
                  <a:lnTo>
                    <a:pt x="832" y="286"/>
                  </a:lnTo>
                  <a:lnTo>
                    <a:pt x="832" y="286"/>
                  </a:lnTo>
                  <a:lnTo>
                    <a:pt x="830" y="286"/>
                  </a:lnTo>
                  <a:lnTo>
                    <a:pt x="828" y="286"/>
                  </a:lnTo>
                  <a:lnTo>
                    <a:pt x="828" y="286"/>
                  </a:lnTo>
                  <a:lnTo>
                    <a:pt x="828" y="286"/>
                  </a:lnTo>
                  <a:lnTo>
                    <a:pt x="826" y="286"/>
                  </a:lnTo>
                  <a:lnTo>
                    <a:pt x="826" y="286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4" y="288"/>
                  </a:lnTo>
                  <a:lnTo>
                    <a:pt x="822" y="290"/>
                  </a:lnTo>
                  <a:lnTo>
                    <a:pt x="822" y="290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2"/>
                  </a:lnTo>
                  <a:lnTo>
                    <a:pt x="820" y="294"/>
                  </a:lnTo>
                  <a:lnTo>
                    <a:pt x="820" y="298"/>
                  </a:lnTo>
                  <a:lnTo>
                    <a:pt x="820" y="300"/>
                  </a:lnTo>
                  <a:lnTo>
                    <a:pt x="820" y="304"/>
                  </a:lnTo>
                  <a:lnTo>
                    <a:pt x="818" y="308"/>
                  </a:lnTo>
                  <a:lnTo>
                    <a:pt x="818" y="318"/>
                  </a:lnTo>
                  <a:lnTo>
                    <a:pt x="820" y="324"/>
                  </a:lnTo>
                  <a:lnTo>
                    <a:pt x="820" y="334"/>
                  </a:lnTo>
                  <a:lnTo>
                    <a:pt x="820" y="346"/>
                  </a:lnTo>
                  <a:lnTo>
                    <a:pt x="820" y="356"/>
                  </a:lnTo>
                  <a:lnTo>
                    <a:pt x="820" y="360"/>
                  </a:lnTo>
                  <a:lnTo>
                    <a:pt x="820" y="364"/>
                  </a:lnTo>
                  <a:lnTo>
                    <a:pt x="820" y="370"/>
                  </a:lnTo>
                  <a:lnTo>
                    <a:pt x="820" y="372"/>
                  </a:lnTo>
                  <a:lnTo>
                    <a:pt x="820" y="378"/>
                  </a:lnTo>
                  <a:lnTo>
                    <a:pt x="820" y="382"/>
                  </a:lnTo>
                  <a:lnTo>
                    <a:pt x="820" y="386"/>
                  </a:lnTo>
                  <a:lnTo>
                    <a:pt x="820" y="390"/>
                  </a:lnTo>
                  <a:lnTo>
                    <a:pt x="818" y="392"/>
                  </a:lnTo>
                  <a:lnTo>
                    <a:pt x="818" y="394"/>
                  </a:lnTo>
                  <a:lnTo>
                    <a:pt x="818" y="396"/>
                  </a:lnTo>
                  <a:lnTo>
                    <a:pt x="818" y="400"/>
                  </a:lnTo>
                  <a:lnTo>
                    <a:pt x="818" y="404"/>
                  </a:lnTo>
                  <a:lnTo>
                    <a:pt x="816" y="410"/>
                  </a:lnTo>
                  <a:lnTo>
                    <a:pt x="818" y="412"/>
                  </a:lnTo>
                  <a:lnTo>
                    <a:pt x="818" y="412"/>
                  </a:lnTo>
                  <a:lnTo>
                    <a:pt x="818" y="414"/>
                  </a:lnTo>
                  <a:lnTo>
                    <a:pt x="818" y="416"/>
                  </a:lnTo>
                  <a:lnTo>
                    <a:pt x="818" y="416"/>
                  </a:lnTo>
                  <a:lnTo>
                    <a:pt x="818" y="416"/>
                  </a:lnTo>
                  <a:lnTo>
                    <a:pt x="820" y="418"/>
                  </a:lnTo>
                  <a:lnTo>
                    <a:pt x="820" y="418"/>
                  </a:lnTo>
                  <a:lnTo>
                    <a:pt x="820" y="418"/>
                  </a:lnTo>
                  <a:lnTo>
                    <a:pt x="822" y="420"/>
                  </a:lnTo>
                  <a:lnTo>
                    <a:pt x="822" y="420"/>
                  </a:lnTo>
                  <a:lnTo>
                    <a:pt x="824" y="420"/>
                  </a:lnTo>
                  <a:lnTo>
                    <a:pt x="826" y="420"/>
                  </a:lnTo>
                  <a:lnTo>
                    <a:pt x="826" y="420"/>
                  </a:lnTo>
                  <a:lnTo>
                    <a:pt x="826" y="420"/>
                  </a:lnTo>
                  <a:lnTo>
                    <a:pt x="830" y="420"/>
                  </a:lnTo>
                  <a:lnTo>
                    <a:pt x="836" y="420"/>
                  </a:lnTo>
                  <a:lnTo>
                    <a:pt x="834" y="422"/>
                  </a:lnTo>
                  <a:lnTo>
                    <a:pt x="832" y="426"/>
                  </a:lnTo>
                  <a:lnTo>
                    <a:pt x="830" y="430"/>
                  </a:lnTo>
                  <a:lnTo>
                    <a:pt x="828" y="434"/>
                  </a:lnTo>
                  <a:lnTo>
                    <a:pt x="828" y="438"/>
                  </a:lnTo>
                  <a:lnTo>
                    <a:pt x="826" y="442"/>
                  </a:lnTo>
                  <a:lnTo>
                    <a:pt x="826" y="444"/>
                  </a:lnTo>
                  <a:lnTo>
                    <a:pt x="826" y="444"/>
                  </a:lnTo>
                  <a:lnTo>
                    <a:pt x="826" y="446"/>
                  </a:lnTo>
                  <a:lnTo>
                    <a:pt x="826" y="446"/>
                  </a:lnTo>
                  <a:lnTo>
                    <a:pt x="826" y="448"/>
                  </a:lnTo>
                  <a:lnTo>
                    <a:pt x="828" y="450"/>
                  </a:lnTo>
                  <a:lnTo>
                    <a:pt x="828" y="450"/>
                  </a:lnTo>
                  <a:lnTo>
                    <a:pt x="828" y="450"/>
                  </a:lnTo>
                  <a:lnTo>
                    <a:pt x="828" y="452"/>
                  </a:lnTo>
                  <a:lnTo>
                    <a:pt x="828" y="454"/>
                  </a:lnTo>
                  <a:lnTo>
                    <a:pt x="828" y="454"/>
                  </a:lnTo>
                  <a:lnTo>
                    <a:pt x="828" y="456"/>
                  </a:lnTo>
                  <a:lnTo>
                    <a:pt x="828" y="460"/>
                  </a:lnTo>
                  <a:lnTo>
                    <a:pt x="828" y="462"/>
                  </a:lnTo>
                  <a:lnTo>
                    <a:pt x="828" y="466"/>
                  </a:lnTo>
                  <a:lnTo>
                    <a:pt x="828" y="470"/>
                  </a:lnTo>
                  <a:lnTo>
                    <a:pt x="826" y="476"/>
                  </a:lnTo>
                  <a:lnTo>
                    <a:pt x="826" y="482"/>
                  </a:lnTo>
                  <a:lnTo>
                    <a:pt x="824" y="486"/>
                  </a:lnTo>
                  <a:lnTo>
                    <a:pt x="824" y="488"/>
                  </a:lnTo>
                  <a:lnTo>
                    <a:pt x="822" y="490"/>
                  </a:lnTo>
                  <a:lnTo>
                    <a:pt x="820" y="492"/>
                  </a:lnTo>
                  <a:lnTo>
                    <a:pt x="820" y="492"/>
                  </a:lnTo>
                  <a:lnTo>
                    <a:pt x="818" y="494"/>
                  </a:lnTo>
                  <a:lnTo>
                    <a:pt x="818" y="494"/>
                  </a:lnTo>
                  <a:lnTo>
                    <a:pt x="816" y="496"/>
                  </a:lnTo>
                  <a:lnTo>
                    <a:pt x="814" y="496"/>
                  </a:lnTo>
                  <a:lnTo>
                    <a:pt x="812" y="498"/>
                  </a:lnTo>
                  <a:lnTo>
                    <a:pt x="806" y="500"/>
                  </a:lnTo>
                  <a:lnTo>
                    <a:pt x="802" y="502"/>
                  </a:lnTo>
                  <a:lnTo>
                    <a:pt x="796" y="506"/>
                  </a:lnTo>
                  <a:lnTo>
                    <a:pt x="790" y="508"/>
                  </a:lnTo>
                  <a:lnTo>
                    <a:pt x="788" y="510"/>
                  </a:lnTo>
                  <a:lnTo>
                    <a:pt x="790" y="508"/>
                  </a:lnTo>
                  <a:lnTo>
                    <a:pt x="792" y="504"/>
                  </a:lnTo>
                  <a:lnTo>
                    <a:pt x="796" y="500"/>
                  </a:lnTo>
                  <a:lnTo>
                    <a:pt x="798" y="496"/>
                  </a:lnTo>
                  <a:lnTo>
                    <a:pt x="800" y="494"/>
                  </a:lnTo>
                  <a:lnTo>
                    <a:pt x="800" y="494"/>
                  </a:lnTo>
                  <a:lnTo>
                    <a:pt x="800" y="494"/>
                  </a:lnTo>
                  <a:lnTo>
                    <a:pt x="800" y="492"/>
                  </a:lnTo>
                  <a:lnTo>
                    <a:pt x="800" y="492"/>
                  </a:lnTo>
                  <a:lnTo>
                    <a:pt x="802" y="490"/>
                  </a:lnTo>
                  <a:lnTo>
                    <a:pt x="802" y="488"/>
                  </a:lnTo>
                  <a:lnTo>
                    <a:pt x="802" y="488"/>
                  </a:lnTo>
                  <a:lnTo>
                    <a:pt x="802" y="488"/>
                  </a:lnTo>
                  <a:lnTo>
                    <a:pt x="802" y="484"/>
                  </a:lnTo>
                  <a:lnTo>
                    <a:pt x="800" y="480"/>
                  </a:lnTo>
                  <a:lnTo>
                    <a:pt x="800" y="476"/>
                  </a:lnTo>
                  <a:lnTo>
                    <a:pt x="800" y="472"/>
                  </a:lnTo>
                  <a:lnTo>
                    <a:pt x="800" y="470"/>
                  </a:lnTo>
                  <a:lnTo>
                    <a:pt x="800" y="470"/>
                  </a:lnTo>
                  <a:lnTo>
                    <a:pt x="800" y="468"/>
                  </a:lnTo>
                  <a:lnTo>
                    <a:pt x="800" y="466"/>
                  </a:lnTo>
                  <a:lnTo>
                    <a:pt x="800" y="462"/>
                  </a:lnTo>
                  <a:lnTo>
                    <a:pt x="800" y="458"/>
                  </a:lnTo>
                  <a:lnTo>
                    <a:pt x="800" y="454"/>
                  </a:lnTo>
                  <a:lnTo>
                    <a:pt x="800" y="452"/>
                  </a:lnTo>
                  <a:lnTo>
                    <a:pt x="800" y="448"/>
                  </a:lnTo>
                  <a:lnTo>
                    <a:pt x="800" y="442"/>
                  </a:lnTo>
                  <a:lnTo>
                    <a:pt x="800" y="436"/>
                  </a:lnTo>
                  <a:lnTo>
                    <a:pt x="800" y="430"/>
                  </a:lnTo>
                  <a:lnTo>
                    <a:pt x="800" y="424"/>
                  </a:lnTo>
                  <a:lnTo>
                    <a:pt x="802" y="418"/>
                  </a:lnTo>
                  <a:lnTo>
                    <a:pt x="802" y="402"/>
                  </a:lnTo>
                  <a:lnTo>
                    <a:pt x="802" y="388"/>
                  </a:lnTo>
                  <a:lnTo>
                    <a:pt x="804" y="382"/>
                  </a:lnTo>
                  <a:lnTo>
                    <a:pt x="804" y="376"/>
                  </a:lnTo>
                  <a:lnTo>
                    <a:pt x="804" y="370"/>
                  </a:lnTo>
                  <a:lnTo>
                    <a:pt x="804" y="364"/>
                  </a:lnTo>
                  <a:lnTo>
                    <a:pt x="804" y="360"/>
                  </a:lnTo>
                  <a:lnTo>
                    <a:pt x="804" y="354"/>
                  </a:lnTo>
                  <a:lnTo>
                    <a:pt x="804" y="352"/>
                  </a:lnTo>
                  <a:lnTo>
                    <a:pt x="804" y="350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4" y="348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6"/>
                  </a:lnTo>
                  <a:lnTo>
                    <a:pt x="800" y="342"/>
                  </a:lnTo>
                  <a:lnTo>
                    <a:pt x="802" y="338"/>
                  </a:lnTo>
                  <a:lnTo>
                    <a:pt x="802" y="332"/>
                  </a:lnTo>
                  <a:lnTo>
                    <a:pt x="802" y="326"/>
                  </a:lnTo>
                  <a:lnTo>
                    <a:pt x="802" y="320"/>
                  </a:lnTo>
                  <a:lnTo>
                    <a:pt x="802" y="320"/>
                  </a:lnTo>
                  <a:lnTo>
                    <a:pt x="802" y="316"/>
                  </a:lnTo>
                  <a:lnTo>
                    <a:pt x="802" y="316"/>
                  </a:lnTo>
                  <a:lnTo>
                    <a:pt x="802" y="314"/>
                  </a:lnTo>
                  <a:lnTo>
                    <a:pt x="802" y="312"/>
                  </a:lnTo>
                  <a:lnTo>
                    <a:pt x="802" y="312"/>
                  </a:lnTo>
                  <a:lnTo>
                    <a:pt x="800" y="312"/>
                  </a:lnTo>
                  <a:lnTo>
                    <a:pt x="800" y="310"/>
                  </a:lnTo>
                  <a:lnTo>
                    <a:pt x="800" y="310"/>
                  </a:lnTo>
                  <a:lnTo>
                    <a:pt x="800" y="310"/>
                  </a:lnTo>
                  <a:lnTo>
                    <a:pt x="798" y="310"/>
                  </a:lnTo>
                  <a:lnTo>
                    <a:pt x="798" y="310"/>
                  </a:lnTo>
                  <a:lnTo>
                    <a:pt x="798" y="308"/>
                  </a:lnTo>
                  <a:lnTo>
                    <a:pt x="796" y="308"/>
                  </a:lnTo>
                  <a:lnTo>
                    <a:pt x="796" y="308"/>
                  </a:lnTo>
                  <a:lnTo>
                    <a:pt x="796" y="308"/>
                  </a:lnTo>
                  <a:lnTo>
                    <a:pt x="792" y="308"/>
                  </a:lnTo>
                  <a:lnTo>
                    <a:pt x="790" y="306"/>
                  </a:lnTo>
                  <a:lnTo>
                    <a:pt x="784" y="306"/>
                  </a:lnTo>
                  <a:lnTo>
                    <a:pt x="778" y="306"/>
                  </a:lnTo>
                  <a:lnTo>
                    <a:pt x="770" y="308"/>
                  </a:lnTo>
                  <a:lnTo>
                    <a:pt x="764" y="310"/>
                  </a:lnTo>
                  <a:lnTo>
                    <a:pt x="762" y="310"/>
                  </a:lnTo>
                  <a:lnTo>
                    <a:pt x="762" y="310"/>
                  </a:lnTo>
                  <a:lnTo>
                    <a:pt x="762" y="310"/>
                  </a:lnTo>
                  <a:lnTo>
                    <a:pt x="760" y="312"/>
                  </a:lnTo>
                  <a:lnTo>
                    <a:pt x="758" y="312"/>
                  </a:lnTo>
                  <a:lnTo>
                    <a:pt x="758" y="312"/>
                  </a:lnTo>
                  <a:lnTo>
                    <a:pt x="758" y="314"/>
                  </a:lnTo>
                  <a:lnTo>
                    <a:pt x="756" y="314"/>
                  </a:lnTo>
                  <a:lnTo>
                    <a:pt x="756" y="314"/>
                  </a:lnTo>
                  <a:lnTo>
                    <a:pt x="756" y="316"/>
                  </a:lnTo>
                  <a:lnTo>
                    <a:pt x="756" y="318"/>
                  </a:lnTo>
                  <a:lnTo>
                    <a:pt x="756" y="318"/>
                  </a:lnTo>
                  <a:lnTo>
                    <a:pt x="754" y="318"/>
                  </a:lnTo>
                  <a:lnTo>
                    <a:pt x="754" y="320"/>
                  </a:lnTo>
                  <a:lnTo>
                    <a:pt x="754" y="320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4" y="322"/>
                  </a:lnTo>
                  <a:lnTo>
                    <a:pt x="756" y="326"/>
                  </a:lnTo>
                  <a:lnTo>
                    <a:pt x="758" y="330"/>
                  </a:lnTo>
                  <a:lnTo>
                    <a:pt x="760" y="336"/>
                  </a:lnTo>
                  <a:lnTo>
                    <a:pt x="762" y="342"/>
                  </a:lnTo>
                  <a:lnTo>
                    <a:pt x="764" y="348"/>
                  </a:lnTo>
                  <a:lnTo>
                    <a:pt x="766" y="354"/>
                  </a:lnTo>
                  <a:lnTo>
                    <a:pt x="766" y="356"/>
                  </a:lnTo>
                  <a:lnTo>
                    <a:pt x="766" y="358"/>
                  </a:lnTo>
                  <a:lnTo>
                    <a:pt x="766" y="370"/>
                  </a:lnTo>
                  <a:lnTo>
                    <a:pt x="764" y="380"/>
                  </a:lnTo>
                  <a:lnTo>
                    <a:pt x="762" y="392"/>
                  </a:lnTo>
                  <a:lnTo>
                    <a:pt x="760" y="398"/>
                  </a:lnTo>
                  <a:lnTo>
                    <a:pt x="758" y="404"/>
                  </a:lnTo>
                  <a:lnTo>
                    <a:pt x="758" y="408"/>
                  </a:lnTo>
                  <a:lnTo>
                    <a:pt x="756" y="412"/>
                  </a:lnTo>
                  <a:lnTo>
                    <a:pt x="754" y="420"/>
                  </a:lnTo>
                  <a:lnTo>
                    <a:pt x="750" y="430"/>
                  </a:lnTo>
                  <a:lnTo>
                    <a:pt x="746" y="440"/>
                  </a:lnTo>
                  <a:lnTo>
                    <a:pt x="742" y="450"/>
                  </a:lnTo>
                  <a:lnTo>
                    <a:pt x="740" y="454"/>
                  </a:lnTo>
                  <a:lnTo>
                    <a:pt x="740" y="458"/>
                  </a:lnTo>
                  <a:lnTo>
                    <a:pt x="738" y="460"/>
                  </a:lnTo>
                  <a:lnTo>
                    <a:pt x="736" y="462"/>
                  </a:lnTo>
                  <a:lnTo>
                    <a:pt x="736" y="452"/>
                  </a:lnTo>
                  <a:lnTo>
                    <a:pt x="736" y="448"/>
                  </a:lnTo>
                  <a:lnTo>
                    <a:pt x="736" y="446"/>
                  </a:lnTo>
                  <a:lnTo>
                    <a:pt x="736" y="442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6" y="440"/>
                  </a:lnTo>
                  <a:lnTo>
                    <a:pt x="734" y="438"/>
                  </a:lnTo>
                  <a:lnTo>
                    <a:pt x="734" y="436"/>
                  </a:lnTo>
                  <a:lnTo>
                    <a:pt x="734" y="436"/>
                  </a:lnTo>
                  <a:lnTo>
                    <a:pt x="732" y="436"/>
                  </a:lnTo>
                  <a:lnTo>
                    <a:pt x="730" y="436"/>
                  </a:lnTo>
                  <a:lnTo>
                    <a:pt x="730" y="436"/>
                  </a:lnTo>
                  <a:lnTo>
                    <a:pt x="730" y="434"/>
                  </a:lnTo>
                  <a:lnTo>
                    <a:pt x="728" y="434"/>
                  </a:lnTo>
                  <a:lnTo>
                    <a:pt x="728" y="434"/>
                  </a:lnTo>
                  <a:lnTo>
                    <a:pt x="726" y="434"/>
                  </a:lnTo>
                  <a:lnTo>
                    <a:pt x="722" y="434"/>
                  </a:lnTo>
                  <a:lnTo>
                    <a:pt x="722" y="434"/>
                  </a:lnTo>
                  <a:lnTo>
                    <a:pt x="722" y="434"/>
                  </a:lnTo>
                  <a:lnTo>
                    <a:pt x="720" y="434"/>
                  </a:lnTo>
                  <a:lnTo>
                    <a:pt x="718" y="434"/>
                  </a:lnTo>
                  <a:lnTo>
                    <a:pt x="716" y="434"/>
                  </a:lnTo>
                  <a:lnTo>
                    <a:pt x="716" y="432"/>
                  </a:lnTo>
                  <a:lnTo>
                    <a:pt x="716" y="432"/>
                  </a:lnTo>
                  <a:lnTo>
                    <a:pt x="716" y="432"/>
                  </a:lnTo>
                  <a:lnTo>
                    <a:pt x="716" y="430"/>
                  </a:lnTo>
                  <a:lnTo>
                    <a:pt x="714" y="428"/>
                  </a:lnTo>
                  <a:lnTo>
                    <a:pt x="710" y="428"/>
                  </a:lnTo>
                  <a:lnTo>
                    <a:pt x="708" y="426"/>
                  </a:lnTo>
                  <a:lnTo>
                    <a:pt x="702" y="424"/>
                  </a:lnTo>
                  <a:lnTo>
                    <a:pt x="698" y="422"/>
                  </a:lnTo>
                  <a:lnTo>
                    <a:pt x="694" y="418"/>
                  </a:lnTo>
                  <a:lnTo>
                    <a:pt x="690" y="412"/>
                  </a:lnTo>
                  <a:lnTo>
                    <a:pt x="684" y="408"/>
                  </a:lnTo>
                  <a:lnTo>
                    <a:pt x="680" y="402"/>
                  </a:lnTo>
                  <a:lnTo>
                    <a:pt x="674" y="398"/>
                  </a:lnTo>
                  <a:lnTo>
                    <a:pt x="674" y="398"/>
                  </a:lnTo>
                  <a:lnTo>
                    <a:pt x="672" y="398"/>
                  </a:lnTo>
                  <a:lnTo>
                    <a:pt x="670" y="398"/>
                  </a:lnTo>
                  <a:lnTo>
                    <a:pt x="666" y="398"/>
                  </a:lnTo>
                  <a:lnTo>
                    <a:pt x="662" y="396"/>
                  </a:lnTo>
                  <a:lnTo>
                    <a:pt x="656" y="392"/>
                  </a:lnTo>
                  <a:lnTo>
                    <a:pt x="654" y="392"/>
                  </a:lnTo>
                  <a:lnTo>
                    <a:pt x="650" y="390"/>
                  </a:lnTo>
                  <a:lnTo>
                    <a:pt x="650" y="390"/>
                  </a:lnTo>
                  <a:lnTo>
                    <a:pt x="650" y="390"/>
                  </a:lnTo>
                  <a:lnTo>
                    <a:pt x="638" y="390"/>
                  </a:lnTo>
                  <a:lnTo>
                    <a:pt x="626" y="388"/>
                  </a:lnTo>
                  <a:lnTo>
                    <a:pt x="622" y="388"/>
                  </a:lnTo>
                  <a:lnTo>
                    <a:pt x="620" y="386"/>
                  </a:lnTo>
                  <a:lnTo>
                    <a:pt x="616" y="384"/>
                  </a:lnTo>
                  <a:lnTo>
                    <a:pt x="614" y="380"/>
                  </a:lnTo>
                  <a:lnTo>
                    <a:pt x="610" y="374"/>
                  </a:lnTo>
                  <a:lnTo>
                    <a:pt x="606" y="372"/>
                  </a:lnTo>
                  <a:lnTo>
                    <a:pt x="606" y="372"/>
                  </a:lnTo>
                  <a:lnTo>
                    <a:pt x="606" y="372"/>
                  </a:lnTo>
                  <a:lnTo>
                    <a:pt x="604" y="368"/>
                  </a:lnTo>
                  <a:lnTo>
                    <a:pt x="602" y="368"/>
                  </a:lnTo>
                  <a:lnTo>
                    <a:pt x="602" y="368"/>
                  </a:lnTo>
                  <a:lnTo>
                    <a:pt x="600" y="368"/>
                  </a:lnTo>
                  <a:lnTo>
                    <a:pt x="600" y="366"/>
                  </a:lnTo>
                  <a:lnTo>
                    <a:pt x="600" y="366"/>
                  </a:lnTo>
                  <a:lnTo>
                    <a:pt x="598" y="366"/>
                  </a:lnTo>
                  <a:lnTo>
                    <a:pt x="596" y="366"/>
                  </a:lnTo>
                  <a:lnTo>
                    <a:pt x="596" y="366"/>
                  </a:lnTo>
                  <a:lnTo>
                    <a:pt x="596" y="366"/>
                  </a:lnTo>
                  <a:lnTo>
                    <a:pt x="594" y="366"/>
                  </a:lnTo>
                  <a:lnTo>
                    <a:pt x="594" y="366"/>
                  </a:lnTo>
                  <a:lnTo>
                    <a:pt x="594" y="368"/>
                  </a:lnTo>
                  <a:lnTo>
                    <a:pt x="592" y="368"/>
                  </a:lnTo>
                  <a:lnTo>
                    <a:pt x="592" y="368"/>
                  </a:lnTo>
                  <a:lnTo>
                    <a:pt x="592" y="368"/>
                  </a:lnTo>
                  <a:lnTo>
                    <a:pt x="592" y="370"/>
                  </a:lnTo>
                  <a:lnTo>
                    <a:pt x="590" y="372"/>
                  </a:lnTo>
                  <a:lnTo>
                    <a:pt x="590" y="372"/>
                  </a:lnTo>
                  <a:lnTo>
                    <a:pt x="590" y="376"/>
                  </a:lnTo>
                  <a:lnTo>
                    <a:pt x="592" y="380"/>
                  </a:lnTo>
                  <a:lnTo>
                    <a:pt x="594" y="382"/>
                  </a:lnTo>
                  <a:lnTo>
                    <a:pt x="594" y="386"/>
                  </a:lnTo>
                  <a:lnTo>
                    <a:pt x="596" y="388"/>
                  </a:lnTo>
                  <a:lnTo>
                    <a:pt x="596" y="388"/>
                  </a:lnTo>
                  <a:lnTo>
                    <a:pt x="598" y="390"/>
                  </a:lnTo>
                  <a:lnTo>
                    <a:pt x="600" y="392"/>
                  </a:lnTo>
                  <a:lnTo>
                    <a:pt x="602" y="396"/>
                  </a:lnTo>
                  <a:lnTo>
                    <a:pt x="606" y="398"/>
                  </a:lnTo>
                  <a:lnTo>
                    <a:pt x="610" y="402"/>
                  </a:lnTo>
                  <a:lnTo>
                    <a:pt x="614" y="406"/>
                  </a:lnTo>
                  <a:lnTo>
                    <a:pt x="616" y="408"/>
                  </a:lnTo>
                  <a:lnTo>
                    <a:pt x="618" y="412"/>
                  </a:lnTo>
                  <a:lnTo>
                    <a:pt x="620" y="414"/>
                  </a:lnTo>
                  <a:lnTo>
                    <a:pt x="620" y="418"/>
                  </a:lnTo>
                  <a:lnTo>
                    <a:pt x="622" y="422"/>
                  </a:lnTo>
                  <a:lnTo>
                    <a:pt x="622" y="422"/>
                  </a:lnTo>
                  <a:lnTo>
                    <a:pt x="622" y="424"/>
                  </a:lnTo>
                  <a:lnTo>
                    <a:pt x="622" y="424"/>
                  </a:lnTo>
                  <a:lnTo>
                    <a:pt x="620" y="424"/>
                  </a:lnTo>
                  <a:lnTo>
                    <a:pt x="618" y="426"/>
                  </a:lnTo>
                  <a:lnTo>
                    <a:pt x="616" y="426"/>
                  </a:lnTo>
                  <a:lnTo>
                    <a:pt x="614" y="426"/>
                  </a:lnTo>
                  <a:lnTo>
                    <a:pt x="610" y="426"/>
                  </a:lnTo>
                  <a:lnTo>
                    <a:pt x="608" y="426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4"/>
                  </a:lnTo>
                  <a:lnTo>
                    <a:pt x="606" y="422"/>
                  </a:lnTo>
                  <a:lnTo>
                    <a:pt x="604" y="422"/>
                  </a:lnTo>
                  <a:lnTo>
                    <a:pt x="604" y="422"/>
                  </a:lnTo>
                  <a:lnTo>
                    <a:pt x="604" y="420"/>
                  </a:lnTo>
                  <a:lnTo>
                    <a:pt x="602" y="416"/>
                  </a:lnTo>
                  <a:lnTo>
                    <a:pt x="600" y="414"/>
                  </a:lnTo>
                  <a:lnTo>
                    <a:pt x="598" y="412"/>
                  </a:lnTo>
                  <a:lnTo>
                    <a:pt x="598" y="412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6" y="410"/>
                  </a:lnTo>
                  <a:lnTo>
                    <a:pt x="594" y="410"/>
                  </a:lnTo>
                  <a:lnTo>
                    <a:pt x="592" y="410"/>
                  </a:lnTo>
                  <a:lnTo>
                    <a:pt x="592" y="410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2"/>
                  </a:lnTo>
                  <a:lnTo>
                    <a:pt x="590" y="414"/>
                  </a:lnTo>
                  <a:lnTo>
                    <a:pt x="590" y="414"/>
                  </a:lnTo>
                  <a:lnTo>
                    <a:pt x="590" y="414"/>
                  </a:lnTo>
                  <a:lnTo>
                    <a:pt x="590" y="416"/>
                  </a:lnTo>
                  <a:lnTo>
                    <a:pt x="588" y="418"/>
                  </a:lnTo>
                  <a:lnTo>
                    <a:pt x="588" y="422"/>
                  </a:lnTo>
                  <a:lnTo>
                    <a:pt x="588" y="426"/>
                  </a:lnTo>
                  <a:lnTo>
                    <a:pt x="588" y="430"/>
                  </a:lnTo>
                  <a:lnTo>
                    <a:pt x="586" y="432"/>
                  </a:lnTo>
                  <a:lnTo>
                    <a:pt x="582" y="434"/>
                  </a:lnTo>
                  <a:lnTo>
                    <a:pt x="576" y="436"/>
                  </a:lnTo>
                  <a:lnTo>
                    <a:pt x="572" y="440"/>
                  </a:lnTo>
                  <a:lnTo>
                    <a:pt x="568" y="440"/>
                  </a:lnTo>
                  <a:lnTo>
                    <a:pt x="562" y="438"/>
                  </a:lnTo>
                  <a:lnTo>
                    <a:pt x="556" y="438"/>
                  </a:lnTo>
                  <a:lnTo>
                    <a:pt x="550" y="438"/>
                  </a:lnTo>
                  <a:lnTo>
                    <a:pt x="544" y="438"/>
                  </a:lnTo>
                  <a:lnTo>
                    <a:pt x="544" y="438"/>
                  </a:lnTo>
                  <a:lnTo>
                    <a:pt x="544" y="438"/>
                  </a:lnTo>
                  <a:lnTo>
                    <a:pt x="540" y="440"/>
                  </a:lnTo>
                  <a:lnTo>
                    <a:pt x="540" y="440"/>
                  </a:lnTo>
                  <a:lnTo>
                    <a:pt x="538" y="440"/>
                  </a:lnTo>
                  <a:lnTo>
                    <a:pt x="534" y="442"/>
                  </a:lnTo>
                  <a:lnTo>
                    <a:pt x="534" y="442"/>
                  </a:lnTo>
                  <a:lnTo>
                    <a:pt x="534" y="444"/>
                  </a:lnTo>
                  <a:lnTo>
                    <a:pt x="532" y="444"/>
                  </a:lnTo>
                  <a:lnTo>
                    <a:pt x="532" y="444"/>
                  </a:lnTo>
                  <a:lnTo>
                    <a:pt x="532" y="446"/>
                  </a:lnTo>
                  <a:lnTo>
                    <a:pt x="530" y="446"/>
                  </a:lnTo>
                  <a:lnTo>
                    <a:pt x="528" y="446"/>
                  </a:lnTo>
                  <a:lnTo>
                    <a:pt x="524" y="448"/>
                  </a:lnTo>
                  <a:lnTo>
                    <a:pt x="522" y="448"/>
                  </a:lnTo>
                  <a:lnTo>
                    <a:pt x="520" y="448"/>
                  </a:lnTo>
                  <a:lnTo>
                    <a:pt x="520" y="448"/>
                  </a:lnTo>
                  <a:lnTo>
                    <a:pt x="520" y="448"/>
                  </a:lnTo>
                  <a:lnTo>
                    <a:pt x="518" y="446"/>
                  </a:lnTo>
                  <a:lnTo>
                    <a:pt x="520" y="442"/>
                  </a:lnTo>
                  <a:lnTo>
                    <a:pt x="520" y="442"/>
                  </a:lnTo>
                  <a:lnTo>
                    <a:pt x="520" y="440"/>
                  </a:lnTo>
                  <a:lnTo>
                    <a:pt x="522" y="438"/>
                  </a:lnTo>
                  <a:lnTo>
                    <a:pt x="524" y="436"/>
                  </a:lnTo>
                  <a:lnTo>
                    <a:pt x="524" y="436"/>
                  </a:lnTo>
                  <a:lnTo>
                    <a:pt x="524" y="434"/>
                  </a:lnTo>
                  <a:lnTo>
                    <a:pt x="524" y="434"/>
                  </a:lnTo>
                  <a:lnTo>
                    <a:pt x="524" y="434"/>
                  </a:lnTo>
                  <a:lnTo>
                    <a:pt x="524" y="432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2" y="430"/>
                  </a:lnTo>
                  <a:lnTo>
                    <a:pt x="520" y="430"/>
                  </a:lnTo>
                  <a:lnTo>
                    <a:pt x="520" y="430"/>
                  </a:lnTo>
                  <a:lnTo>
                    <a:pt x="518" y="430"/>
                  </a:lnTo>
                  <a:lnTo>
                    <a:pt x="516" y="430"/>
                  </a:lnTo>
                  <a:lnTo>
                    <a:pt x="514" y="430"/>
                  </a:lnTo>
                  <a:lnTo>
                    <a:pt x="510" y="428"/>
                  </a:lnTo>
                  <a:lnTo>
                    <a:pt x="506" y="428"/>
                  </a:lnTo>
                  <a:lnTo>
                    <a:pt x="506" y="428"/>
                  </a:lnTo>
                  <a:lnTo>
                    <a:pt x="504" y="428"/>
                  </a:lnTo>
                  <a:lnTo>
                    <a:pt x="498" y="434"/>
                  </a:lnTo>
                  <a:lnTo>
                    <a:pt x="494" y="436"/>
                  </a:lnTo>
                  <a:lnTo>
                    <a:pt x="490" y="438"/>
                  </a:lnTo>
                  <a:lnTo>
                    <a:pt x="490" y="438"/>
                  </a:lnTo>
                  <a:lnTo>
                    <a:pt x="486" y="438"/>
                  </a:lnTo>
                  <a:lnTo>
                    <a:pt x="484" y="438"/>
                  </a:lnTo>
                  <a:lnTo>
                    <a:pt x="476" y="440"/>
                  </a:lnTo>
                  <a:lnTo>
                    <a:pt x="474" y="442"/>
                  </a:lnTo>
                  <a:lnTo>
                    <a:pt x="474" y="442"/>
                  </a:lnTo>
                  <a:lnTo>
                    <a:pt x="474" y="442"/>
                  </a:lnTo>
                  <a:lnTo>
                    <a:pt x="472" y="442"/>
                  </a:lnTo>
                  <a:lnTo>
                    <a:pt x="472" y="442"/>
                  </a:lnTo>
                  <a:lnTo>
                    <a:pt x="470" y="444"/>
                  </a:lnTo>
                  <a:lnTo>
                    <a:pt x="468" y="446"/>
                  </a:lnTo>
                  <a:lnTo>
                    <a:pt x="468" y="446"/>
                  </a:lnTo>
                  <a:lnTo>
                    <a:pt x="468" y="446"/>
                  </a:lnTo>
                  <a:lnTo>
                    <a:pt x="466" y="448"/>
                  </a:lnTo>
                  <a:lnTo>
                    <a:pt x="462" y="454"/>
                  </a:lnTo>
                  <a:lnTo>
                    <a:pt x="460" y="460"/>
                  </a:lnTo>
                  <a:lnTo>
                    <a:pt x="458" y="462"/>
                  </a:lnTo>
                  <a:lnTo>
                    <a:pt x="456" y="464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52" y="464"/>
                  </a:lnTo>
                  <a:lnTo>
                    <a:pt x="446" y="466"/>
                  </a:lnTo>
                  <a:lnTo>
                    <a:pt x="446" y="466"/>
                  </a:lnTo>
                  <a:lnTo>
                    <a:pt x="446" y="466"/>
                  </a:lnTo>
                  <a:lnTo>
                    <a:pt x="442" y="470"/>
                  </a:lnTo>
                  <a:lnTo>
                    <a:pt x="438" y="472"/>
                  </a:lnTo>
                  <a:lnTo>
                    <a:pt x="434" y="476"/>
                  </a:lnTo>
                  <a:lnTo>
                    <a:pt x="430" y="480"/>
                  </a:lnTo>
                  <a:lnTo>
                    <a:pt x="424" y="488"/>
                  </a:lnTo>
                  <a:lnTo>
                    <a:pt x="422" y="490"/>
                  </a:lnTo>
                  <a:lnTo>
                    <a:pt x="420" y="492"/>
                  </a:lnTo>
                  <a:lnTo>
                    <a:pt x="420" y="492"/>
                  </a:lnTo>
                  <a:lnTo>
                    <a:pt x="420" y="492"/>
                  </a:lnTo>
                  <a:lnTo>
                    <a:pt x="418" y="494"/>
                  </a:lnTo>
                  <a:lnTo>
                    <a:pt x="418" y="494"/>
                  </a:lnTo>
                  <a:lnTo>
                    <a:pt x="418" y="494"/>
                  </a:lnTo>
                  <a:lnTo>
                    <a:pt x="416" y="496"/>
                  </a:lnTo>
                  <a:lnTo>
                    <a:pt x="416" y="496"/>
                  </a:lnTo>
                  <a:lnTo>
                    <a:pt x="416" y="496"/>
                  </a:lnTo>
                  <a:lnTo>
                    <a:pt x="416" y="498"/>
                  </a:lnTo>
                  <a:lnTo>
                    <a:pt x="416" y="498"/>
                  </a:lnTo>
                  <a:lnTo>
                    <a:pt x="416" y="498"/>
                  </a:lnTo>
                  <a:lnTo>
                    <a:pt x="416" y="500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4" y="502"/>
                  </a:lnTo>
                  <a:lnTo>
                    <a:pt x="412" y="504"/>
                  </a:lnTo>
                  <a:lnTo>
                    <a:pt x="408" y="504"/>
                  </a:lnTo>
                  <a:lnTo>
                    <a:pt x="404" y="504"/>
                  </a:lnTo>
                  <a:lnTo>
                    <a:pt x="400" y="506"/>
                  </a:lnTo>
                  <a:lnTo>
                    <a:pt x="398" y="504"/>
                  </a:lnTo>
                  <a:lnTo>
                    <a:pt x="396" y="502"/>
                  </a:lnTo>
                  <a:lnTo>
                    <a:pt x="392" y="502"/>
                  </a:lnTo>
                  <a:lnTo>
                    <a:pt x="390" y="500"/>
                  </a:lnTo>
                  <a:lnTo>
                    <a:pt x="388" y="498"/>
                  </a:lnTo>
                  <a:lnTo>
                    <a:pt x="388" y="496"/>
                  </a:lnTo>
                  <a:lnTo>
                    <a:pt x="388" y="494"/>
                  </a:lnTo>
                  <a:lnTo>
                    <a:pt x="388" y="490"/>
                  </a:lnTo>
                  <a:lnTo>
                    <a:pt x="388" y="488"/>
                  </a:lnTo>
                  <a:lnTo>
                    <a:pt x="388" y="486"/>
                  </a:lnTo>
                  <a:lnTo>
                    <a:pt x="388" y="484"/>
                  </a:lnTo>
                  <a:lnTo>
                    <a:pt x="388" y="482"/>
                  </a:lnTo>
                  <a:lnTo>
                    <a:pt x="390" y="480"/>
                  </a:lnTo>
                  <a:lnTo>
                    <a:pt x="396" y="476"/>
                  </a:lnTo>
                  <a:lnTo>
                    <a:pt x="398" y="474"/>
                  </a:lnTo>
                  <a:lnTo>
                    <a:pt x="400" y="472"/>
                  </a:lnTo>
                  <a:lnTo>
                    <a:pt x="400" y="472"/>
                  </a:lnTo>
                  <a:lnTo>
                    <a:pt x="402" y="472"/>
                  </a:lnTo>
                  <a:lnTo>
                    <a:pt x="404" y="468"/>
                  </a:lnTo>
                  <a:lnTo>
                    <a:pt x="404" y="468"/>
                  </a:lnTo>
                  <a:lnTo>
                    <a:pt x="404" y="468"/>
                  </a:lnTo>
                  <a:lnTo>
                    <a:pt x="406" y="464"/>
                  </a:lnTo>
                  <a:lnTo>
                    <a:pt x="406" y="464"/>
                  </a:lnTo>
                  <a:lnTo>
                    <a:pt x="406" y="462"/>
                  </a:lnTo>
                  <a:lnTo>
                    <a:pt x="404" y="460"/>
                  </a:lnTo>
                  <a:lnTo>
                    <a:pt x="402" y="460"/>
                  </a:lnTo>
                  <a:lnTo>
                    <a:pt x="402" y="460"/>
                  </a:lnTo>
                  <a:lnTo>
                    <a:pt x="400" y="458"/>
                  </a:lnTo>
                  <a:lnTo>
                    <a:pt x="400" y="458"/>
                  </a:lnTo>
                  <a:lnTo>
                    <a:pt x="400" y="454"/>
                  </a:lnTo>
                  <a:lnTo>
                    <a:pt x="400" y="454"/>
                  </a:lnTo>
                  <a:lnTo>
                    <a:pt x="400" y="454"/>
                  </a:lnTo>
                  <a:lnTo>
                    <a:pt x="398" y="452"/>
                  </a:lnTo>
                  <a:lnTo>
                    <a:pt x="396" y="450"/>
                  </a:lnTo>
                  <a:lnTo>
                    <a:pt x="396" y="450"/>
                  </a:lnTo>
                  <a:lnTo>
                    <a:pt x="396" y="448"/>
                  </a:lnTo>
                  <a:lnTo>
                    <a:pt x="394" y="448"/>
                  </a:lnTo>
                  <a:lnTo>
                    <a:pt x="394" y="448"/>
                  </a:lnTo>
                  <a:lnTo>
                    <a:pt x="392" y="448"/>
                  </a:lnTo>
                  <a:lnTo>
                    <a:pt x="390" y="446"/>
                  </a:lnTo>
                  <a:lnTo>
                    <a:pt x="384" y="446"/>
                  </a:lnTo>
                  <a:lnTo>
                    <a:pt x="378" y="444"/>
                  </a:lnTo>
                  <a:lnTo>
                    <a:pt x="376" y="444"/>
                  </a:lnTo>
                  <a:lnTo>
                    <a:pt x="372" y="444"/>
                  </a:lnTo>
                  <a:lnTo>
                    <a:pt x="370" y="442"/>
                  </a:lnTo>
                  <a:lnTo>
                    <a:pt x="368" y="442"/>
                  </a:lnTo>
                  <a:lnTo>
                    <a:pt x="368" y="440"/>
                  </a:lnTo>
                  <a:lnTo>
                    <a:pt x="366" y="438"/>
                  </a:lnTo>
                  <a:lnTo>
                    <a:pt x="364" y="438"/>
                  </a:lnTo>
                  <a:lnTo>
                    <a:pt x="364" y="438"/>
                  </a:lnTo>
                  <a:lnTo>
                    <a:pt x="362" y="438"/>
                  </a:lnTo>
                  <a:lnTo>
                    <a:pt x="362" y="438"/>
                  </a:lnTo>
                  <a:lnTo>
                    <a:pt x="362" y="438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60" y="440"/>
                  </a:lnTo>
                  <a:lnTo>
                    <a:pt x="358" y="442"/>
                  </a:lnTo>
                  <a:lnTo>
                    <a:pt x="358" y="442"/>
                  </a:lnTo>
                  <a:lnTo>
                    <a:pt x="358" y="444"/>
                  </a:lnTo>
                  <a:lnTo>
                    <a:pt x="358" y="444"/>
                  </a:lnTo>
                  <a:lnTo>
                    <a:pt x="358" y="446"/>
                  </a:lnTo>
                  <a:lnTo>
                    <a:pt x="358" y="446"/>
                  </a:lnTo>
                  <a:lnTo>
                    <a:pt x="358" y="448"/>
                  </a:lnTo>
                  <a:lnTo>
                    <a:pt x="360" y="448"/>
                  </a:lnTo>
                  <a:lnTo>
                    <a:pt x="360" y="452"/>
                  </a:lnTo>
                  <a:lnTo>
                    <a:pt x="362" y="454"/>
                  </a:lnTo>
                  <a:lnTo>
                    <a:pt x="364" y="458"/>
                  </a:lnTo>
                  <a:lnTo>
                    <a:pt x="366" y="462"/>
                  </a:lnTo>
                  <a:lnTo>
                    <a:pt x="366" y="464"/>
                  </a:lnTo>
                  <a:lnTo>
                    <a:pt x="368" y="466"/>
                  </a:lnTo>
                  <a:lnTo>
                    <a:pt x="368" y="470"/>
                  </a:lnTo>
                  <a:lnTo>
                    <a:pt x="368" y="474"/>
                  </a:lnTo>
                  <a:lnTo>
                    <a:pt x="366" y="476"/>
                  </a:lnTo>
                  <a:lnTo>
                    <a:pt x="366" y="478"/>
                  </a:lnTo>
                  <a:lnTo>
                    <a:pt x="364" y="480"/>
                  </a:lnTo>
                  <a:lnTo>
                    <a:pt x="362" y="482"/>
                  </a:lnTo>
                  <a:lnTo>
                    <a:pt x="362" y="482"/>
                  </a:lnTo>
                  <a:lnTo>
                    <a:pt x="362" y="482"/>
                  </a:lnTo>
                  <a:lnTo>
                    <a:pt x="360" y="486"/>
                  </a:lnTo>
                  <a:lnTo>
                    <a:pt x="360" y="486"/>
                  </a:lnTo>
                  <a:lnTo>
                    <a:pt x="360" y="486"/>
                  </a:lnTo>
                  <a:lnTo>
                    <a:pt x="360" y="490"/>
                  </a:lnTo>
                  <a:lnTo>
                    <a:pt x="360" y="490"/>
                  </a:lnTo>
                  <a:lnTo>
                    <a:pt x="360" y="492"/>
                  </a:lnTo>
                  <a:lnTo>
                    <a:pt x="362" y="496"/>
                  </a:lnTo>
                  <a:lnTo>
                    <a:pt x="364" y="500"/>
                  </a:lnTo>
                  <a:lnTo>
                    <a:pt x="366" y="502"/>
                  </a:lnTo>
                  <a:lnTo>
                    <a:pt x="368" y="504"/>
                  </a:lnTo>
                  <a:lnTo>
                    <a:pt x="368" y="506"/>
                  </a:lnTo>
                  <a:lnTo>
                    <a:pt x="370" y="510"/>
                  </a:lnTo>
                  <a:lnTo>
                    <a:pt x="370" y="514"/>
                  </a:lnTo>
                  <a:lnTo>
                    <a:pt x="370" y="518"/>
                  </a:lnTo>
                  <a:lnTo>
                    <a:pt x="370" y="520"/>
                  </a:lnTo>
                  <a:lnTo>
                    <a:pt x="368" y="524"/>
                  </a:lnTo>
                  <a:lnTo>
                    <a:pt x="368" y="528"/>
                  </a:lnTo>
                  <a:lnTo>
                    <a:pt x="366" y="530"/>
                  </a:lnTo>
                  <a:lnTo>
                    <a:pt x="364" y="530"/>
                  </a:lnTo>
                  <a:lnTo>
                    <a:pt x="360" y="530"/>
                  </a:lnTo>
                  <a:lnTo>
                    <a:pt x="358" y="530"/>
                  </a:lnTo>
                  <a:lnTo>
                    <a:pt x="354" y="530"/>
                  </a:lnTo>
                  <a:lnTo>
                    <a:pt x="352" y="530"/>
                  </a:lnTo>
                  <a:lnTo>
                    <a:pt x="348" y="530"/>
                  </a:lnTo>
                  <a:lnTo>
                    <a:pt x="344" y="530"/>
                  </a:lnTo>
                  <a:lnTo>
                    <a:pt x="338" y="530"/>
                  </a:lnTo>
                  <a:lnTo>
                    <a:pt x="338" y="530"/>
                  </a:lnTo>
                  <a:lnTo>
                    <a:pt x="338" y="530"/>
                  </a:lnTo>
                  <a:lnTo>
                    <a:pt x="334" y="530"/>
                  </a:lnTo>
                  <a:lnTo>
                    <a:pt x="332" y="530"/>
                  </a:lnTo>
                  <a:lnTo>
                    <a:pt x="332" y="530"/>
                  </a:lnTo>
                  <a:lnTo>
                    <a:pt x="332" y="530"/>
                  </a:lnTo>
                  <a:lnTo>
                    <a:pt x="328" y="534"/>
                  </a:lnTo>
                  <a:lnTo>
                    <a:pt x="324" y="536"/>
                  </a:lnTo>
                  <a:lnTo>
                    <a:pt x="320" y="538"/>
                  </a:lnTo>
                  <a:lnTo>
                    <a:pt x="316" y="538"/>
                  </a:lnTo>
                  <a:lnTo>
                    <a:pt x="314" y="540"/>
                  </a:lnTo>
                  <a:lnTo>
                    <a:pt x="314" y="540"/>
                  </a:lnTo>
                  <a:lnTo>
                    <a:pt x="314" y="540"/>
                  </a:lnTo>
                  <a:lnTo>
                    <a:pt x="312" y="542"/>
                  </a:lnTo>
                  <a:lnTo>
                    <a:pt x="312" y="542"/>
                  </a:lnTo>
                  <a:lnTo>
                    <a:pt x="310" y="542"/>
                  </a:lnTo>
                  <a:lnTo>
                    <a:pt x="308" y="544"/>
                  </a:lnTo>
                  <a:lnTo>
                    <a:pt x="306" y="546"/>
                  </a:lnTo>
                  <a:lnTo>
                    <a:pt x="306" y="548"/>
                  </a:lnTo>
                  <a:lnTo>
                    <a:pt x="302" y="548"/>
                  </a:lnTo>
                  <a:lnTo>
                    <a:pt x="302" y="548"/>
                  </a:lnTo>
                  <a:lnTo>
                    <a:pt x="302" y="548"/>
                  </a:lnTo>
                  <a:lnTo>
                    <a:pt x="300" y="550"/>
                  </a:lnTo>
                  <a:lnTo>
                    <a:pt x="300" y="550"/>
                  </a:lnTo>
                  <a:lnTo>
                    <a:pt x="300" y="550"/>
                  </a:lnTo>
                  <a:lnTo>
                    <a:pt x="298" y="550"/>
                  </a:lnTo>
                  <a:lnTo>
                    <a:pt x="298" y="550"/>
                  </a:lnTo>
                  <a:lnTo>
                    <a:pt x="298" y="550"/>
                  </a:lnTo>
                  <a:lnTo>
                    <a:pt x="296" y="552"/>
                  </a:lnTo>
                  <a:lnTo>
                    <a:pt x="296" y="552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6" y="554"/>
                  </a:lnTo>
                  <a:lnTo>
                    <a:pt x="296" y="556"/>
                  </a:lnTo>
                  <a:lnTo>
                    <a:pt x="296" y="558"/>
                  </a:lnTo>
                  <a:lnTo>
                    <a:pt x="296" y="558"/>
                  </a:lnTo>
                  <a:lnTo>
                    <a:pt x="296" y="558"/>
                  </a:lnTo>
                  <a:lnTo>
                    <a:pt x="298" y="562"/>
                  </a:lnTo>
                  <a:lnTo>
                    <a:pt x="298" y="562"/>
                  </a:lnTo>
                  <a:lnTo>
                    <a:pt x="298" y="562"/>
                  </a:lnTo>
                  <a:lnTo>
                    <a:pt x="302" y="564"/>
                  </a:lnTo>
                  <a:lnTo>
                    <a:pt x="302" y="564"/>
                  </a:lnTo>
                  <a:lnTo>
                    <a:pt x="304" y="566"/>
                  </a:lnTo>
                  <a:lnTo>
                    <a:pt x="306" y="568"/>
                  </a:lnTo>
                  <a:lnTo>
                    <a:pt x="306" y="570"/>
                  </a:lnTo>
                  <a:lnTo>
                    <a:pt x="306" y="572"/>
                  </a:lnTo>
                  <a:lnTo>
                    <a:pt x="308" y="576"/>
                  </a:lnTo>
                  <a:lnTo>
                    <a:pt x="308" y="578"/>
                  </a:lnTo>
                  <a:lnTo>
                    <a:pt x="308" y="580"/>
                  </a:lnTo>
                  <a:lnTo>
                    <a:pt x="304" y="580"/>
                  </a:lnTo>
                  <a:lnTo>
                    <a:pt x="298" y="580"/>
                  </a:lnTo>
                  <a:lnTo>
                    <a:pt x="290" y="580"/>
                  </a:lnTo>
                  <a:lnTo>
                    <a:pt x="288" y="580"/>
                  </a:lnTo>
                  <a:lnTo>
                    <a:pt x="284" y="578"/>
                  </a:lnTo>
                  <a:lnTo>
                    <a:pt x="280" y="576"/>
                  </a:lnTo>
                  <a:lnTo>
                    <a:pt x="276" y="576"/>
                  </a:lnTo>
                  <a:lnTo>
                    <a:pt x="270" y="572"/>
                  </a:lnTo>
                  <a:lnTo>
                    <a:pt x="266" y="570"/>
                  </a:lnTo>
                  <a:lnTo>
                    <a:pt x="266" y="570"/>
                  </a:lnTo>
                  <a:lnTo>
                    <a:pt x="266" y="570"/>
                  </a:lnTo>
                  <a:lnTo>
                    <a:pt x="266" y="568"/>
                  </a:lnTo>
                  <a:lnTo>
                    <a:pt x="264" y="568"/>
                  </a:lnTo>
                  <a:lnTo>
                    <a:pt x="260" y="568"/>
                  </a:lnTo>
                  <a:lnTo>
                    <a:pt x="258" y="568"/>
                  </a:lnTo>
                  <a:lnTo>
                    <a:pt x="254" y="566"/>
                  </a:lnTo>
                  <a:lnTo>
                    <a:pt x="250" y="566"/>
                  </a:lnTo>
                  <a:lnTo>
                    <a:pt x="246" y="568"/>
                  </a:lnTo>
                  <a:lnTo>
                    <a:pt x="246" y="568"/>
                  </a:lnTo>
                  <a:lnTo>
                    <a:pt x="246" y="568"/>
                  </a:lnTo>
                  <a:lnTo>
                    <a:pt x="244" y="568"/>
                  </a:lnTo>
                  <a:lnTo>
                    <a:pt x="242" y="568"/>
                  </a:lnTo>
                  <a:lnTo>
                    <a:pt x="240" y="568"/>
                  </a:lnTo>
                  <a:lnTo>
                    <a:pt x="238" y="570"/>
                  </a:lnTo>
                  <a:lnTo>
                    <a:pt x="238" y="570"/>
                  </a:lnTo>
                  <a:lnTo>
                    <a:pt x="236" y="570"/>
                  </a:lnTo>
                  <a:lnTo>
                    <a:pt x="236" y="570"/>
                  </a:lnTo>
                  <a:lnTo>
                    <a:pt x="236" y="570"/>
                  </a:lnTo>
                  <a:lnTo>
                    <a:pt x="236" y="574"/>
                  </a:lnTo>
                  <a:lnTo>
                    <a:pt x="236" y="574"/>
                  </a:lnTo>
                  <a:lnTo>
                    <a:pt x="236" y="574"/>
                  </a:lnTo>
                  <a:lnTo>
                    <a:pt x="238" y="576"/>
                  </a:lnTo>
                  <a:lnTo>
                    <a:pt x="238" y="576"/>
                  </a:lnTo>
                  <a:lnTo>
                    <a:pt x="240" y="578"/>
                  </a:lnTo>
                  <a:lnTo>
                    <a:pt x="242" y="578"/>
                  </a:lnTo>
                  <a:lnTo>
                    <a:pt x="242" y="578"/>
                  </a:lnTo>
                  <a:lnTo>
                    <a:pt x="242" y="580"/>
                  </a:lnTo>
                  <a:lnTo>
                    <a:pt x="242" y="580"/>
                  </a:lnTo>
                  <a:lnTo>
                    <a:pt x="244" y="580"/>
                  </a:lnTo>
                  <a:lnTo>
                    <a:pt x="246" y="582"/>
                  </a:lnTo>
                  <a:lnTo>
                    <a:pt x="250" y="584"/>
                  </a:lnTo>
                  <a:lnTo>
                    <a:pt x="252" y="586"/>
                  </a:lnTo>
                  <a:lnTo>
                    <a:pt x="254" y="588"/>
                  </a:lnTo>
                  <a:lnTo>
                    <a:pt x="254" y="588"/>
                  </a:lnTo>
                  <a:lnTo>
                    <a:pt x="254" y="588"/>
                  </a:lnTo>
                  <a:lnTo>
                    <a:pt x="256" y="590"/>
                  </a:lnTo>
                  <a:lnTo>
                    <a:pt x="262" y="592"/>
                  </a:lnTo>
                  <a:lnTo>
                    <a:pt x="268" y="596"/>
                  </a:lnTo>
                  <a:lnTo>
                    <a:pt x="272" y="600"/>
                  </a:lnTo>
                  <a:lnTo>
                    <a:pt x="274" y="602"/>
                  </a:lnTo>
                  <a:lnTo>
                    <a:pt x="276" y="606"/>
                  </a:lnTo>
                  <a:lnTo>
                    <a:pt x="276" y="606"/>
                  </a:lnTo>
                  <a:lnTo>
                    <a:pt x="278" y="608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8" y="610"/>
                  </a:lnTo>
                  <a:lnTo>
                    <a:pt x="272" y="612"/>
                  </a:lnTo>
                  <a:lnTo>
                    <a:pt x="268" y="612"/>
                  </a:lnTo>
                  <a:lnTo>
                    <a:pt x="262" y="612"/>
                  </a:lnTo>
                  <a:lnTo>
                    <a:pt x="256" y="612"/>
                  </a:lnTo>
                  <a:lnTo>
                    <a:pt x="252" y="610"/>
                  </a:lnTo>
                  <a:lnTo>
                    <a:pt x="250" y="610"/>
                  </a:lnTo>
                  <a:lnTo>
                    <a:pt x="250" y="610"/>
                  </a:lnTo>
                  <a:lnTo>
                    <a:pt x="248" y="610"/>
                  </a:lnTo>
                  <a:lnTo>
                    <a:pt x="248" y="608"/>
                  </a:lnTo>
                  <a:lnTo>
                    <a:pt x="246" y="606"/>
                  </a:lnTo>
                  <a:lnTo>
                    <a:pt x="244" y="602"/>
                  </a:lnTo>
                  <a:lnTo>
                    <a:pt x="244" y="600"/>
                  </a:lnTo>
                  <a:lnTo>
                    <a:pt x="242" y="598"/>
                  </a:lnTo>
                  <a:lnTo>
                    <a:pt x="242" y="594"/>
                  </a:lnTo>
                  <a:lnTo>
                    <a:pt x="240" y="592"/>
                  </a:lnTo>
                  <a:lnTo>
                    <a:pt x="238" y="584"/>
                  </a:lnTo>
                  <a:lnTo>
                    <a:pt x="236" y="576"/>
                  </a:lnTo>
                  <a:lnTo>
                    <a:pt x="232" y="566"/>
                  </a:lnTo>
                  <a:lnTo>
                    <a:pt x="230" y="558"/>
                  </a:lnTo>
                  <a:lnTo>
                    <a:pt x="228" y="552"/>
                  </a:lnTo>
                  <a:lnTo>
                    <a:pt x="228" y="548"/>
                  </a:lnTo>
                  <a:lnTo>
                    <a:pt x="226" y="546"/>
                  </a:lnTo>
                  <a:lnTo>
                    <a:pt x="226" y="546"/>
                  </a:lnTo>
                  <a:lnTo>
                    <a:pt x="226" y="544"/>
                  </a:lnTo>
                  <a:lnTo>
                    <a:pt x="222" y="542"/>
                  </a:lnTo>
                  <a:lnTo>
                    <a:pt x="220" y="540"/>
                  </a:lnTo>
                  <a:lnTo>
                    <a:pt x="220" y="538"/>
                  </a:lnTo>
                  <a:lnTo>
                    <a:pt x="218" y="536"/>
                  </a:lnTo>
                  <a:lnTo>
                    <a:pt x="218" y="530"/>
                  </a:lnTo>
                  <a:lnTo>
                    <a:pt x="216" y="524"/>
                  </a:lnTo>
                  <a:lnTo>
                    <a:pt x="216" y="524"/>
                  </a:lnTo>
                  <a:lnTo>
                    <a:pt x="214" y="522"/>
                  </a:lnTo>
                  <a:lnTo>
                    <a:pt x="210" y="520"/>
                  </a:lnTo>
                  <a:lnTo>
                    <a:pt x="206" y="518"/>
                  </a:lnTo>
                  <a:lnTo>
                    <a:pt x="200" y="516"/>
                  </a:lnTo>
                  <a:lnTo>
                    <a:pt x="196" y="512"/>
                  </a:lnTo>
                  <a:lnTo>
                    <a:pt x="196" y="512"/>
                  </a:lnTo>
                  <a:lnTo>
                    <a:pt x="192" y="508"/>
                  </a:lnTo>
                  <a:lnTo>
                    <a:pt x="190" y="506"/>
                  </a:lnTo>
                  <a:lnTo>
                    <a:pt x="188" y="504"/>
                  </a:lnTo>
                  <a:lnTo>
                    <a:pt x="188" y="504"/>
                  </a:lnTo>
                  <a:lnTo>
                    <a:pt x="188" y="500"/>
                  </a:lnTo>
                  <a:lnTo>
                    <a:pt x="188" y="500"/>
                  </a:lnTo>
                  <a:lnTo>
                    <a:pt x="188" y="498"/>
                  </a:lnTo>
                  <a:lnTo>
                    <a:pt x="188" y="498"/>
                  </a:lnTo>
                  <a:lnTo>
                    <a:pt x="190" y="498"/>
                  </a:lnTo>
                  <a:lnTo>
                    <a:pt x="192" y="498"/>
                  </a:lnTo>
                  <a:lnTo>
                    <a:pt x="192" y="498"/>
                  </a:lnTo>
                  <a:lnTo>
                    <a:pt x="192" y="498"/>
                  </a:lnTo>
                  <a:lnTo>
                    <a:pt x="192" y="500"/>
                  </a:lnTo>
                  <a:lnTo>
                    <a:pt x="196" y="502"/>
                  </a:lnTo>
                  <a:lnTo>
                    <a:pt x="198" y="506"/>
                  </a:lnTo>
                  <a:lnTo>
                    <a:pt x="200" y="510"/>
                  </a:lnTo>
                  <a:lnTo>
                    <a:pt x="200" y="510"/>
                  </a:lnTo>
                  <a:lnTo>
                    <a:pt x="202" y="510"/>
                  </a:lnTo>
                  <a:lnTo>
                    <a:pt x="206" y="512"/>
                  </a:lnTo>
                  <a:lnTo>
                    <a:pt x="212" y="512"/>
                  </a:lnTo>
                  <a:lnTo>
                    <a:pt x="218" y="514"/>
                  </a:lnTo>
                  <a:lnTo>
                    <a:pt x="222" y="516"/>
                  </a:lnTo>
                  <a:lnTo>
                    <a:pt x="222" y="516"/>
                  </a:lnTo>
                  <a:lnTo>
                    <a:pt x="222" y="516"/>
                  </a:lnTo>
                  <a:lnTo>
                    <a:pt x="224" y="518"/>
                  </a:lnTo>
                  <a:lnTo>
                    <a:pt x="226" y="518"/>
                  </a:lnTo>
                  <a:lnTo>
                    <a:pt x="228" y="518"/>
                  </a:lnTo>
                  <a:lnTo>
                    <a:pt x="228" y="520"/>
                  </a:lnTo>
                  <a:lnTo>
                    <a:pt x="230" y="522"/>
                  </a:lnTo>
                  <a:lnTo>
                    <a:pt x="232" y="524"/>
                  </a:lnTo>
                  <a:lnTo>
                    <a:pt x="234" y="526"/>
                  </a:lnTo>
                  <a:lnTo>
                    <a:pt x="234" y="526"/>
                  </a:lnTo>
                  <a:lnTo>
                    <a:pt x="236" y="526"/>
                  </a:lnTo>
                  <a:lnTo>
                    <a:pt x="240" y="526"/>
                  </a:lnTo>
                  <a:lnTo>
                    <a:pt x="244" y="528"/>
                  </a:lnTo>
                  <a:lnTo>
                    <a:pt x="248" y="530"/>
                  </a:lnTo>
                  <a:lnTo>
                    <a:pt x="252" y="532"/>
                  </a:lnTo>
                  <a:lnTo>
                    <a:pt x="252" y="532"/>
                  </a:lnTo>
                  <a:lnTo>
                    <a:pt x="254" y="532"/>
                  </a:lnTo>
                  <a:lnTo>
                    <a:pt x="258" y="532"/>
                  </a:lnTo>
                  <a:lnTo>
                    <a:pt x="264" y="534"/>
                  </a:lnTo>
                  <a:lnTo>
                    <a:pt x="272" y="536"/>
                  </a:lnTo>
                  <a:lnTo>
                    <a:pt x="276" y="536"/>
                  </a:lnTo>
                  <a:lnTo>
                    <a:pt x="282" y="536"/>
                  </a:lnTo>
                  <a:lnTo>
                    <a:pt x="286" y="538"/>
                  </a:lnTo>
                  <a:lnTo>
                    <a:pt x="292" y="538"/>
                  </a:lnTo>
                  <a:lnTo>
                    <a:pt x="292" y="538"/>
                  </a:lnTo>
                  <a:lnTo>
                    <a:pt x="294" y="538"/>
                  </a:lnTo>
                  <a:lnTo>
                    <a:pt x="298" y="534"/>
                  </a:lnTo>
                  <a:lnTo>
                    <a:pt x="302" y="532"/>
                  </a:lnTo>
                  <a:lnTo>
                    <a:pt x="306" y="530"/>
                  </a:lnTo>
                  <a:lnTo>
                    <a:pt x="312" y="526"/>
                  </a:lnTo>
                  <a:lnTo>
                    <a:pt x="316" y="522"/>
                  </a:lnTo>
                  <a:lnTo>
                    <a:pt x="316" y="522"/>
                  </a:lnTo>
                  <a:lnTo>
                    <a:pt x="316" y="522"/>
                  </a:lnTo>
                  <a:lnTo>
                    <a:pt x="318" y="518"/>
                  </a:lnTo>
                  <a:lnTo>
                    <a:pt x="318" y="518"/>
                  </a:lnTo>
                  <a:lnTo>
                    <a:pt x="320" y="518"/>
                  </a:lnTo>
                  <a:lnTo>
                    <a:pt x="320" y="516"/>
                  </a:lnTo>
                  <a:lnTo>
                    <a:pt x="322" y="512"/>
                  </a:lnTo>
                  <a:lnTo>
                    <a:pt x="322" y="510"/>
                  </a:lnTo>
                  <a:lnTo>
                    <a:pt x="324" y="506"/>
                  </a:lnTo>
                  <a:lnTo>
                    <a:pt x="324" y="502"/>
                  </a:lnTo>
                  <a:lnTo>
                    <a:pt x="324" y="496"/>
                  </a:lnTo>
                  <a:lnTo>
                    <a:pt x="324" y="496"/>
                  </a:lnTo>
                  <a:lnTo>
                    <a:pt x="324" y="496"/>
                  </a:lnTo>
                  <a:lnTo>
                    <a:pt x="324" y="492"/>
                  </a:lnTo>
                  <a:lnTo>
                    <a:pt x="322" y="490"/>
                  </a:lnTo>
                  <a:lnTo>
                    <a:pt x="322" y="486"/>
                  </a:lnTo>
                  <a:lnTo>
                    <a:pt x="322" y="486"/>
                  </a:lnTo>
                  <a:lnTo>
                    <a:pt x="322" y="486"/>
                  </a:lnTo>
                  <a:lnTo>
                    <a:pt x="318" y="482"/>
                  </a:lnTo>
                  <a:lnTo>
                    <a:pt x="316" y="480"/>
                  </a:lnTo>
                  <a:lnTo>
                    <a:pt x="316" y="480"/>
                  </a:lnTo>
                  <a:lnTo>
                    <a:pt x="316" y="478"/>
                  </a:lnTo>
                  <a:lnTo>
                    <a:pt x="312" y="476"/>
                  </a:lnTo>
                  <a:lnTo>
                    <a:pt x="308" y="474"/>
                  </a:lnTo>
                  <a:lnTo>
                    <a:pt x="306" y="472"/>
                  </a:lnTo>
                  <a:lnTo>
                    <a:pt x="304" y="468"/>
                  </a:lnTo>
                  <a:lnTo>
                    <a:pt x="300" y="462"/>
                  </a:lnTo>
                  <a:lnTo>
                    <a:pt x="298" y="458"/>
                  </a:lnTo>
                  <a:lnTo>
                    <a:pt x="296" y="454"/>
                  </a:lnTo>
                  <a:lnTo>
                    <a:pt x="292" y="448"/>
                  </a:lnTo>
                  <a:lnTo>
                    <a:pt x="292" y="448"/>
                  </a:lnTo>
                  <a:lnTo>
                    <a:pt x="286" y="442"/>
                  </a:lnTo>
                  <a:lnTo>
                    <a:pt x="282" y="438"/>
                  </a:lnTo>
                  <a:lnTo>
                    <a:pt x="276" y="434"/>
                  </a:lnTo>
                  <a:lnTo>
                    <a:pt x="276" y="434"/>
                  </a:lnTo>
                  <a:lnTo>
                    <a:pt x="274" y="434"/>
                  </a:lnTo>
                  <a:lnTo>
                    <a:pt x="270" y="434"/>
                  </a:lnTo>
                  <a:lnTo>
                    <a:pt x="266" y="432"/>
                  </a:lnTo>
                  <a:lnTo>
                    <a:pt x="262" y="430"/>
                  </a:lnTo>
                  <a:lnTo>
                    <a:pt x="258" y="428"/>
                  </a:lnTo>
                  <a:lnTo>
                    <a:pt x="248" y="424"/>
                  </a:lnTo>
                  <a:lnTo>
                    <a:pt x="244" y="422"/>
                  </a:lnTo>
                  <a:lnTo>
                    <a:pt x="240" y="418"/>
                  </a:lnTo>
                  <a:lnTo>
                    <a:pt x="240" y="418"/>
                  </a:lnTo>
                  <a:lnTo>
                    <a:pt x="238" y="418"/>
                  </a:lnTo>
                  <a:lnTo>
                    <a:pt x="234" y="418"/>
                  </a:lnTo>
                  <a:lnTo>
                    <a:pt x="230" y="418"/>
                  </a:lnTo>
                  <a:lnTo>
                    <a:pt x="224" y="418"/>
                  </a:lnTo>
                  <a:lnTo>
                    <a:pt x="218" y="418"/>
                  </a:lnTo>
                  <a:lnTo>
                    <a:pt x="214" y="418"/>
                  </a:lnTo>
                  <a:lnTo>
                    <a:pt x="210" y="418"/>
                  </a:lnTo>
                  <a:lnTo>
                    <a:pt x="206" y="418"/>
                  </a:lnTo>
                  <a:lnTo>
                    <a:pt x="206" y="418"/>
                  </a:lnTo>
                  <a:lnTo>
                    <a:pt x="206" y="418"/>
                  </a:lnTo>
                  <a:lnTo>
                    <a:pt x="204" y="418"/>
                  </a:lnTo>
                  <a:lnTo>
                    <a:pt x="204" y="416"/>
                  </a:lnTo>
                  <a:lnTo>
                    <a:pt x="204" y="414"/>
                  </a:lnTo>
                  <a:lnTo>
                    <a:pt x="204" y="410"/>
                  </a:lnTo>
                  <a:lnTo>
                    <a:pt x="204" y="406"/>
                  </a:lnTo>
                  <a:lnTo>
                    <a:pt x="202" y="402"/>
                  </a:lnTo>
                  <a:lnTo>
                    <a:pt x="202" y="402"/>
                  </a:lnTo>
                  <a:lnTo>
                    <a:pt x="200" y="400"/>
                  </a:lnTo>
                  <a:lnTo>
                    <a:pt x="196" y="400"/>
                  </a:lnTo>
                  <a:lnTo>
                    <a:pt x="194" y="398"/>
                  </a:lnTo>
                  <a:lnTo>
                    <a:pt x="186" y="396"/>
                  </a:lnTo>
                  <a:lnTo>
                    <a:pt x="180" y="396"/>
                  </a:lnTo>
                  <a:lnTo>
                    <a:pt x="174" y="396"/>
                  </a:lnTo>
                  <a:lnTo>
                    <a:pt x="174" y="396"/>
                  </a:lnTo>
                  <a:lnTo>
                    <a:pt x="172" y="396"/>
                  </a:lnTo>
                  <a:lnTo>
                    <a:pt x="164" y="400"/>
                  </a:lnTo>
                  <a:lnTo>
                    <a:pt x="156" y="406"/>
                  </a:lnTo>
                  <a:lnTo>
                    <a:pt x="152" y="410"/>
                  </a:lnTo>
                  <a:lnTo>
                    <a:pt x="148" y="412"/>
                  </a:lnTo>
                  <a:lnTo>
                    <a:pt x="144" y="416"/>
                  </a:lnTo>
                  <a:lnTo>
                    <a:pt x="142" y="420"/>
                  </a:lnTo>
                  <a:lnTo>
                    <a:pt x="140" y="422"/>
                  </a:lnTo>
                  <a:lnTo>
                    <a:pt x="138" y="424"/>
                  </a:lnTo>
                  <a:lnTo>
                    <a:pt x="134" y="426"/>
                  </a:lnTo>
                  <a:lnTo>
                    <a:pt x="132" y="428"/>
                  </a:lnTo>
                  <a:lnTo>
                    <a:pt x="132" y="428"/>
                  </a:lnTo>
                  <a:lnTo>
                    <a:pt x="132" y="428"/>
                  </a:lnTo>
                  <a:lnTo>
                    <a:pt x="130" y="428"/>
                  </a:lnTo>
                  <a:lnTo>
                    <a:pt x="130" y="428"/>
                  </a:lnTo>
                  <a:lnTo>
                    <a:pt x="130" y="430"/>
                  </a:lnTo>
                  <a:lnTo>
                    <a:pt x="128" y="432"/>
                  </a:lnTo>
                  <a:lnTo>
                    <a:pt x="128" y="432"/>
                  </a:lnTo>
                  <a:lnTo>
                    <a:pt x="128" y="432"/>
                  </a:lnTo>
                  <a:lnTo>
                    <a:pt x="128" y="434"/>
                  </a:lnTo>
                  <a:lnTo>
                    <a:pt x="128" y="434"/>
                  </a:lnTo>
                  <a:lnTo>
                    <a:pt x="128" y="434"/>
                  </a:lnTo>
                  <a:lnTo>
                    <a:pt x="128" y="436"/>
                  </a:lnTo>
                  <a:lnTo>
                    <a:pt x="128" y="436"/>
                  </a:lnTo>
                  <a:lnTo>
                    <a:pt x="130" y="438"/>
                  </a:lnTo>
                  <a:lnTo>
                    <a:pt x="130" y="440"/>
                  </a:lnTo>
                  <a:lnTo>
                    <a:pt x="132" y="442"/>
                  </a:lnTo>
                  <a:lnTo>
                    <a:pt x="134" y="446"/>
                  </a:lnTo>
                  <a:lnTo>
                    <a:pt x="138" y="448"/>
                  </a:lnTo>
                  <a:lnTo>
                    <a:pt x="138" y="450"/>
                  </a:lnTo>
                  <a:lnTo>
                    <a:pt x="140" y="452"/>
                  </a:lnTo>
                  <a:lnTo>
                    <a:pt x="140" y="452"/>
                  </a:lnTo>
                  <a:lnTo>
                    <a:pt x="140" y="452"/>
                  </a:lnTo>
                  <a:lnTo>
                    <a:pt x="140" y="454"/>
                  </a:lnTo>
                  <a:lnTo>
                    <a:pt x="142" y="454"/>
                  </a:lnTo>
                  <a:lnTo>
                    <a:pt x="142" y="454"/>
                  </a:lnTo>
                  <a:lnTo>
                    <a:pt x="142" y="456"/>
                  </a:lnTo>
                  <a:lnTo>
                    <a:pt x="142" y="456"/>
                  </a:lnTo>
                  <a:lnTo>
                    <a:pt x="142" y="456"/>
                  </a:lnTo>
                  <a:lnTo>
                    <a:pt x="142" y="458"/>
                  </a:lnTo>
                  <a:lnTo>
                    <a:pt x="142" y="458"/>
                  </a:lnTo>
                  <a:lnTo>
                    <a:pt x="142" y="460"/>
                  </a:lnTo>
                  <a:lnTo>
                    <a:pt x="142" y="460"/>
                  </a:lnTo>
                  <a:lnTo>
                    <a:pt x="142" y="460"/>
                  </a:lnTo>
                  <a:lnTo>
                    <a:pt x="142" y="464"/>
                  </a:lnTo>
                  <a:lnTo>
                    <a:pt x="144" y="466"/>
                  </a:lnTo>
                  <a:lnTo>
                    <a:pt x="146" y="472"/>
                  </a:lnTo>
                  <a:lnTo>
                    <a:pt x="148" y="476"/>
                  </a:lnTo>
                  <a:lnTo>
                    <a:pt x="148" y="478"/>
                  </a:lnTo>
                  <a:lnTo>
                    <a:pt x="150" y="482"/>
                  </a:lnTo>
                  <a:lnTo>
                    <a:pt x="150" y="484"/>
                  </a:lnTo>
                  <a:lnTo>
                    <a:pt x="148" y="486"/>
                  </a:lnTo>
                  <a:lnTo>
                    <a:pt x="146" y="490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2"/>
                  </a:lnTo>
                  <a:lnTo>
                    <a:pt x="144" y="494"/>
                  </a:lnTo>
                  <a:lnTo>
                    <a:pt x="144" y="494"/>
                  </a:lnTo>
                  <a:lnTo>
                    <a:pt x="144" y="496"/>
                  </a:lnTo>
                  <a:lnTo>
                    <a:pt x="144" y="498"/>
                  </a:lnTo>
                  <a:lnTo>
                    <a:pt x="144" y="502"/>
                  </a:lnTo>
                  <a:lnTo>
                    <a:pt x="144" y="504"/>
                  </a:lnTo>
                  <a:lnTo>
                    <a:pt x="144" y="508"/>
                  </a:lnTo>
                  <a:lnTo>
                    <a:pt x="144" y="508"/>
                  </a:lnTo>
                  <a:lnTo>
                    <a:pt x="144" y="510"/>
                  </a:lnTo>
                  <a:lnTo>
                    <a:pt x="148" y="514"/>
                  </a:lnTo>
                  <a:lnTo>
                    <a:pt x="148" y="516"/>
                  </a:lnTo>
                  <a:lnTo>
                    <a:pt x="150" y="520"/>
                  </a:lnTo>
                  <a:lnTo>
                    <a:pt x="150" y="524"/>
                  </a:lnTo>
                  <a:lnTo>
                    <a:pt x="152" y="532"/>
                  </a:lnTo>
                  <a:lnTo>
                    <a:pt x="154" y="542"/>
                  </a:lnTo>
                  <a:lnTo>
                    <a:pt x="154" y="544"/>
                  </a:lnTo>
                  <a:lnTo>
                    <a:pt x="154" y="544"/>
                  </a:lnTo>
                  <a:lnTo>
                    <a:pt x="154" y="546"/>
                  </a:lnTo>
                  <a:lnTo>
                    <a:pt x="156" y="546"/>
                  </a:lnTo>
                  <a:lnTo>
                    <a:pt x="156" y="550"/>
                  </a:lnTo>
                  <a:lnTo>
                    <a:pt x="158" y="552"/>
                  </a:lnTo>
                  <a:lnTo>
                    <a:pt x="158" y="554"/>
                  </a:lnTo>
                  <a:lnTo>
                    <a:pt x="158" y="556"/>
                  </a:lnTo>
                  <a:lnTo>
                    <a:pt x="158" y="560"/>
                  </a:lnTo>
                  <a:lnTo>
                    <a:pt x="158" y="564"/>
                  </a:lnTo>
                  <a:lnTo>
                    <a:pt x="158" y="570"/>
                  </a:lnTo>
                  <a:lnTo>
                    <a:pt x="156" y="576"/>
                  </a:lnTo>
                  <a:lnTo>
                    <a:pt x="156" y="584"/>
                  </a:lnTo>
                  <a:lnTo>
                    <a:pt x="154" y="592"/>
                  </a:lnTo>
                  <a:lnTo>
                    <a:pt x="154" y="598"/>
                  </a:lnTo>
                  <a:lnTo>
                    <a:pt x="154" y="606"/>
                  </a:lnTo>
                  <a:lnTo>
                    <a:pt x="154" y="612"/>
                  </a:lnTo>
                  <a:lnTo>
                    <a:pt x="154" y="612"/>
                  </a:lnTo>
                  <a:lnTo>
                    <a:pt x="154" y="612"/>
                  </a:lnTo>
                  <a:lnTo>
                    <a:pt x="156" y="616"/>
                  </a:lnTo>
                  <a:lnTo>
                    <a:pt x="158" y="622"/>
                  </a:lnTo>
                  <a:lnTo>
                    <a:pt x="164" y="628"/>
                  </a:lnTo>
                  <a:lnTo>
                    <a:pt x="166" y="632"/>
                  </a:lnTo>
                  <a:lnTo>
                    <a:pt x="168" y="636"/>
                  </a:lnTo>
                  <a:lnTo>
                    <a:pt x="170" y="640"/>
                  </a:lnTo>
                  <a:lnTo>
                    <a:pt x="172" y="644"/>
                  </a:lnTo>
                  <a:lnTo>
                    <a:pt x="170" y="648"/>
                  </a:lnTo>
                  <a:lnTo>
                    <a:pt x="170" y="648"/>
                  </a:lnTo>
                  <a:lnTo>
                    <a:pt x="170" y="650"/>
                  </a:lnTo>
                  <a:lnTo>
                    <a:pt x="170" y="656"/>
                  </a:lnTo>
                  <a:lnTo>
                    <a:pt x="168" y="662"/>
                  </a:lnTo>
                  <a:lnTo>
                    <a:pt x="168" y="666"/>
                  </a:lnTo>
                  <a:lnTo>
                    <a:pt x="168" y="668"/>
                  </a:lnTo>
                  <a:lnTo>
                    <a:pt x="166" y="668"/>
                  </a:lnTo>
                  <a:lnTo>
                    <a:pt x="166" y="668"/>
                  </a:lnTo>
                  <a:lnTo>
                    <a:pt x="164" y="668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60" y="670"/>
                  </a:lnTo>
                  <a:lnTo>
                    <a:pt x="158" y="670"/>
                  </a:lnTo>
                  <a:lnTo>
                    <a:pt x="158" y="672"/>
                  </a:lnTo>
                  <a:lnTo>
                    <a:pt x="158" y="672"/>
                  </a:lnTo>
                  <a:lnTo>
                    <a:pt x="156" y="672"/>
                  </a:lnTo>
                  <a:lnTo>
                    <a:pt x="156" y="674"/>
                  </a:lnTo>
                  <a:lnTo>
                    <a:pt x="156" y="674"/>
                  </a:lnTo>
                  <a:lnTo>
                    <a:pt x="156" y="674"/>
                  </a:lnTo>
                  <a:lnTo>
                    <a:pt x="156" y="676"/>
                  </a:lnTo>
                  <a:lnTo>
                    <a:pt x="156" y="680"/>
                  </a:lnTo>
                  <a:lnTo>
                    <a:pt x="156" y="684"/>
                  </a:lnTo>
                  <a:lnTo>
                    <a:pt x="154" y="686"/>
                  </a:lnTo>
                  <a:lnTo>
                    <a:pt x="154" y="686"/>
                  </a:lnTo>
                  <a:lnTo>
                    <a:pt x="150" y="688"/>
                  </a:lnTo>
                  <a:lnTo>
                    <a:pt x="146" y="692"/>
                  </a:lnTo>
                  <a:lnTo>
                    <a:pt x="144" y="696"/>
                  </a:lnTo>
                  <a:lnTo>
                    <a:pt x="144" y="696"/>
                  </a:lnTo>
                  <a:lnTo>
                    <a:pt x="144" y="698"/>
                  </a:lnTo>
                  <a:lnTo>
                    <a:pt x="142" y="700"/>
                  </a:lnTo>
                  <a:lnTo>
                    <a:pt x="140" y="702"/>
                  </a:lnTo>
                  <a:lnTo>
                    <a:pt x="138" y="704"/>
                  </a:lnTo>
                  <a:lnTo>
                    <a:pt x="136" y="706"/>
                  </a:lnTo>
                  <a:lnTo>
                    <a:pt x="134" y="708"/>
                  </a:lnTo>
                  <a:lnTo>
                    <a:pt x="134" y="710"/>
                  </a:lnTo>
                  <a:lnTo>
                    <a:pt x="134" y="710"/>
                  </a:lnTo>
                  <a:lnTo>
                    <a:pt x="134" y="710"/>
                  </a:lnTo>
                  <a:lnTo>
                    <a:pt x="132" y="712"/>
                  </a:lnTo>
                  <a:lnTo>
                    <a:pt x="132" y="712"/>
                  </a:lnTo>
                  <a:lnTo>
                    <a:pt x="132" y="712"/>
                  </a:lnTo>
                  <a:lnTo>
                    <a:pt x="132" y="714"/>
                  </a:lnTo>
                  <a:lnTo>
                    <a:pt x="132" y="714"/>
                  </a:lnTo>
                  <a:lnTo>
                    <a:pt x="132" y="716"/>
                  </a:lnTo>
                  <a:lnTo>
                    <a:pt x="134" y="718"/>
                  </a:lnTo>
                  <a:lnTo>
                    <a:pt x="134" y="718"/>
                  </a:lnTo>
                  <a:lnTo>
                    <a:pt x="134" y="718"/>
                  </a:lnTo>
                  <a:lnTo>
                    <a:pt x="136" y="722"/>
                  </a:lnTo>
                  <a:lnTo>
                    <a:pt x="138" y="724"/>
                  </a:lnTo>
                  <a:lnTo>
                    <a:pt x="140" y="728"/>
                  </a:lnTo>
                  <a:lnTo>
                    <a:pt x="140" y="728"/>
                  </a:lnTo>
                  <a:lnTo>
                    <a:pt x="142" y="728"/>
                  </a:lnTo>
                  <a:lnTo>
                    <a:pt x="144" y="732"/>
                  </a:lnTo>
                  <a:lnTo>
                    <a:pt x="146" y="734"/>
                  </a:lnTo>
                  <a:lnTo>
                    <a:pt x="148" y="736"/>
                  </a:lnTo>
                  <a:lnTo>
                    <a:pt x="150" y="738"/>
                  </a:lnTo>
                  <a:lnTo>
                    <a:pt x="146" y="738"/>
                  </a:lnTo>
                  <a:lnTo>
                    <a:pt x="142" y="738"/>
                  </a:lnTo>
                  <a:lnTo>
                    <a:pt x="140" y="740"/>
                  </a:lnTo>
                  <a:lnTo>
                    <a:pt x="140" y="740"/>
                  </a:lnTo>
                  <a:lnTo>
                    <a:pt x="140" y="740"/>
                  </a:lnTo>
                  <a:lnTo>
                    <a:pt x="138" y="740"/>
                  </a:lnTo>
                  <a:lnTo>
                    <a:pt x="138" y="740"/>
                  </a:lnTo>
                  <a:lnTo>
                    <a:pt x="136" y="740"/>
                  </a:lnTo>
                  <a:lnTo>
                    <a:pt x="134" y="742"/>
                  </a:lnTo>
                  <a:lnTo>
                    <a:pt x="134" y="742"/>
                  </a:lnTo>
                  <a:lnTo>
                    <a:pt x="134" y="742"/>
                  </a:lnTo>
                  <a:lnTo>
                    <a:pt x="132" y="744"/>
                  </a:lnTo>
                  <a:lnTo>
                    <a:pt x="132" y="744"/>
                  </a:lnTo>
                  <a:lnTo>
                    <a:pt x="132" y="746"/>
                  </a:lnTo>
                  <a:lnTo>
                    <a:pt x="132" y="748"/>
                  </a:lnTo>
                  <a:lnTo>
                    <a:pt x="130" y="748"/>
                  </a:lnTo>
                  <a:lnTo>
                    <a:pt x="130" y="748"/>
                  </a:lnTo>
                  <a:lnTo>
                    <a:pt x="130" y="750"/>
                  </a:lnTo>
                  <a:lnTo>
                    <a:pt x="130" y="750"/>
                  </a:lnTo>
                  <a:lnTo>
                    <a:pt x="130" y="750"/>
                  </a:lnTo>
                  <a:lnTo>
                    <a:pt x="130" y="752"/>
                  </a:lnTo>
                  <a:lnTo>
                    <a:pt x="128" y="756"/>
                  </a:lnTo>
                  <a:lnTo>
                    <a:pt x="128" y="756"/>
                  </a:lnTo>
                  <a:lnTo>
                    <a:pt x="128" y="756"/>
                  </a:lnTo>
                  <a:lnTo>
                    <a:pt x="128" y="760"/>
                  </a:lnTo>
                  <a:lnTo>
                    <a:pt x="128" y="762"/>
                  </a:lnTo>
                  <a:lnTo>
                    <a:pt x="128" y="766"/>
                  </a:lnTo>
                  <a:lnTo>
                    <a:pt x="126" y="768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6" y="772"/>
                  </a:lnTo>
                  <a:lnTo>
                    <a:pt x="124" y="774"/>
                  </a:lnTo>
                  <a:lnTo>
                    <a:pt x="124" y="774"/>
                  </a:lnTo>
                  <a:lnTo>
                    <a:pt x="124" y="776"/>
                  </a:lnTo>
                  <a:lnTo>
                    <a:pt x="124" y="778"/>
                  </a:lnTo>
                  <a:lnTo>
                    <a:pt x="124" y="778"/>
                  </a:lnTo>
                  <a:lnTo>
                    <a:pt x="124" y="778"/>
                  </a:lnTo>
                  <a:lnTo>
                    <a:pt x="124" y="780"/>
                  </a:lnTo>
                  <a:lnTo>
                    <a:pt x="124" y="782"/>
                  </a:lnTo>
                  <a:lnTo>
                    <a:pt x="122" y="784"/>
                  </a:lnTo>
                  <a:lnTo>
                    <a:pt x="122" y="788"/>
                  </a:lnTo>
                  <a:lnTo>
                    <a:pt x="122" y="790"/>
                  </a:lnTo>
                  <a:lnTo>
                    <a:pt x="122" y="792"/>
                  </a:lnTo>
                  <a:lnTo>
                    <a:pt x="122" y="792"/>
                  </a:lnTo>
                  <a:lnTo>
                    <a:pt x="122" y="792"/>
                  </a:lnTo>
                  <a:lnTo>
                    <a:pt x="124" y="794"/>
                  </a:lnTo>
                  <a:lnTo>
                    <a:pt x="124" y="794"/>
                  </a:lnTo>
                  <a:lnTo>
                    <a:pt x="124" y="794"/>
                  </a:lnTo>
                  <a:lnTo>
                    <a:pt x="124" y="796"/>
                  </a:lnTo>
                  <a:lnTo>
                    <a:pt x="124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6" y="796"/>
                  </a:lnTo>
                  <a:lnTo>
                    <a:pt x="128" y="796"/>
                  </a:lnTo>
                  <a:lnTo>
                    <a:pt x="128" y="796"/>
                  </a:lnTo>
                  <a:lnTo>
                    <a:pt x="128" y="796"/>
                  </a:lnTo>
                  <a:lnTo>
                    <a:pt x="128" y="798"/>
                  </a:lnTo>
                  <a:lnTo>
                    <a:pt x="130" y="800"/>
                  </a:lnTo>
                  <a:lnTo>
                    <a:pt x="130" y="800"/>
                  </a:lnTo>
                  <a:lnTo>
                    <a:pt x="130" y="800"/>
                  </a:lnTo>
                  <a:lnTo>
                    <a:pt x="132" y="802"/>
                  </a:lnTo>
                  <a:lnTo>
                    <a:pt x="134" y="802"/>
                  </a:lnTo>
                  <a:lnTo>
                    <a:pt x="134" y="804"/>
                  </a:lnTo>
                  <a:lnTo>
                    <a:pt x="134" y="804"/>
                  </a:lnTo>
                  <a:lnTo>
                    <a:pt x="132" y="806"/>
                  </a:lnTo>
                  <a:lnTo>
                    <a:pt x="132" y="808"/>
                  </a:lnTo>
                  <a:lnTo>
                    <a:pt x="132" y="810"/>
                  </a:lnTo>
                  <a:lnTo>
                    <a:pt x="130" y="814"/>
                  </a:lnTo>
                  <a:lnTo>
                    <a:pt x="130" y="818"/>
                  </a:lnTo>
                  <a:lnTo>
                    <a:pt x="128" y="822"/>
                  </a:lnTo>
                  <a:lnTo>
                    <a:pt x="128" y="826"/>
                  </a:lnTo>
                  <a:lnTo>
                    <a:pt x="128" y="828"/>
                  </a:lnTo>
                  <a:lnTo>
                    <a:pt x="128" y="828"/>
                  </a:lnTo>
                  <a:lnTo>
                    <a:pt x="128" y="830"/>
                  </a:lnTo>
                  <a:lnTo>
                    <a:pt x="128" y="832"/>
                  </a:lnTo>
                  <a:lnTo>
                    <a:pt x="128" y="832"/>
                  </a:lnTo>
                  <a:lnTo>
                    <a:pt x="128" y="832"/>
                  </a:lnTo>
                  <a:lnTo>
                    <a:pt x="130" y="834"/>
                  </a:lnTo>
                  <a:lnTo>
                    <a:pt x="130" y="834"/>
                  </a:lnTo>
                  <a:lnTo>
                    <a:pt x="130" y="836"/>
                  </a:lnTo>
                  <a:lnTo>
                    <a:pt x="132" y="838"/>
                  </a:lnTo>
                  <a:lnTo>
                    <a:pt x="132" y="838"/>
                  </a:lnTo>
                  <a:lnTo>
                    <a:pt x="132" y="838"/>
                  </a:lnTo>
                  <a:lnTo>
                    <a:pt x="136" y="840"/>
                  </a:lnTo>
                  <a:lnTo>
                    <a:pt x="140" y="844"/>
                  </a:lnTo>
                  <a:lnTo>
                    <a:pt x="144" y="846"/>
                  </a:lnTo>
                  <a:lnTo>
                    <a:pt x="148" y="848"/>
                  </a:lnTo>
                  <a:lnTo>
                    <a:pt x="152" y="852"/>
                  </a:lnTo>
                  <a:lnTo>
                    <a:pt x="154" y="856"/>
                  </a:lnTo>
                  <a:lnTo>
                    <a:pt x="158" y="858"/>
                  </a:lnTo>
                  <a:lnTo>
                    <a:pt x="160" y="860"/>
                  </a:lnTo>
                  <a:lnTo>
                    <a:pt x="160" y="860"/>
                  </a:lnTo>
                  <a:lnTo>
                    <a:pt x="162" y="862"/>
                  </a:lnTo>
                  <a:lnTo>
                    <a:pt x="162" y="862"/>
                  </a:lnTo>
                  <a:lnTo>
                    <a:pt x="164" y="864"/>
                  </a:lnTo>
                  <a:lnTo>
                    <a:pt x="164" y="866"/>
                  </a:lnTo>
                  <a:lnTo>
                    <a:pt x="164" y="868"/>
                  </a:lnTo>
                  <a:lnTo>
                    <a:pt x="166" y="872"/>
                  </a:lnTo>
                  <a:lnTo>
                    <a:pt x="168" y="878"/>
                  </a:lnTo>
                  <a:lnTo>
                    <a:pt x="170" y="882"/>
                  </a:lnTo>
                  <a:lnTo>
                    <a:pt x="172" y="886"/>
                  </a:lnTo>
                  <a:lnTo>
                    <a:pt x="172" y="890"/>
                  </a:lnTo>
                  <a:lnTo>
                    <a:pt x="172" y="892"/>
                  </a:lnTo>
                  <a:lnTo>
                    <a:pt x="172" y="898"/>
                  </a:lnTo>
                  <a:lnTo>
                    <a:pt x="172" y="902"/>
                  </a:lnTo>
                  <a:lnTo>
                    <a:pt x="172" y="906"/>
                  </a:lnTo>
                  <a:lnTo>
                    <a:pt x="172" y="906"/>
                  </a:lnTo>
                  <a:lnTo>
                    <a:pt x="172" y="906"/>
                  </a:lnTo>
                  <a:lnTo>
                    <a:pt x="172" y="908"/>
                  </a:lnTo>
                  <a:lnTo>
                    <a:pt x="172" y="910"/>
                  </a:lnTo>
                  <a:lnTo>
                    <a:pt x="172" y="912"/>
                  </a:lnTo>
                  <a:lnTo>
                    <a:pt x="174" y="916"/>
                  </a:lnTo>
                  <a:lnTo>
                    <a:pt x="174" y="918"/>
                  </a:lnTo>
                  <a:lnTo>
                    <a:pt x="174" y="920"/>
                  </a:lnTo>
                  <a:lnTo>
                    <a:pt x="174" y="922"/>
                  </a:lnTo>
                  <a:lnTo>
                    <a:pt x="174" y="922"/>
                  </a:lnTo>
                  <a:lnTo>
                    <a:pt x="174" y="924"/>
                  </a:lnTo>
                  <a:lnTo>
                    <a:pt x="172" y="926"/>
                  </a:lnTo>
                  <a:lnTo>
                    <a:pt x="170" y="928"/>
                  </a:lnTo>
                  <a:lnTo>
                    <a:pt x="170" y="930"/>
                  </a:lnTo>
                  <a:lnTo>
                    <a:pt x="170" y="930"/>
                  </a:lnTo>
                  <a:lnTo>
                    <a:pt x="170" y="930"/>
                  </a:lnTo>
                  <a:lnTo>
                    <a:pt x="168" y="932"/>
                  </a:lnTo>
                  <a:lnTo>
                    <a:pt x="168" y="932"/>
                  </a:lnTo>
                  <a:lnTo>
                    <a:pt x="168" y="934"/>
                  </a:lnTo>
                  <a:lnTo>
                    <a:pt x="168" y="936"/>
                  </a:lnTo>
                  <a:lnTo>
                    <a:pt x="168" y="936"/>
                  </a:lnTo>
                  <a:lnTo>
                    <a:pt x="170" y="936"/>
                  </a:lnTo>
                  <a:lnTo>
                    <a:pt x="170" y="938"/>
                  </a:lnTo>
                  <a:lnTo>
                    <a:pt x="170" y="938"/>
                  </a:lnTo>
                  <a:lnTo>
                    <a:pt x="170" y="938"/>
                  </a:lnTo>
                  <a:lnTo>
                    <a:pt x="172" y="940"/>
                  </a:lnTo>
                  <a:lnTo>
                    <a:pt x="172" y="940"/>
                  </a:lnTo>
                  <a:lnTo>
                    <a:pt x="172" y="940"/>
                  </a:lnTo>
                  <a:lnTo>
                    <a:pt x="174" y="940"/>
                  </a:lnTo>
                  <a:lnTo>
                    <a:pt x="176" y="942"/>
                  </a:lnTo>
                  <a:lnTo>
                    <a:pt x="178" y="942"/>
                  </a:lnTo>
                  <a:lnTo>
                    <a:pt x="182" y="942"/>
                  </a:lnTo>
                  <a:lnTo>
                    <a:pt x="188" y="942"/>
                  </a:lnTo>
                  <a:lnTo>
                    <a:pt x="194" y="942"/>
                  </a:lnTo>
                  <a:lnTo>
                    <a:pt x="200" y="942"/>
                  </a:lnTo>
                  <a:lnTo>
                    <a:pt x="206" y="942"/>
                  </a:lnTo>
                  <a:lnTo>
                    <a:pt x="210" y="942"/>
                  </a:lnTo>
                  <a:lnTo>
                    <a:pt x="212" y="942"/>
                  </a:lnTo>
                  <a:lnTo>
                    <a:pt x="214" y="942"/>
                  </a:lnTo>
                  <a:lnTo>
                    <a:pt x="216" y="942"/>
                  </a:lnTo>
                  <a:lnTo>
                    <a:pt x="216" y="944"/>
                  </a:lnTo>
                  <a:lnTo>
                    <a:pt x="218" y="946"/>
                  </a:lnTo>
                  <a:lnTo>
                    <a:pt x="218" y="946"/>
                  </a:lnTo>
                  <a:lnTo>
                    <a:pt x="218" y="952"/>
                  </a:lnTo>
                  <a:lnTo>
                    <a:pt x="218" y="954"/>
                  </a:lnTo>
                  <a:lnTo>
                    <a:pt x="218" y="954"/>
                  </a:lnTo>
                  <a:lnTo>
                    <a:pt x="220" y="954"/>
                  </a:lnTo>
                  <a:lnTo>
                    <a:pt x="220" y="956"/>
                  </a:lnTo>
                  <a:lnTo>
                    <a:pt x="220" y="956"/>
                  </a:lnTo>
                  <a:lnTo>
                    <a:pt x="220" y="956"/>
                  </a:lnTo>
                  <a:lnTo>
                    <a:pt x="222" y="958"/>
                  </a:lnTo>
                  <a:lnTo>
                    <a:pt x="222" y="958"/>
                  </a:lnTo>
                  <a:lnTo>
                    <a:pt x="222" y="958"/>
                  </a:lnTo>
                  <a:lnTo>
                    <a:pt x="224" y="960"/>
                  </a:lnTo>
                  <a:lnTo>
                    <a:pt x="224" y="960"/>
                  </a:lnTo>
                  <a:lnTo>
                    <a:pt x="224" y="960"/>
                  </a:lnTo>
                  <a:lnTo>
                    <a:pt x="228" y="962"/>
                  </a:lnTo>
                  <a:lnTo>
                    <a:pt x="232" y="964"/>
                  </a:lnTo>
                  <a:lnTo>
                    <a:pt x="232" y="964"/>
                  </a:lnTo>
                  <a:lnTo>
                    <a:pt x="234" y="966"/>
                  </a:lnTo>
                  <a:lnTo>
                    <a:pt x="234" y="966"/>
                  </a:lnTo>
                  <a:lnTo>
                    <a:pt x="234" y="966"/>
                  </a:lnTo>
                  <a:lnTo>
                    <a:pt x="238" y="970"/>
                  </a:lnTo>
                  <a:lnTo>
                    <a:pt x="242" y="974"/>
                  </a:lnTo>
                  <a:lnTo>
                    <a:pt x="248" y="978"/>
                  </a:lnTo>
                  <a:lnTo>
                    <a:pt x="252" y="980"/>
                  </a:lnTo>
                  <a:lnTo>
                    <a:pt x="252" y="980"/>
                  </a:lnTo>
                  <a:lnTo>
                    <a:pt x="252" y="982"/>
                  </a:lnTo>
                  <a:lnTo>
                    <a:pt x="254" y="982"/>
                  </a:lnTo>
                  <a:lnTo>
                    <a:pt x="254" y="982"/>
                  </a:lnTo>
                  <a:lnTo>
                    <a:pt x="256" y="982"/>
                  </a:lnTo>
                  <a:lnTo>
                    <a:pt x="260" y="982"/>
                  </a:lnTo>
                  <a:lnTo>
                    <a:pt x="266" y="984"/>
                  </a:lnTo>
                  <a:lnTo>
                    <a:pt x="268" y="986"/>
                  </a:lnTo>
                  <a:lnTo>
                    <a:pt x="270" y="986"/>
                  </a:lnTo>
                  <a:lnTo>
                    <a:pt x="272" y="988"/>
                  </a:lnTo>
                  <a:lnTo>
                    <a:pt x="272" y="988"/>
                  </a:lnTo>
                  <a:lnTo>
                    <a:pt x="274" y="988"/>
                  </a:lnTo>
                  <a:lnTo>
                    <a:pt x="274" y="990"/>
                  </a:lnTo>
                  <a:lnTo>
                    <a:pt x="274" y="990"/>
                  </a:lnTo>
                  <a:lnTo>
                    <a:pt x="276" y="990"/>
                  </a:lnTo>
                  <a:lnTo>
                    <a:pt x="278" y="990"/>
                  </a:lnTo>
                  <a:lnTo>
                    <a:pt x="278" y="990"/>
                  </a:lnTo>
                  <a:lnTo>
                    <a:pt x="278" y="990"/>
                  </a:lnTo>
                  <a:lnTo>
                    <a:pt x="280" y="990"/>
                  </a:lnTo>
                  <a:lnTo>
                    <a:pt x="280" y="988"/>
                  </a:lnTo>
                  <a:lnTo>
                    <a:pt x="282" y="988"/>
                  </a:lnTo>
                  <a:lnTo>
                    <a:pt x="284" y="988"/>
                  </a:lnTo>
                  <a:lnTo>
                    <a:pt x="286" y="988"/>
                  </a:lnTo>
                  <a:lnTo>
                    <a:pt x="288" y="988"/>
                  </a:lnTo>
                  <a:lnTo>
                    <a:pt x="290" y="990"/>
                  </a:lnTo>
                  <a:lnTo>
                    <a:pt x="296" y="992"/>
                  </a:lnTo>
                  <a:lnTo>
                    <a:pt x="300" y="994"/>
                  </a:lnTo>
                  <a:lnTo>
                    <a:pt x="304" y="996"/>
                  </a:lnTo>
                  <a:lnTo>
                    <a:pt x="306" y="998"/>
                  </a:lnTo>
                  <a:lnTo>
                    <a:pt x="306" y="998"/>
                  </a:lnTo>
                  <a:lnTo>
                    <a:pt x="308" y="1000"/>
                  </a:lnTo>
                  <a:lnTo>
                    <a:pt x="308" y="1004"/>
                  </a:lnTo>
                  <a:lnTo>
                    <a:pt x="308" y="1004"/>
                  </a:lnTo>
                  <a:lnTo>
                    <a:pt x="310" y="1006"/>
                  </a:lnTo>
                  <a:lnTo>
                    <a:pt x="308" y="1008"/>
                  </a:lnTo>
                  <a:lnTo>
                    <a:pt x="308" y="1010"/>
                  </a:lnTo>
                  <a:lnTo>
                    <a:pt x="308" y="1014"/>
                  </a:lnTo>
                  <a:lnTo>
                    <a:pt x="306" y="1018"/>
                  </a:lnTo>
                  <a:lnTo>
                    <a:pt x="304" y="1024"/>
                  </a:lnTo>
                  <a:lnTo>
                    <a:pt x="302" y="1028"/>
                  </a:lnTo>
                  <a:lnTo>
                    <a:pt x="302" y="1030"/>
                  </a:lnTo>
                  <a:lnTo>
                    <a:pt x="298" y="1036"/>
                  </a:lnTo>
                  <a:lnTo>
                    <a:pt x="298" y="1036"/>
                  </a:lnTo>
                  <a:lnTo>
                    <a:pt x="296" y="1040"/>
                  </a:lnTo>
                  <a:lnTo>
                    <a:pt x="292" y="1042"/>
                  </a:lnTo>
                  <a:lnTo>
                    <a:pt x="290" y="1044"/>
                  </a:lnTo>
                  <a:lnTo>
                    <a:pt x="290" y="1044"/>
                  </a:lnTo>
                  <a:lnTo>
                    <a:pt x="288" y="1044"/>
                  </a:lnTo>
                  <a:lnTo>
                    <a:pt x="288" y="1044"/>
                  </a:lnTo>
                  <a:lnTo>
                    <a:pt x="286" y="1044"/>
                  </a:lnTo>
                  <a:lnTo>
                    <a:pt x="284" y="1042"/>
                  </a:lnTo>
                  <a:lnTo>
                    <a:pt x="284" y="1042"/>
                  </a:lnTo>
                  <a:lnTo>
                    <a:pt x="284" y="1042"/>
                  </a:lnTo>
                  <a:lnTo>
                    <a:pt x="282" y="1042"/>
                  </a:lnTo>
                  <a:lnTo>
                    <a:pt x="282" y="1042"/>
                  </a:lnTo>
                  <a:lnTo>
                    <a:pt x="280" y="1044"/>
                  </a:lnTo>
                  <a:lnTo>
                    <a:pt x="280" y="1044"/>
                  </a:lnTo>
                  <a:lnTo>
                    <a:pt x="280" y="1044"/>
                  </a:lnTo>
                  <a:lnTo>
                    <a:pt x="278" y="1046"/>
                  </a:lnTo>
                  <a:lnTo>
                    <a:pt x="278" y="1046"/>
                  </a:lnTo>
                  <a:lnTo>
                    <a:pt x="278" y="1046"/>
                  </a:lnTo>
                  <a:lnTo>
                    <a:pt x="278" y="1048"/>
                  </a:lnTo>
                  <a:lnTo>
                    <a:pt x="280" y="1050"/>
                  </a:lnTo>
                  <a:lnTo>
                    <a:pt x="284" y="1052"/>
                  </a:lnTo>
                  <a:lnTo>
                    <a:pt x="286" y="1052"/>
                  </a:lnTo>
                  <a:lnTo>
                    <a:pt x="286" y="1054"/>
                  </a:lnTo>
                  <a:lnTo>
                    <a:pt x="288" y="1056"/>
                  </a:lnTo>
                  <a:lnTo>
                    <a:pt x="288" y="1058"/>
                  </a:lnTo>
                  <a:lnTo>
                    <a:pt x="288" y="1058"/>
                  </a:lnTo>
                  <a:lnTo>
                    <a:pt x="288" y="1062"/>
                  </a:lnTo>
                  <a:lnTo>
                    <a:pt x="288" y="1064"/>
                  </a:lnTo>
                  <a:lnTo>
                    <a:pt x="288" y="1066"/>
                  </a:lnTo>
                  <a:lnTo>
                    <a:pt x="288" y="1066"/>
                  </a:lnTo>
                  <a:lnTo>
                    <a:pt x="286" y="1066"/>
                  </a:lnTo>
                  <a:lnTo>
                    <a:pt x="282" y="1066"/>
                  </a:lnTo>
                  <a:lnTo>
                    <a:pt x="282" y="1066"/>
                  </a:lnTo>
                  <a:lnTo>
                    <a:pt x="282" y="1066"/>
                  </a:lnTo>
                  <a:lnTo>
                    <a:pt x="280" y="1068"/>
                  </a:lnTo>
                  <a:lnTo>
                    <a:pt x="280" y="1068"/>
                  </a:lnTo>
                  <a:lnTo>
                    <a:pt x="280" y="1068"/>
                  </a:lnTo>
                  <a:lnTo>
                    <a:pt x="280" y="1070"/>
                  </a:lnTo>
                  <a:lnTo>
                    <a:pt x="280" y="1070"/>
                  </a:lnTo>
                  <a:lnTo>
                    <a:pt x="278" y="1070"/>
                  </a:lnTo>
                  <a:lnTo>
                    <a:pt x="278" y="1072"/>
                  </a:lnTo>
                  <a:lnTo>
                    <a:pt x="278" y="1078"/>
                  </a:lnTo>
                  <a:lnTo>
                    <a:pt x="278" y="1080"/>
                  </a:lnTo>
                  <a:lnTo>
                    <a:pt x="278" y="1082"/>
                  </a:lnTo>
                  <a:lnTo>
                    <a:pt x="278" y="1086"/>
                  </a:lnTo>
                  <a:lnTo>
                    <a:pt x="276" y="1090"/>
                  </a:lnTo>
                  <a:lnTo>
                    <a:pt x="276" y="1092"/>
                  </a:lnTo>
                  <a:lnTo>
                    <a:pt x="276" y="1092"/>
                  </a:lnTo>
                  <a:lnTo>
                    <a:pt x="276" y="1092"/>
                  </a:lnTo>
                  <a:lnTo>
                    <a:pt x="274" y="1092"/>
                  </a:lnTo>
                  <a:lnTo>
                    <a:pt x="272" y="1092"/>
                  </a:lnTo>
                  <a:lnTo>
                    <a:pt x="272" y="1092"/>
                  </a:lnTo>
                  <a:lnTo>
                    <a:pt x="272" y="1092"/>
                  </a:lnTo>
                  <a:lnTo>
                    <a:pt x="270" y="1094"/>
                  </a:lnTo>
                  <a:lnTo>
                    <a:pt x="270" y="1094"/>
                  </a:lnTo>
                  <a:lnTo>
                    <a:pt x="270" y="1094"/>
                  </a:lnTo>
                  <a:lnTo>
                    <a:pt x="268" y="1096"/>
                  </a:lnTo>
                  <a:lnTo>
                    <a:pt x="268" y="1096"/>
                  </a:lnTo>
                  <a:lnTo>
                    <a:pt x="268" y="1096"/>
                  </a:lnTo>
                  <a:lnTo>
                    <a:pt x="266" y="1098"/>
                  </a:lnTo>
                  <a:lnTo>
                    <a:pt x="266" y="1100"/>
                  </a:lnTo>
                  <a:lnTo>
                    <a:pt x="266" y="1102"/>
                  </a:lnTo>
                  <a:lnTo>
                    <a:pt x="266" y="1102"/>
                  </a:lnTo>
                  <a:lnTo>
                    <a:pt x="266" y="1104"/>
                  </a:lnTo>
                  <a:lnTo>
                    <a:pt x="266" y="1104"/>
                  </a:lnTo>
                  <a:lnTo>
                    <a:pt x="274" y="1108"/>
                  </a:lnTo>
                  <a:lnTo>
                    <a:pt x="280" y="1112"/>
                  </a:lnTo>
                  <a:lnTo>
                    <a:pt x="284" y="1116"/>
                  </a:lnTo>
                  <a:lnTo>
                    <a:pt x="286" y="1118"/>
                  </a:lnTo>
                  <a:lnTo>
                    <a:pt x="288" y="1120"/>
                  </a:lnTo>
                  <a:lnTo>
                    <a:pt x="292" y="1124"/>
                  </a:lnTo>
                  <a:lnTo>
                    <a:pt x="292" y="1124"/>
                  </a:lnTo>
                  <a:lnTo>
                    <a:pt x="294" y="1124"/>
                  </a:lnTo>
                  <a:lnTo>
                    <a:pt x="296" y="1126"/>
                  </a:lnTo>
                  <a:lnTo>
                    <a:pt x="298" y="1126"/>
                  </a:lnTo>
                  <a:lnTo>
                    <a:pt x="302" y="1128"/>
                  </a:lnTo>
                  <a:lnTo>
                    <a:pt x="306" y="1132"/>
                  </a:lnTo>
                  <a:lnTo>
                    <a:pt x="310" y="1134"/>
                  </a:lnTo>
                  <a:lnTo>
                    <a:pt x="310" y="1134"/>
                  </a:lnTo>
                  <a:lnTo>
                    <a:pt x="312" y="1134"/>
                  </a:lnTo>
                  <a:lnTo>
                    <a:pt x="318" y="1136"/>
                  </a:lnTo>
                  <a:lnTo>
                    <a:pt x="324" y="1138"/>
                  </a:lnTo>
                  <a:lnTo>
                    <a:pt x="330" y="1140"/>
                  </a:lnTo>
                  <a:lnTo>
                    <a:pt x="332" y="1140"/>
                  </a:lnTo>
                  <a:lnTo>
                    <a:pt x="334" y="1142"/>
                  </a:lnTo>
                  <a:lnTo>
                    <a:pt x="334" y="1142"/>
                  </a:lnTo>
                  <a:lnTo>
                    <a:pt x="336" y="1144"/>
                  </a:lnTo>
                  <a:lnTo>
                    <a:pt x="336" y="1144"/>
                  </a:lnTo>
                  <a:lnTo>
                    <a:pt x="338" y="1144"/>
                  </a:lnTo>
                  <a:lnTo>
                    <a:pt x="340" y="1144"/>
                  </a:lnTo>
                  <a:lnTo>
                    <a:pt x="342" y="1144"/>
                  </a:lnTo>
                  <a:lnTo>
                    <a:pt x="348" y="1146"/>
                  </a:lnTo>
                  <a:lnTo>
                    <a:pt x="350" y="1146"/>
                  </a:lnTo>
                  <a:lnTo>
                    <a:pt x="354" y="1146"/>
                  </a:lnTo>
                  <a:lnTo>
                    <a:pt x="360" y="1146"/>
                  </a:lnTo>
                  <a:lnTo>
                    <a:pt x="364" y="1148"/>
                  </a:lnTo>
                  <a:lnTo>
                    <a:pt x="370" y="1150"/>
                  </a:lnTo>
                  <a:lnTo>
                    <a:pt x="370" y="1150"/>
                  </a:lnTo>
                  <a:lnTo>
                    <a:pt x="374" y="1152"/>
                  </a:lnTo>
                  <a:lnTo>
                    <a:pt x="374" y="1152"/>
                  </a:lnTo>
                  <a:lnTo>
                    <a:pt x="376" y="1152"/>
                  </a:lnTo>
                  <a:lnTo>
                    <a:pt x="380" y="1152"/>
                  </a:lnTo>
                  <a:lnTo>
                    <a:pt x="382" y="1152"/>
                  </a:lnTo>
                  <a:lnTo>
                    <a:pt x="388" y="1154"/>
                  </a:lnTo>
                  <a:lnTo>
                    <a:pt x="390" y="1154"/>
                  </a:lnTo>
                  <a:lnTo>
                    <a:pt x="392" y="1154"/>
                  </a:lnTo>
                  <a:lnTo>
                    <a:pt x="394" y="1156"/>
                  </a:lnTo>
                  <a:lnTo>
                    <a:pt x="396" y="1158"/>
                  </a:lnTo>
                  <a:lnTo>
                    <a:pt x="396" y="1158"/>
                  </a:lnTo>
                  <a:lnTo>
                    <a:pt x="396" y="1158"/>
                  </a:lnTo>
                  <a:lnTo>
                    <a:pt x="398" y="1158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400" y="1160"/>
                  </a:lnTo>
                  <a:lnTo>
                    <a:pt x="402" y="1162"/>
                  </a:lnTo>
                  <a:lnTo>
                    <a:pt x="404" y="1166"/>
                  </a:lnTo>
                  <a:lnTo>
                    <a:pt x="408" y="1172"/>
                  </a:lnTo>
                  <a:lnTo>
                    <a:pt x="408" y="1172"/>
                  </a:lnTo>
                  <a:lnTo>
                    <a:pt x="408" y="1172"/>
                  </a:lnTo>
                  <a:lnTo>
                    <a:pt x="410" y="1176"/>
                  </a:lnTo>
                  <a:lnTo>
                    <a:pt x="414" y="1178"/>
                  </a:lnTo>
                  <a:lnTo>
                    <a:pt x="416" y="1180"/>
                  </a:lnTo>
                  <a:lnTo>
                    <a:pt x="418" y="1182"/>
                  </a:lnTo>
                  <a:lnTo>
                    <a:pt x="418" y="1182"/>
                  </a:lnTo>
                  <a:lnTo>
                    <a:pt x="418" y="1182"/>
                  </a:lnTo>
                  <a:lnTo>
                    <a:pt x="420" y="1182"/>
                  </a:lnTo>
                  <a:lnTo>
                    <a:pt x="420" y="1182"/>
                  </a:lnTo>
                  <a:lnTo>
                    <a:pt x="420" y="1182"/>
                  </a:lnTo>
                  <a:lnTo>
                    <a:pt x="422" y="1182"/>
                  </a:lnTo>
                  <a:lnTo>
                    <a:pt x="422" y="1182"/>
                  </a:lnTo>
                  <a:lnTo>
                    <a:pt x="424" y="1182"/>
                  </a:lnTo>
                  <a:lnTo>
                    <a:pt x="424" y="1180"/>
                  </a:lnTo>
                  <a:lnTo>
                    <a:pt x="424" y="1180"/>
                  </a:lnTo>
                  <a:lnTo>
                    <a:pt x="426" y="1180"/>
                  </a:lnTo>
                  <a:lnTo>
                    <a:pt x="426" y="1178"/>
                  </a:lnTo>
                  <a:lnTo>
                    <a:pt x="426" y="1178"/>
                  </a:lnTo>
                  <a:lnTo>
                    <a:pt x="426" y="1178"/>
                  </a:lnTo>
                  <a:lnTo>
                    <a:pt x="428" y="1176"/>
                  </a:lnTo>
                  <a:lnTo>
                    <a:pt x="428" y="1176"/>
                  </a:lnTo>
                  <a:lnTo>
                    <a:pt x="428" y="1176"/>
                  </a:lnTo>
                  <a:lnTo>
                    <a:pt x="428" y="1174"/>
                  </a:lnTo>
                  <a:lnTo>
                    <a:pt x="428" y="1170"/>
                  </a:lnTo>
                  <a:lnTo>
                    <a:pt x="428" y="1168"/>
                  </a:lnTo>
                  <a:lnTo>
                    <a:pt x="428" y="1166"/>
                  </a:lnTo>
                  <a:lnTo>
                    <a:pt x="428" y="1166"/>
                  </a:lnTo>
                  <a:lnTo>
                    <a:pt x="428" y="1164"/>
                  </a:lnTo>
                  <a:lnTo>
                    <a:pt x="426" y="1162"/>
                  </a:lnTo>
                  <a:lnTo>
                    <a:pt x="426" y="1162"/>
                  </a:lnTo>
                  <a:lnTo>
                    <a:pt x="424" y="1162"/>
                  </a:lnTo>
                  <a:lnTo>
                    <a:pt x="424" y="1160"/>
                  </a:lnTo>
                  <a:lnTo>
                    <a:pt x="426" y="1158"/>
                  </a:lnTo>
                  <a:lnTo>
                    <a:pt x="426" y="1152"/>
                  </a:lnTo>
                  <a:lnTo>
                    <a:pt x="426" y="1150"/>
                  </a:lnTo>
                  <a:lnTo>
                    <a:pt x="426" y="1150"/>
                  </a:lnTo>
                  <a:lnTo>
                    <a:pt x="426" y="1150"/>
                  </a:lnTo>
                  <a:lnTo>
                    <a:pt x="426" y="1146"/>
                  </a:lnTo>
                  <a:lnTo>
                    <a:pt x="426" y="1146"/>
                  </a:lnTo>
                  <a:lnTo>
                    <a:pt x="426" y="1144"/>
                  </a:lnTo>
                  <a:lnTo>
                    <a:pt x="422" y="1136"/>
                  </a:lnTo>
                  <a:lnTo>
                    <a:pt x="420" y="1128"/>
                  </a:lnTo>
                  <a:lnTo>
                    <a:pt x="418" y="1120"/>
                  </a:lnTo>
                  <a:lnTo>
                    <a:pt x="418" y="1118"/>
                  </a:lnTo>
                  <a:lnTo>
                    <a:pt x="418" y="1114"/>
                  </a:lnTo>
                  <a:lnTo>
                    <a:pt x="420" y="1112"/>
                  </a:lnTo>
                  <a:lnTo>
                    <a:pt x="420" y="1108"/>
                  </a:lnTo>
                  <a:lnTo>
                    <a:pt x="422" y="1106"/>
                  </a:lnTo>
                  <a:lnTo>
                    <a:pt x="422" y="1104"/>
                  </a:lnTo>
                  <a:lnTo>
                    <a:pt x="424" y="1102"/>
                  </a:lnTo>
                  <a:lnTo>
                    <a:pt x="424" y="1102"/>
                  </a:lnTo>
                  <a:lnTo>
                    <a:pt x="424" y="1102"/>
                  </a:lnTo>
                  <a:lnTo>
                    <a:pt x="426" y="1100"/>
                  </a:lnTo>
                  <a:lnTo>
                    <a:pt x="426" y="1100"/>
                  </a:lnTo>
                  <a:lnTo>
                    <a:pt x="426" y="1100"/>
                  </a:lnTo>
                  <a:lnTo>
                    <a:pt x="428" y="1098"/>
                  </a:lnTo>
                  <a:lnTo>
                    <a:pt x="428" y="1098"/>
                  </a:lnTo>
                  <a:lnTo>
                    <a:pt x="428" y="1098"/>
                  </a:lnTo>
                  <a:lnTo>
                    <a:pt x="430" y="1094"/>
                  </a:lnTo>
                  <a:lnTo>
                    <a:pt x="430" y="1092"/>
                  </a:lnTo>
                  <a:lnTo>
                    <a:pt x="430" y="1090"/>
                  </a:lnTo>
                  <a:lnTo>
                    <a:pt x="432" y="1088"/>
                  </a:lnTo>
                  <a:lnTo>
                    <a:pt x="432" y="1088"/>
                  </a:lnTo>
                  <a:lnTo>
                    <a:pt x="432" y="1086"/>
                  </a:lnTo>
                  <a:lnTo>
                    <a:pt x="434" y="1084"/>
                  </a:lnTo>
                  <a:lnTo>
                    <a:pt x="434" y="1084"/>
                  </a:lnTo>
                  <a:lnTo>
                    <a:pt x="436" y="1084"/>
                  </a:lnTo>
                  <a:lnTo>
                    <a:pt x="438" y="1082"/>
                  </a:lnTo>
                  <a:lnTo>
                    <a:pt x="438" y="1082"/>
                  </a:lnTo>
                  <a:lnTo>
                    <a:pt x="438" y="1082"/>
                  </a:lnTo>
                  <a:lnTo>
                    <a:pt x="440" y="1080"/>
                  </a:lnTo>
                  <a:lnTo>
                    <a:pt x="440" y="1080"/>
                  </a:lnTo>
                  <a:lnTo>
                    <a:pt x="440" y="1080"/>
                  </a:lnTo>
                  <a:lnTo>
                    <a:pt x="440" y="1078"/>
                  </a:lnTo>
                  <a:lnTo>
                    <a:pt x="440" y="1078"/>
                  </a:lnTo>
                  <a:lnTo>
                    <a:pt x="440" y="1076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4"/>
                  </a:lnTo>
                  <a:lnTo>
                    <a:pt x="440" y="1072"/>
                  </a:lnTo>
                  <a:lnTo>
                    <a:pt x="438" y="1066"/>
                  </a:lnTo>
                  <a:lnTo>
                    <a:pt x="438" y="1066"/>
                  </a:lnTo>
                  <a:lnTo>
                    <a:pt x="436" y="1064"/>
                  </a:lnTo>
                  <a:lnTo>
                    <a:pt x="434" y="1064"/>
                  </a:lnTo>
                  <a:lnTo>
                    <a:pt x="432" y="1062"/>
                  </a:lnTo>
                  <a:lnTo>
                    <a:pt x="432" y="1062"/>
                  </a:lnTo>
                  <a:lnTo>
                    <a:pt x="432" y="1062"/>
                  </a:lnTo>
                  <a:lnTo>
                    <a:pt x="430" y="1060"/>
                  </a:lnTo>
                  <a:lnTo>
                    <a:pt x="430" y="1058"/>
                  </a:lnTo>
                  <a:lnTo>
                    <a:pt x="430" y="1056"/>
                  </a:lnTo>
                  <a:lnTo>
                    <a:pt x="430" y="1054"/>
                  </a:lnTo>
                  <a:lnTo>
                    <a:pt x="430" y="1050"/>
                  </a:lnTo>
                  <a:lnTo>
                    <a:pt x="430" y="1050"/>
                  </a:lnTo>
                  <a:lnTo>
                    <a:pt x="428" y="1048"/>
                  </a:lnTo>
                  <a:lnTo>
                    <a:pt x="426" y="1048"/>
                  </a:lnTo>
                  <a:lnTo>
                    <a:pt x="424" y="1048"/>
                  </a:lnTo>
                  <a:lnTo>
                    <a:pt x="422" y="1048"/>
                  </a:lnTo>
                  <a:lnTo>
                    <a:pt x="420" y="1046"/>
                  </a:lnTo>
                  <a:lnTo>
                    <a:pt x="420" y="1046"/>
                  </a:lnTo>
                  <a:lnTo>
                    <a:pt x="420" y="1046"/>
                  </a:lnTo>
                  <a:lnTo>
                    <a:pt x="420" y="1044"/>
                  </a:lnTo>
                  <a:lnTo>
                    <a:pt x="418" y="1042"/>
                  </a:lnTo>
                  <a:lnTo>
                    <a:pt x="418" y="1042"/>
                  </a:lnTo>
                  <a:lnTo>
                    <a:pt x="416" y="1042"/>
                  </a:lnTo>
                  <a:lnTo>
                    <a:pt x="414" y="1040"/>
                  </a:lnTo>
                  <a:lnTo>
                    <a:pt x="410" y="1038"/>
                  </a:lnTo>
                  <a:lnTo>
                    <a:pt x="404" y="1034"/>
                  </a:lnTo>
                  <a:lnTo>
                    <a:pt x="404" y="1034"/>
                  </a:lnTo>
                  <a:lnTo>
                    <a:pt x="404" y="1034"/>
                  </a:lnTo>
                  <a:lnTo>
                    <a:pt x="400" y="1032"/>
                  </a:lnTo>
                  <a:lnTo>
                    <a:pt x="402" y="1032"/>
                  </a:lnTo>
                  <a:lnTo>
                    <a:pt x="400" y="1032"/>
                  </a:lnTo>
                  <a:lnTo>
                    <a:pt x="400" y="1032"/>
                  </a:lnTo>
                  <a:lnTo>
                    <a:pt x="400" y="1032"/>
                  </a:lnTo>
                  <a:lnTo>
                    <a:pt x="400" y="1030"/>
                  </a:lnTo>
                  <a:lnTo>
                    <a:pt x="400" y="1030"/>
                  </a:lnTo>
                  <a:lnTo>
                    <a:pt x="400" y="1028"/>
                  </a:lnTo>
                  <a:lnTo>
                    <a:pt x="400" y="1026"/>
                  </a:lnTo>
                  <a:lnTo>
                    <a:pt x="400" y="1026"/>
                  </a:lnTo>
                  <a:lnTo>
                    <a:pt x="400" y="1024"/>
                  </a:lnTo>
                  <a:lnTo>
                    <a:pt x="402" y="1024"/>
                  </a:lnTo>
                  <a:lnTo>
                    <a:pt x="404" y="1022"/>
                  </a:lnTo>
                  <a:lnTo>
                    <a:pt x="408" y="1020"/>
                  </a:lnTo>
                  <a:lnTo>
                    <a:pt x="408" y="1020"/>
                  </a:lnTo>
                  <a:lnTo>
                    <a:pt x="408" y="1020"/>
                  </a:lnTo>
                  <a:lnTo>
                    <a:pt x="410" y="1018"/>
                  </a:lnTo>
                  <a:lnTo>
                    <a:pt x="410" y="1018"/>
                  </a:lnTo>
                  <a:lnTo>
                    <a:pt x="410" y="1018"/>
                  </a:lnTo>
                  <a:lnTo>
                    <a:pt x="412" y="1018"/>
                  </a:lnTo>
                  <a:lnTo>
                    <a:pt x="412" y="1018"/>
                  </a:lnTo>
                  <a:lnTo>
                    <a:pt x="412" y="1016"/>
                  </a:lnTo>
                  <a:lnTo>
                    <a:pt x="414" y="1014"/>
                  </a:lnTo>
                  <a:lnTo>
                    <a:pt x="414" y="1014"/>
                  </a:lnTo>
                  <a:lnTo>
                    <a:pt x="414" y="1012"/>
                  </a:lnTo>
                  <a:lnTo>
                    <a:pt x="414" y="1010"/>
                  </a:lnTo>
                  <a:lnTo>
                    <a:pt x="414" y="1006"/>
                  </a:lnTo>
                  <a:lnTo>
                    <a:pt x="416" y="1004"/>
                  </a:lnTo>
                  <a:lnTo>
                    <a:pt x="416" y="1002"/>
                  </a:lnTo>
                  <a:lnTo>
                    <a:pt x="416" y="1002"/>
                  </a:lnTo>
                  <a:lnTo>
                    <a:pt x="416" y="1000"/>
                  </a:lnTo>
                  <a:lnTo>
                    <a:pt x="416" y="998"/>
                  </a:lnTo>
                  <a:lnTo>
                    <a:pt x="416" y="994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16" y="990"/>
                  </a:lnTo>
                  <a:lnTo>
                    <a:pt x="420" y="992"/>
                  </a:lnTo>
                  <a:lnTo>
                    <a:pt x="422" y="994"/>
                  </a:lnTo>
                  <a:lnTo>
                    <a:pt x="424" y="994"/>
                  </a:lnTo>
                  <a:lnTo>
                    <a:pt x="426" y="996"/>
                  </a:lnTo>
                  <a:lnTo>
                    <a:pt x="426" y="996"/>
                  </a:lnTo>
                  <a:lnTo>
                    <a:pt x="426" y="996"/>
                  </a:lnTo>
                  <a:lnTo>
                    <a:pt x="428" y="996"/>
                  </a:lnTo>
                  <a:lnTo>
                    <a:pt x="428" y="996"/>
                  </a:lnTo>
                  <a:lnTo>
                    <a:pt x="428" y="996"/>
                  </a:lnTo>
                  <a:lnTo>
                    <a:pt x="430" y="996"/>
                  </a:lnTo>
                  <a:lnTo>
                    <a:pt x="430" y="996"/>
                  </a:lnTo>
                  <a:lnTo>
                    <a:pt x="430" y="996"/>
                  </a:lnTo>
                  <a:lnTo>
                    <a:pt x="432" y="996"/>
                  </a:lnTo>
                  <a:lnTo>
                    <a:pt x="432" y="996"/>
                  </a:lnTo>
                  <a:lnTo>
                    <a:pt x="432" y="994"/>
                  </a:lnTo>
                  <a:lnTo>
                    <a:pt x="432" y="994"/>
                  </a:lnTo>
                  <a:lnTo>
                    <a:pt x="432" y="994"/>
                  </a:lnTo>
                  <a:lnTo>
                    <a:pt x="434" y="994"/>
                  </a:lnTo>
                  <a:lnTo>
                    <a:pt x="434" y="992"/>
                  </a:lnTo>
                  <a:lnTo>
                    <a:pt x="434" y="992"/>
                  </a:lnTo>
                  <a:lnTo>
                    <a:pt x="434" y="992"/>
                  </a:lnTo>
                  <a:lnTo>
                    <a:pt x="434" y="990"/>
                  </a:lnTo>
                  <a:lnTo>
                    <a:pt x="434" y="988"/>
                  </a:lnTo>
                  <a:lnTo>
                    <a:pt x="436" y="986"/>
                  </a:lnTo>
                  <a:lnTo>
                    <a:pt x="436" y="984"/>
                  </a:lnTo>
                  <a:lnTo>
                    <a:pt x="438" y="980"/>
                  </a:lnTo>
                  <a:lnTo>
                    <a:pt x="438" y="978"/>
                  </a:lnTo>
                  <a:lnTo>
                    <a:pt x="440" y="978"/>
                  </a:lnTo>
                  <a:lnTo>
                    <a:pt x="442" y="976"/>
                  </a:lnTo>
                  <a:lnTo>
                    <a:pt x="444" y="976"/>
                  </a:lnTo>
                  <a:lnTo>
                    <a:pt x="444" y="976"/>
                  </a:lnTo>
                  <a:lnTo>
                    <a:pt x="444" y="976"/>
                  </a:lnTo>
                  <a:lnTo>
                    <a:pt x="446" y="974"/>
                  </a:lnTo>
                  <a:lnTo>
                    <a:pt x="446" y="974"/>
                  </a:lnTo>
                  <a:lnTo>
                    <a:pt x="446" y="974"/>
                  </a:lnTo>
                  <a:lnTo>
                    <a:pt x="448" y="972"/>
                  </a:lnTo>
                  <a:lnTo>
                    <a:pt x="448" y="972"/>
                  </a:lnTo>
                  <a:lnTo>
                    <a:pt x="448" y="972"/>
                  </a:lnTo>
                  <a:lnTo>
                    <a:pt x="448" y="970"/>
                  </a:lnTo>
                  <a:lnTo>
                    <a:pt x="448" y="970"/>
                  </a:lnTo>
                  <a:lnTo>
                    <a:pt x="448" y="970"/>
                  </a:lnTo>
                  <a:lnTo>
                    <a:pt x="448" y="968"/>
                  </a:lnTo>
                  <a:lnTo>
                    <a:pt x="450" y="968"/>
                  </a:lnTo>
                  <a:lnTo>
                    <a:pt x="454" y="966"/>
                  </a:lnTo>
                  <a:lnTo>
                    <a:pt x="458" y="964"/>
                  </a:lnTo>
                  <a:lnTo>
                    <a:pt x="462" y="960"/>
                  </a:lnTo>
                  <a:lnTo>
                    <a:pt x="464" y="960"/>
                  </a:lnTo>
                  <a:lnTo>
                    <a:pt x="466" y="958"/>
                  </a:lnTo>
                  <a:lnTo>
                    <a:pt x="470" y="956"/>
                  </a:lnTo>
                  <a:lnTo>
                    <a:pt x="476" y="956"/>
                  </a:lnTo>
                  <a:lnTo>
                    <a:pt x="482" y="954"/>
                  </a:lnTo>
                  <a:lnTo>
                    <a:pt x="486" y="954"/>
                  </a:lnTo>
                  <a:lnTo>
                    <a:pt x="490" y="954"/>
                  </a:lnTo>
                  <a:lnTo>
                    <a:pt x="492" y="954"/>
                  </a:lnTo>
                  <a:lnTo>
                    <a:pt x="496" y="956"/>
                  </a:lnTo>
                  <a:lnTo>
                    <a:pt x="502" y="958"/>
                  </a:lnTo>
                  <a:lnTo>
                    <a:pt x="506" y="960"/>
                  </a:lnTo>
                  <a:lnTo>
                    <a:pt x="506" y="960"/>
                  </a:lnTo>
                  <a:lnTo>
                    <a:pt x="506" y="960"/>
                  </a:lnTo>
                  <a:lnTo>
                    <a:pt x="508" y="960"/>
                  </a:lnTo>
                  <a:lnTo>
                    <a:pt x="510" y="962"/>
                  </a:lnTo>
                  <a:lnTo>
                    <a:pt x="510" y="962"/>
                  </a:lnTo>
                  <a:lnTo>
                    <a:pt x="512" y="962"/>
                  </a:lnTo>
                  <a:lnTo>
                    <a:pt x="514" y="966"/>
                  </a:lnTo>
                  <a:lnTo>
                    <a:pt x="516" y="966"/>
                  </a:lnTo>
                  <a:lnTo>
                    <a:pt x="518" y="968"/>
                  </a:lnTo>
                  <a:lnTo>
                    <a:pt x="518" y="968"/>
                  </a:lnTo>
                  <a:lnTo>
                    <a:pt x="518" y="970"/>
                  </a:lnTo>
                  <a:lnTo>
                    <a:pt x="522" y="970"/>
                  </a:lnTo>
                  <a:lnTo>
                    <a:pt x="524" y="972"/>
                  </a:lnTo>
                  <a:lnTo>
                    <a:pt x="530" y="974"/>
                  </a:lnTo>
                  <a:lnTo>
                    <a:pt x="536" y="976"/>
                  </a:lnTo>
                  <a:lnTo>
                    <a:pt x="540" y="978"/>
                  </a:lnTo>
                  <a:lnTo>
                    <a:pt x="544" y="980"/>
                  </a:lnTo>
                  <a:lnTo>
                    <a:pt x="544" y="980"/>
                  </a:lnTo>
                  <a:lnTo>
                    <a:pt x="546" y="978"/>
                  </a:lnTo>
                  <a:lnTo>
                    <a:pt x="548" y="976"/>
                  </a:lnTo>
                  <a:lnTo>
                    <a:pt x="552" y="976"/>
                  </a:lnTo>
                  <a:lnTo>
                    <a:pt x="558" y="974"/>
                  </a:lnTo>
                  <a:lnTo>
                    <a:pt x="560" y="972"/>
                  </a:lnTo>
                  <a:lnTo>
                    <a:pt x="562" y="972"/>
                  </a:lnTo>
                  <a:lnTo>
                    <a:pt x="566" y="970"/>
                  </a:lnTo>
                  <a:lnTo>
                    <a:pt x="570" y="970"/>
                  </a:lnTo>
                  <a:lnTo>
                    <a:pt x="572" y="972"/>
                  </a:lnTo>
                  <a:lnTo>
                    <a:pt x="576" y="972"/>
                  </a:lnTo>
                  <a:lnTo>
                    <a:pt x="580" y="974"/>
                  </a:lnTo>
                  <a:lnTo>
                    <a:pt x="582" y="976"/>
                  </a:lnTo>
                  <a:lnTo>
                    <a:pt x="586" y="976"/>
                  </a:lnTo>
                  <a:lnTo>
                    <a:pt x="590" y="978"/>
                  </a:lnTo>
                  <a:lnTo>
                    <a:pt x="596" y="980"/>
                  </a:lnTo>
                  <a:lnTo>
                    <a:pt x="600" y="982"/>
                  </a:lnTo>
                  <a:lnTo>
                    <a:pt x="600" y="982"/>
                  </a:lnTo>
                  <a:lnTo>
                    <a:pt x="600" y="982"/>
                  </a:lnTo>
                  <a:lnTo>
                    <a:pt x="604" y="982"/>
                  </a:lnTo>
                  <a:lnTo>
                    <a:pt x="606" y="982"/>
                  </a:lnTo>
                  <a:lnTo>
                    <a:pt x="612" y="980"/>
                  </a:lnTo>
                  <a:lnTo>
                    <a:pt x="616" y="980"/>
                  </a:lnTo>
                  <a:lnTo>
                    <a:pt x="618" y="980"/>
                  </a:lnTo>
                  <a:lnTo>
                    <a:pt x="622" y="978"/>
                  </a:lnTo>
                  <a:lnTo>
                    <a:pt x="624" y="978"/>
                  </a:lnTo>
                  <a:lnTo>
                    <a:pt x="624" y="978"/>
                  </a:lnTo>
                  <a:lnTo>
                    <a:pt x="624" y="978"/>
                  </a:lnTo>
                  <a:lnTo>
                    <a:pt x="626" y="976"/>
                  </a:lnTo>
                  <a:lnTo>
                    <a:pt x="626" y="976"/>
                  </a:lnTo>
                  <a:lnTo>
                    <a:pt x="628" y="974"/>
                  </a:lnTo>
                  <a:lnTo>
                    <a:pt x="628" y="972"/>
                  </a:lnTo>
                  <a:lnTo>
                    <a:pt x="628" y="972"/>
                  </a:lnTo>
                  <a:lnTo>
                    <a:pt x="630" y="972"/>
                  </a:lnTo>
                  <a:lnTo>
                    <a:pt x="630" y="968"/>
                  </a:lnTo>
                  <a:lnTo>
                    <a:pt x="630" y="968"/>
                  </a:lnTo>
                  <a:lnTo>
                    <a:pt x="630" y="968"/>
                  </a:lnTo>
                  <a:lnTo>
                    <a:pt x="630" y="966"/>
                  </a:lnTo>
                  <a:lnTo>
                    <a:pt x="630" y="966"/>
                  </a:lnTo>
                  <a:lnTo>
                    <a:pt x="630" y="964"/>
                  </a:lnTo>
                  <a:lnTo>
                    <a:pt x="628" y="964"/>
                  </a:lnTo>
                  <a:lnTo>
                    <a:pt x="628" y="964"/>
                  </a:lnTo>
                  <a:lnTo>
                    <a:pt x="628" y="962"/>
                  </a:lnTo>
                  <a:lnTo>
                    <a:pt x="626" y="960"/>
                  </a:lnTo>
                  <a:lnTo>
                    <a:pt x="624" y="958"/>
                  </a:lnTo>
                  <a:lnTo>
                    <a:pt x="618" y="954"/>
                  </a:lnTo>
                  <a:lnTo>
                    <a:pt x="614" y="950"/>
                  </a:lnTo>
                  <a:lnTo>
                    <a:pt x="612" y="948"/>
                  </a:lnTo>
                  <a:lnTo>
                    <a:pt x="614" y="948"/>
                  </a:lnTo>
                  <a:lnTo>
                    <a:pt x="614" y="948"/>
                  </a:lnTo>
                  <a:lnTo>
                    <a:pt x="614" y="946"/>
                  </a:lnTo>
                  <a:lnTo>
                    <a:pt x="618" y="942"/>
                  </a:lnTo>
                  <a:lnTo>
                    <a:pt x="618" y="942"/>
                  </a:lnTo>
                  <a:lnTo>
                    <a:pt x="618" y="942"/>
                  </a:lnTo>
                  <a:lnTo>
                    <a:pt x="620" y="938"/>
                  </a:lnTo>
                  <a:lnTo>
                    <a:pt x="620" y="938"/>
                  </a:lnTo>
                  <a:lnTo>
                    <a:pt x="622" y="936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622" y="934"/>
                  </a:lnTo>
                  <a:lnTo>
                    <a:pt x="622" y="932"/>
                  </a:lnTo>
                  <a:lnTo>
                    <a:pt x="624" y="928"/>
                  </a:lnTo>
                  <a:lnTo>
                    <a:pt x="626" y="924"/>
                  </a:lnTo>
                  <a:lnTo>
                    <a:pt x="628" y="920"/>
                  </a:lnTo>
                  <a:lnTo>
                    <a:pt x="628" y="918"/>
                  </a:lnTo>
                  <a:lnTo>
                    <a:pt x="628" y="914"/>
                  </a:lnTo>
                  <a:lnTo>
                    <a:pt x="628" y="910"/>
                  </a:lnTo>
                  <a:lnTo>
                    <a:pt x="628" y="906"/>
                  </a:lnTo>
                  <a:lnTo>
                    <a:pt x="628" y="902"/>
                  </a:lnTo>
                  <a:lnTo>
                    <a:pt x="630" y="902"/>
                  </a:lnTo>
                  <a:lnTo>
                    <a:pt x="630" y="900"/>
                  </a:lnTo>
                  <a:lnTo>
                    <a:pt x="632" y="900"/>
                  </a:lnTo>
                  <a:lnTo>
                    <a:pt x="634" y="898"/>
                  </a:lnTo>
                  <a:lnTo>
                    <a:pt x="638" y="898"/>
                  </a:lnTo>
                  <a:lnTo>
                    <a:pt x="642" y="898"/>
                  </a:lnTo>
                  <a:lnTo>
                    <a:pt x="646" y="898"/>
                  </a:lnTo>
                  <a:lnTo>
                    <a:pt x="652" y="898"/>
                  </a:lnTo>
                  <a:lnTo>
                    <a:pt x="658" y="896"/>
                  </a:lnTo>
                  <a:lnTo>
                    <a:pt x="660" y="896"/>
                  </a:lnTo>
                  <a:lnTo>
                    <a:pt x="664" y="896"/>
                  </a:lnTo>
                  <a:lnTo>
                    <a:pt x="668" y="894"/>
                  </a:lnTo>
                  <a:lnTo>
                    <a:pt x="672" y="894"/>
                  </a:lnTo>
                  <a:lnTo>
                    <a:pt x="678" y="894"/>
                  </a:lnTo>
                  <a:lnTo>
                    <a:pt x="678" y="894"/>
                  </a:lnTo>
                  <a:lnTo>
                    <a:pt x="678" y="894"/>
                  </a:lnTo>
                  <a:lnTo>
                    <a:pt x="680" y="892"/>
                  </a:lnTo>
                  <a:lnTo>
                    <a:pt x="680" y="892"/>
                  </a:lnTo>
                  <a:lnTo>
                    <a:pt x="682" y="892"/>
                  </a:lnTo>
                  <a:lnTo>
                    <a:pt x="682" y="892"/>
                  </a:lnTo>
                  <a:lnTo>
                    <a:pt x="682" y="892"/>
                  </a:lnTo>
                  <a:lnTo>
                    <a:pt x="684" y="890"/>
                  </a:lnTo>
                  <a:lnTo>
                    <a:pt x="684" y="890"/>
                  </a:lnTo>
                  <a:lnTo>
                    <a:pt x="686" y="888"/>
                  </a:lnTo>
                  <a:lnTo>
                    <a:pt x="688" y="886"/>
                  </a:lnTo>
                  <a:lnTo>
                    <a:pt x="688" y="886"/>
                  </a:lnTo>
                  <a:lnTo>
                    <a:pt x="690" y="886"/>
                  </a:lnTo>
                  <a:lnTo>
                    <a:pt x="690" y="886"/>
                  </a:lnTo>
                  <a:lnTo>
                    <a:pt x="692" y="884"/>
                  </a:lnTo>
                  <a:lnTo>
                    <a:pt x="696" y="884"/>
                  </a:lnTo>
                  <a:lnTo>
                    <a:pt x="698" y="884"/>
                  </a:lnTo>
                  <a:lnTo>
                    <a:pt x="702" y="882"/>
                  </a:lnTo>
                  <a:lnTo>
                    <a:pt x="706" y="882"/>
                  </a:lnTo>
                  <a:lnTo>
                    <a:pt x="712" y="880"/>
                  </a:lnTo>
                  <a:lnTo>
                    <a:pt x="718" y="878"/>
                  </a:lnTo>
                  <a:lnTo>
                    <a:pt x="720" y="880"/>
                  </a:lnTo>
                  <a:lnTo>
                    <a:pt x="722" y="878"/>
                  </a:lnTo>
                  <a:lnTo>
                    <a:pt x="724" y="876"/>
                  </a:lnTo>
                  <a:lnTo>
                    <a:pt x="730" y="874"/>
                  </a:lnTo>
                  <a:lnTo>
                    <a:pt x="734" y="874"/>
                  </a:lnTo>
                  <a:lnTo>
                    <a:pt x="738" y="872"/>
                  </a:lnTo>
                  <a:lnTo>
                    <a:pt x="742" y="870"/>
                  </a:lnTo>
                  <a:lnTo>
                    <a:pt x="744" y="870"/>
                  </a:lnTo>
                  <a:lnTo>
                    <a:pt x="748" y="868"/>
                  </a:lnTo>
                  <a:lnTo>
                    <a:pt x="748" y="868"/>
                  </a:lnTo>
                  <a:lnTo>
                    <a:pt x="750" y="872"/>
                  </a:lnTo>
                  <a:lnTo>
                    <a:pt x="754" y="876"/>
                  </a:lnTo>
                  <a:lnTo>
                    <a:pt x="758" y="880"/>
                  </a:lnTo>
                  <a:lnTo>
                    <a:pt x="762" y="884"/>
                  </a:lnTo>
                  <a:lnTo>
                    <a:pt x="764" y="888"/>
                  </a:lnTo>
                  <a:lnTo>
                    <a:pt x="766" y="890"/>
                  </a:lnTo>
                  <a:lnTo>
                    <a:pt x="766" y="890"/>
                  </a:lnTo>
                  <a:lnTo>
                    <a:pt x="766" y="890"/>
                  </a:lnTo>
                  <a:lnTo>
                    <a:pt x="768" y="890"/>
                  </a:lnTo>
                  <a:lnTo>
                    <a:pt x="768" y="890"/>
                  </a:lnTo>
                  <a:lnTo>
                    <a:pt x="768" y="890"/>
                  </a:lnTo>
                  <a:lnTo>
                    <a:pt x="770" y="890"/>
                  </a:lnTo>
                  <a:lnTo>
                    <a:pt x="770" y="890"/>
                  </a:lnTo>
                  <a:lnTo>
                    <a:pt x="772" y="892"/>
                  </a:lnTo>
                  <a:lnTo>
                    <a:pt x="772" y="892"/>
                  </a:lnTo>
                  <a:lnTo>
                    <a:pt x="772" y="890"/>
                  </a:lnTo>
                  <a:lnTo>
                    <a:pt x="774" y="890"/>
                  </a:lnTo>
                  <a:lnTo>
                    <a:pt x="774" y="890"/>
                  </a:lnTo>
                  <a:lnTo>
                    <a:pt x="776" y="890"/>
                  </a:lnTo>
                  <a:lnTo>
                    <a:pt x="778" y="888"/>
                  </a:lnTo>
                  <a:lnTo>
                    <a:pt x="780" y="886"/>
                  </a:lnTo>
                  <a:lnTo>
                    <a:pt x="782" y="884"/>
                  </a:lnTo>
                  <a:lnTo>
                    <a:pt x="782" y="884"/>
                  </a:lnTo>
                  <a:lnTo>
                    <a:pt x="784" y="884"/>
                  </a:lnTo>
                  <a:lnTo>
                    <a:pt x="784" y="882"/>
                  </a:lnTo>
                  <a:lnTo>
                    <a:pt x="788" y="882"/>
                  </a:lnTo>
                  <a:lnTo>
                    <a:pt x="790" y="884"/>
                  </a:lnTo>
                  <a:lnTo>
                    <a:pt x="794" y="886"/>
                  </a:lnTo>
                  <a:lnTo>
                    <a:pt x="800" y="888"/>
                  </a:lnTo>
                  <a:lnTo>
                    <a:pt x="806" y="890"/>
                  </a:lnTo>
                  <a:lnTo>
                    <a:pt x="810" y="892"/>
                  </a:lnTo>
                  <a:lnTo>
                    <a:pt x="816" y="896"/>
                  </a:lnTo>
                  <a:lnTo>
                    <a:pt x="818" y="898"/>
                  </a:lnTo>
                  <a:lnTo>
                    <a:pt x="822" y="900"/>
                  </a:lnTo>
                  <a:lnTo>
                    <a:pt x="822" y="902"/>
                  </a:lnTo>
                  <a:lnTo>
                    <a:pt x="824" y="902"/>
                  </a:lnTo>
                  <a:lnTo>
                    <a:pt x="824" y="904"/>
                  </a:lnTo>
                  <a:lnTo>
                    <a:pt x="822" y="904"/>
                  </a:lnTo>
                  <a:lnTo>
                    <a:pt x="822" y="906"/>
                  </a:lnTo>
                  <a:lnTo>
                    <a:pt x="822" y="908"/>
                  </a:lnTo>
                  <a:lnTo>
                    <a:pt x="822" y="908"/>
                  </a:lnTo>
                  <a:lnTo>
                    <a:pt x="822" y="908"/>
                  </a:lnTo>
                  <a:lnTo>
                    <a:pt x="822" y="910"/>
                  </a:lnTo>
                  <a:lnTo>
                    <a:pt x="822" y="910"/>
                  </a:lnTo>
                  <a:lnTo>
                    <a:pt x="824" y="912"/>
                  </a:lnTo>
                  <a:lnTo>
                    <a:pt x="824" y="912"/>
                  </a:lnTo>
                  <a:lnTo>
                    <a:pt x="824" y="912"/>
                  </a:lnTo>
                  <a:lnTo>
                    <a:pt x="826" y="912"/>
                  </a:lnTo>
                  <a:lnTo>
                    <a:pt x="828" y="912"/>
                  </a:lnTo>
                  <a:lnTo>
                    <a:pt x="828" y="912"/>
                  </a:lnTo>
                  <a:lnTo>
                    <a:pt x="828" y="912"/>
                  </a:lnTo>
                  <a:lnTo>
                    <a:pt x="830" y="912"/>
                  </a:lnTo>
                  <a:lnTo>
                    <a:pt x="832" y="910"/>
                  </a:lnTo>
                  <a:lnTo>
                    <a:pt x="834" y="908"/>
                  </a:lnTo>
                  <a:lnTo>
                    <a:pt x="838" y="906"/>
                  </a:lnTo>
                  <a:lnTo>
                    <a:pt x="844" y="902"/>
                  </a:lnTo>
                  <a:lnTo>
                    <a:pt x="846" y="900"/>
                  </a:lnTo>
                  <a:lnTo>
                    <a:pt x="850" y="898"/>
                  </a:lnTo>
                  <a:lnTo>
                    <a:pt x="856" y="894"/>
                  </a:lnTo>
                  <a:lnTo>
                    <a:pt x="858" y="894"/>
                  </a:lnTo>
                  <a:lnTo>
                    <a:pt x="862" y="892"/>
                  </a:lnTo>
                  <a:lnTo>
                    <a:pt x="864" y="892"/>
                  </a:lnTo>
                  <a:lnTo>
                    <a:pt x="864" y="892"/>
                  </a:lnTo>
                  <a:lnTo>
                    <a:pt x="866" y="892"/>
                  </a:lnTo>
                  <a:lnTo>
                    <a:pt x="866" y="892"/>
                  </a:lnTo>
                  <a:lnTo>
                    <a:pt x="866" y="894"/>
                  </a:lnTo>
                  <a:lnTo>
                    <a:pt x="866" y="896"/>
                  </a:lnTo>
                  <a:lnTo>
                    <a:pt x="866" y="902"/>
                  </a:lnTo>
                  <a:lnTo>
                    <a:pt x="866" y="902"/>
                  </a:lnTo>
                  <a:lnTo>
                    <a:pt x="866" y="902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68" y="906"/>
                  </a:lnTo>
                  <a:lnTo>
                    <a:pt x="870" y="908"/>
                  </a:lnTo>
                  <a:lnTo>
                    <a:pt x="870" y="908"/>
                  </a:lnTo>
                  <a:lnTo>
                    <a:pt x="870" y="908"/>
                  </a:lnTo>
                  <a:lnTo>
                    <a:pt x="872" y="910"/>
                  </a:lnTo>
                  <a:lnTo>
                    <a:pt x="872" y="910"/>
                  </a:lnTo>
                  <a:lnTo>
                    <a:pt x="872" y="910"/>
                  </a:lnTo>
                  <a:lnTo>
                    <a:pt x="874" y="912"/>
                  </a:lnTo>
                  <a:lnTo>
                    <a:pt x="880" y="916"/>
                  </a:lnTo>
                  <a:lnTo>
                    <a:pt x="886" y="918"/>
                  </a:lnTo>
                  <a:lnTo>
                    <a:pt x="888" y="920"/>
                  </a:lnTo>
                  <a:lnTo>
                    <a:pt x="890" y="922"/>
                  </a:lnTo>
                  <a:lnTo>
                    <a:pt x="890" y="922"/>
                  </a:lnTo>
                  <a:lnTo>
                    <a:pt x="894" y="928"/>
                  </a:lnTo>
                  <a:lnTo>
                    <a:pt x="898" y="932"/>
                  </a:lnTo>
                  <a:lnTo>
                    <a:pt x="900" y="938"/>
                  </a:lnTo>
                  <a:lnTo>
                    <a:pt x="902" y="942"/>
                  </a:lnTo>
                  <a:lnTo>
                    <a:pt x="904" y="944"/>
                  </a:lnTo>
                  <a:lnTo>
                    <a:pt x="904" y="948"/>
                  </a:lnTo>
                  <a:lnTo>
                    <a:pt x="904" y="954"/>
                  </a:lnTo>
                  <a:lnTo>
                    <a:pt x="906" y="958"/>
                  </a:lnTo>
                  <a:lnTo>
                    <a:pt x="906" y="960"/>
                  </a:lnTo>
                  <a:lnTo>
                    <a:pt x="906" y="964"/>
                  </a:lnTo>
                  <a:lnTo>
                    <a:pt x="906" y="968"/>
                  </a:lnTo>
                  <a:lnTo>
                    <a:pt x="908" y="970"/>
                  </a:lnTo>
                  <a:lnTo>
                    <a:pt x="908" y="970"/>
                  </a:lnTo>
                  <a:lnTo>
                    <a:pt x="908" y="970"/>
                  </a:lnTo>
                  <a:lnTo>
                    <a:pt x="910" y="972"/>
                  </a:lnTo>
                  <a:lnTo>
                    <a:pt x="910" y="972"/>
                  </a:lnTo>
                  <a:lnTo>
                    <a:pt x="910" y="974"/>
                  </a:lnTo>
                  <a:lnTo>
                    <a:pt x="912" y="976"/>
                  </a:lnTo>
                  <a:lnTo>
                    <a:pt x="912" y="976"/>
                  </a:lnTo>
                  <a:lnTo>
                    <a:pt x="914" y="976"/>
                  </a:lnTo>
                  <a:lnTo>
                    <a:pt x="914" y="976"/>
                  </a:lnTo>
                  <a:lnTo>
                    <a:pt x="914" y="976"/>
                  </a:lnTo>
                  <a:lnTo>
                    <a:pt x="916" y="976"/>
                  </a:lnTo>
                  <a:lnTo>
                    <a:pt x="918" y="974"/>
                  </a:lnTo>
                  <a:lnTo>
                    <a:pt x="920" y="974"/>
                  </a:lnTo>
                  <a:lnTo>
                    <a:pt x="922" y="972"/>
                  </a:lnTo>
                  <a:lnTo>
                    <a:pt x="924" y="970"/>
                  </a:lnTo>
                  <a:lnTo>
                    <a:pt x="926" y="970"/>
                  </a:lnTo>
                  <a:lnTo>
                    <a:pt x="926" y="970"/>
                  </a:lnTo>
                  <a:lnTo>
                    <a:pt x="928" y="970"/>
                  </a:lnTo>
                  <a:lnTo>
                    <a:pt x="930" y="970"/>
                  </a:lnTo>
                  <a:lnTo>
                    <a:pt x="932" y="970"/>
                  </a:lnTo>
                  <a:lnTo>
                    <a:pt x="934" y="970"/>
                  </a:lnTo>
                  <a:lnTo>
                    <a:pt x="938" y="974"/>
                  </a:lnTo>
                  <a:lnTo>
                    <a:pt x="942" y="976"/>
                  </a:lnTo>
                  <a:lnTo>
                    <a:pt x="942" y="976"/>
                  </a:lnTo>
                  <a:lnTo>
                    <a:pt x="942" y="976"/>
                  </a:lnTo>
                  <a:lnTo>
                    <a:pt x="944" y="978"/>
                  </a:lnTo>
                  <a:lnTo>
                    <a:pt x="944" y="978"/>
                  </a:lnTo>
                  <a:lnTo>
                    <a:pt x="946" y="978"/>
                  </a:lnTo>
                  <a:lnTo>
                    <a:pt x="948" y="978"/>
                  </a:lnTo>
                  <a:lnTo>
                    <a:pt x="948" y="978"/>
                  </a:lnTo>
                  <a:lnTo>
                    <a:pt x="948" y="978"/>
                  </a:lnTo>
                  <a:lnTo>
                    <a:pt x="952" y="978"/>
                  </a:lnTo>
                  <a:lnTo>
                    <a:pt x="952" y="978"/>
                  </a:lnTo>
                  <a:lnTo>
                    <a:pt x="956" y="978"/>
                  </a:lnTo>
                  <a:lnTo>
                    <a:pt x="958" y="976"/>
                  </a:lnTo>
                  <a:lnTo>
                    <a:pt x="962" y="976"/>
                  </a:lnTo>
                  <a:lnTo>
                    <a:pt x="964" y="974"/>
                  </a:lnTo>
                  <a:lnTo>
                    <a:pt x="966" y="974"/>
                  </a:lnTo>
                  <a:lnTo>
                    <a:pt x="970" y="974"/>
                  </a:lnTo>
                  <a:lnTo>
                    <a:pt x="972" y="974"/>
                  </a:lnTo>
                  <a:lnTo>
                    <a:pt x="974" y="976"/>
                  </a:lnTo>
                  <a:lnTo>
                    <a:pt x="976" y="978"/>
                  </a:lnTo>
                  <a:lnTo>
                    <a:pt x="980" y="982"/>
                  </a:lnTo>
                  <a:lnTo>
                    <a:pt x="982" y="986"/>
                  </a:lnTo>
                  <a:lnTo>
                    <a:pt x="986" y="990"/>
                  </a:lnTo>
                  <a:lnTo>
                    <a:pt x="990" y="994"/>
                  </a:lnTo>
                  <a:lnTo>
                    <a:pt x="992" y="996"/>
                  </a:lnTo>
                  <a:lnTo>
                    <a:pt x="996" y="998"/>
                  </a:lnTo>
                  <a:lnTo>
                    <a:pt x="998" y="1000"/>
                  </a:lnTo>
                  <a:lnTo>
                    <a:pt x="1000" y="1002"/>
                  </a:lnTo>
                  <a:lnTo>
                    <a:pt x="1002" y="1002"/>
                  </a:lnTo>
                  <a:lnTo>
                    <a:pt x="1002" y="1002"/>
                  </a:lnTo>
                  <a:lnTo>
                    <a:pt x="1002" y="1002"/>
                  </a:lnTo>
                  <a:lnTo>
                    <a:pt x="1004" y="1004"/>
                  </a:lnTo>
                  <a:lnTo>
                    <a:pt x="1006" y="1004"/>
                  </a:lnTo>
                  <a:lnTo>
                    <a:pt x="1008" y="1004"/>
                  </a:lnTo>
                  <a:lnTo>
                    <a:pt x="1012" y="1004"/>
                  </a:lnTo>
                  <a:lnTo>
                    <a:pt x="1014" y="1004"/>
                  </a:lnTo>
                  <a:lnTo>
                    <a:pt x="1018" y="1004"/>
                  </a:lnTo>
                  <a:lnTo>
                    <a:pt x="1024" y="1006"/>
                  </a:lnTo>
                  <a:lnTo>
                    <a:pt x="1028" y="1006"/>
                  </a:lnTo>
                  <a:lnTo>
                    <a:pt x="1034" y="1008"/>
                  </a:lnTo>
                  <a:lnTo>
                    <a:pt x="1040" y="1008"/>
                  </a:lnTo>
                  <a:lnTo>
                    <a:pt x="1044" y="1008"/>
                  </a:lnTo>
                  <a:lnTo>
                    <a:pt x="1050" y="1008"/>
                  </a:lnTo>
                  <a:lnTo>
                    <a:pt x="1050" y="1008"/>
                  </a:lnTo>
                  <a:lnTo>
                    <a:pt x="1052" y="1008"/>
                  </a:lnTo>
                  <a:lnTo>
                    <a:pt x="1052" y="1008"/>
                  </a:lnTo>
                  <a:lnTo>
                    <a:pt x="1052" y="1008"/>
                  </a:lnTo>
                  <a:lnTo>
                    <a:pt x="1054" y="1008"/>
                  </a:lnTo>
                  <a:lnTo>
                    <a:pt x="1054" y="1008"/>
                  </a:lnTo>
                  <a:lnTo>
                    <a:pt x="1054" y="1008"/>
                  </a:lnTo>
                  <a:lnTo>
                    <a:pt x="1054" y="1006"/>
                  </a:lnTo>
                  <a:lnTo>
                    <a:pt x="1054" y="1006"/>
                  </a:lnTo>
                  <a:lnTo>
                    <a:pt x="1056" y="1004"/>
                  </a:lnTo>
                  <a:lnTo>
                    <a:pt x="1056" y="1004"/>
                  </a:lnTo>
                  <a:lnTo>
                    <a:pt x="1056" y="1004"/>
                  </a:lnTo>
                  <a:lnTo>
                    <a:pt x="1054" y="1002"/>
                  </a:lnTo>
                  <a:lnTo>
                    <a:pt x="1054" y="1000"/>
                  </a:lnTo>
                  <a:lnTo>
                    <a:pt x="1052" y="998"/>
                  </a:lnTo>
                  <a:lnTo>
                    <a:pt x="1052" y="998"/>
                  </a:lnTo>
                  <a:lnTo>
                    <a:pt x="1052" y="998"/>
                  </a:lnTo>
                  <a:lnTo>
                    <a:pt x="1054" y="998"/>
                  </a:lnTo>
                  <a:lnTo>
                    <a:pt x="1058" y="998"/>
                  </a:lnTo>
                  <a:lnTo>
                    <a:pt x="1058" y="998"/>
                  </a:lnTo>
                  <a:lnTo>
                    <a:pt x="1060" y="998"/>
                  </a:lnTo>
                  <a:lnTo>
                    <a:pt x="1062" y="998"/>
                  </a:lnTo>
                  <a:lnTo>
                    <a:pt x="1064" y="998"/>
                  </a:lnTo>
                  <a:lnTo>
                    <a:pt x="1064" y="998"/>
                  </a:lnTo>
                  <a:lnTo>
                    <a:pt x="1064" y="998"/>
                  </a:lnTo>
                  <a:lnTo>
                    <a:pt x="1068" y="998"/>
                  </a:lnTo>
                  <a:lnTo>
                    <a:pt x="1068" y="998"/>
                  </a:lnTo>
                  <a:lnTo>
                    <a:pt x="1068" y="996"/>
                  </a:lnTo>
                  <a:lnTo>
                    <a:pt x="1070" y="996"/>
                  </a:lnTo>
                  <a:lnTo>
                    <a:pt x="1074" y="992"/>
                  </a:lnTo>
                  <a:lnTo>
                    <a:pt x="1076" y="990"/>
                  </a:lnTo>
                  <a:lnTo>
                    <a:pt x="1082" y="986"/>
                  </a:lnTo>
                  <a:lnTo>
                    <a:pt x="1084" y="984"/>
                  </a:lnTo>
                  <a:lnTo>
                    <a:pt x="1086" y="984"/>
                  </a:lnTo>
                  <a:lnTo>
                    <a:pt x="1092" y="982"/>
                  </a:lnTo>
                  <a:lnTo>
                    <a:pt x="1096" y="980"/>
                  </a:lnTo>
                  <a:lnTo>
                    <a:pt x="1102" y="978"/>
                  </a:lnTo>
                  <a:lnTo>
                    <a:pt x="1100" y="978"/>
                  </a:lnTo>
                  <a:lnTo>
                    <a:pt x="1102" y="978"/>
                  </a:lnTo>
                  <a:lnTo>
                    <a:pt x="1106" y="978"/>
                  </a:lnTo>
                  <a:lnTo>
                    <a:pt x="1108" y="978"/>
                  </a:lnTo>
                  <a:lnTo>
                    <a:pt x="1110" y="980"/>
                  </a:lnTo>
                  <a:lnTo>
                    <a:pt x="1118" y="982"/>
                  </a:lnTo>
                  <a:lnTo>
                    <a:pt x="1124" y="984"/>
                  </a:lnTo>
                  <a:lnTo>
                    <a:pt x="1128" y="986"/>
                  </a:lnTo>
                  <a:lnTo>
                    <a:pt x="1130" y="986"/>
                  </a:lnTo>
                  <a:lnTo>
                    <a:pt x="1132" y="988"/>
                  </a:lnTo>
                  <a:lnTo>
                    <a:pt x="1134" y="990"/>
                  </a:lnTo>
                  <a:lnTo>
                    <a:pt x="1138" y="994"/>
                  </a:lnTo>
                  <a:lnTo>
                    <a:pt x="1140" y="996"/>
                  </a:lnTo>
                  <a:lnTo>
                    <a:pt x="1142" y="998"/>
                  </a:lnTo>
                  <a:lnTo>
                    <a:pt x="1142" y="998"/>
                  </a:lnTo>
                  <a:lnTo>
                    <a:pt x="1142" y="998"/>
                  </a:lnTo>
                  <a:lnTo>
                    <a:pt x="1146" y="1000"/>
                  </a:lnTo>
                  <a:lnTo>
                    <a:pt x="1146" y="1000"/>
                  </a:lnTo>
                  <a:lnTo>
                    <a:pt x="1146" y="1000"/>
                  </a:lnTo>
                  <a:lnTo>
                    <a:pt x="1150" y="1002"/>
                  </a:lnTo>
                  <a:lnTo>
                    <a:pt x="1152" y="1002"/>
                  </a:lnTo>
                  <a:lnTo>
                    <a:pt x="1158" y="1002"/>
                  </a:lnTo>
                  <a:lnTo>
                    <a:pt x="1162" y="1004"/>
                  </a:lnTo>
                  <a:lnTo>
                    <a:pt x="1168" y="1004"/>
                  </a:lnTo>
                  <a:lnTo>
                    <a:pt x="1174" y="1002"/>
                  </a:lnTo>
                  <a:lnTo>
                    <a:pt x="1178" y="1002"/>
                  </a:lnTo>
                  <a:lnTo>
                    <a:pt x="1178" y="1002"/>
                  </a:lnTo>
                  <a:lnTo>
                    <a:pt x="1178" y="1002"/>
                  </a:lnTo>
                  <a:lnTo>
                    <a:pt x="1184" y="1000"/>
                  </a:lnTo>
                  <a:lnTo>
                    <a:pt x="1184" y="1000"/>
                  </a:lnTo>
                  <a:lnTo>
                    <a:pt x="1184" y="1000"/>
                  </a:lnTo>
                  <a:lnTo>
                    <a:pt x="1188" y="998"/>
                  </a:lnTo>
                  <a:lnTo>
                    <a:pt x="1188" y="998"/>
                  </a:lnTo>
                  <a:lnTo>
                    <a:pt x="1188" y="998"/>
                  </a:lnTo>
                  <a:lnTo>
                    <a:pt x="1190" y="996"/>
                  </a:lnTo>
                  <a:lnTo>
                    <a:pt x="1190" y="996"/>
                  </a:lnTo>
                  <a:lnTo>
                    <a:pt x="1190" y="996"/>
                  </a:lnTo>
                  <a:lnTo>
                    <a:pt x="1190" y="994"/>
                  </a:lnTo>
                  <a:lnTo>
                    <a:pt x="1190" y="994"/>
                  </a:lnTo>
                  <a:lnTo>
                    <a:pt x="1190" y="992"/>
                  </a:lnTo>
                  <a:lnTo>
                    <a:pt x="1192" y="990"/>
                  </a:lnTo>
                  <a:lnTo>
                    <a:pt x="1192" y="988"/>
                  </a:lnTo>
                  <a:lnTo>
                    <a:pt x="1192" y="982"/>
                  </a:lnTo>
                  <a:lnTo>
                    <a:pt x="1192" y="974"/>
                  </a:lnTo>
                  <a:lnTo>
                    <a:pt x="1194" y="968"/>
                  </a:lnTo>
                  <a:lnTo>
                    <a:pt x="1194" y="962"/>
                  </a:lnTo>
                  <a:lnTo>
                    <a:pt x="1194" y="960"/>
                  </a:lnTo>
                  <a:lnTo>
                    <a:pt x="1194" y="958"/>
                  </a:lnTo>
                  <a:lnTo>
                    <a:pt x="1196" y="956"/>
                  </a:lnTo>
                  <a:lnTo>
                    <a:pt x="1196" y="956"/>
                  </a:lnTo>
                  <a:lnTo>
                    <a:pt x="1200" y="954"/>
                  </a:lnTo>
                  <a:lnTo>
                    <a:pt x="1202" y="954"/>
                  </a:lnTo>
                  <a:lnTo>
                    <a:pt x="1208" y="954"/>
                  </a:lnTo>
                  <a:lnTo>
                    <a:pt x="1212" y="954"/>
                  </a:lnTo>
                  <a:lnTo>
                    <a:pt x="1218" y="954"/>
                  </a:lnTo>
                  <a:lnTo>
                    <a:pt x="1222" y="956"/>
                  </a:lnTo>
                  <a:lnTo>
                    <a:pt x="1228" y="956"/>
                  </a:lnTo>
                  <a:lnTo>
                    <a:pt x="1230" y="958"/>
                  </a:lnTo>
                  <a:lnTo>
                    <a:pt x="1234" y="958"/>
                  </a:lnTo>
                  <a:lnTo>
                    <a:pt x="1236" y="958"/>
                  </a:lnTo>
                  <a:lnTo>
                    <a:pt x="1242" y="960"/>
                  </a:lnTo>
                  <a:lnTo>
                    <a:pt x="1242" y="960"/>
                  </a:lnTo>
                  <a:lnTo>
                    <a:pt x="1246" y="962"/>
                  </a:lnTo>
                  <a:lnTo>
                    <a:pt x="1248" y="966"/>
                  </a:lnTo>
                  <a:lnTo>
                    <a:pt x="1250" y="968"/>
                  </a:lnTo>
                  <a:lnTo>
                    <a:pt x="1250" y="970"/>
                  </a:lnTo>
                  <a:lnTo>
                    <a:pt x="1252" y="972"/>
                  </a:lnTo>
                  <a:lnTo>
                    <a:pt x="1254" y="976"/>
                  </a:lnTo>
                  <a:lnTo>
                    <a:pt x="1254" y="980"/>
                  </a:lnTo>
                  <a:lnTo>
                    <a:pt x="1254" y="980"/>
                  </a:lnTo>
                  <a:lnTo>
                    <a:pt x="1256" y="980"/>
                  </a:lnTo>
                  <a:lnTo>
                    <a:pt x="1258" y="984"/>
                  </a:lnTo>
                  <a:lnTo>
                    <a:pt x="1258" y="984"/>
                  </a:lnTo>
                  <a:lnTo>
                    <a:pt x="1258" y="984"/>
                  </a:lnTo>
                  <a:lnTo>
                    <a:pt x="1260" y="986"/>
                  </a:lnTo>
                  <a:lnTo>
                    <a:pt x="1260" y="986"/>
                  </a:lnTo>
                  <a:lnTo>
                    <a:pt x="1260" y="988"/>
                  </a:lnTo>
                  <a:lnTo>
                    <a:pt x="1264" y="990"/>
                  </a:lnTo>
                  <a:lnTo>
                    <a:pt x="1264" y="990"/>
                  </a:lnTo>
                  <a:lnTo>
                    <a:pt x="1266" y="990"/>
                  </a:lnTo>
                  <a:lnTo>
                    <a:pt x="1270" y="990"/>
                  </a:lnTo>
                  <a:lnTo>
                    <a:pt x="1270" y="990"/>
                  </a:lnTo>
                  <a:lnTo>
                    <a:pt x="1270" y="990"/>
                  </a:lnTo>
                  <a:lnTo>
                    <a:pt x="1276" y="990"/>
                  </a:lnTo>
                  <a:lnTo>
                    <a:pt x="1284" y="990"/>
                  </a:lnTo>
                  <a:lnTo>
                    <a:pt x="1290" y="990"/>
                  </a:lnTo>
                  <a:lnTo>
                    <a:pt x="1298" y="988"/>
                  </a:lnTo>
                  <a:lnTo>
                    <a:pt x="1304" y="988"/>
                  </a:lnTo>
                  <a:lnTo>
                    <a:pt x="1310" y="988"/>
                  </a:lnTo>
                  <a:lnTo>
                    <a:pt x="1310" y="988"/>
                  </a:lnTo>
                  <a:lnTo>
                    <a:pt x="1316" y="990"/>
                  </a:lnTo>
                  <a:lnTo>
                    <a:pt x="1320" y="992"/>
                  </a:lnTo>
                  <a:lnTo>
                    <a:pt x="1322" y="994"/>
                  </a:lnTo>
                  <a:lnTo>
                    <a:pt x="1324" y="996"/>
                  </a:lnTo>
                  <a:lnTo>
                    <a:pt x="1328" y="1000"/>
                  </a:lnTo>
                  <a:lnTo>
                    <a:pt x="1330" y="1004"/>
                  </a:lnTo>
                  <a:lnTo>
                    <a:pt x="1332" y="1008"/>
                  </a:lnTo>
                  <a:lnTo>
                    <a:pt x="1332" y="1008"/>
                  </a:lnTo>
                  <a:lnTo>
                    <a:pt x="1332" y="1008"/>
                  </a:lnTo>
                  <a:lnTo>
                    <a:pt x="1336" y="1010"/>
                  </a:lnTo>
                  <a:lnTo>
                    <a:pt x="1336" y="1010"/>
                  </a:lnTo>
                  <a:lnTo>
                    <a:pt x="1336" y="1012"/>
                  </a:lnTo>
                  <a:lnTo>
                    <a:pt x="1340" y="1014"/>
                  </a:lnTo>
                  <a:lnTo>
                    <a:pt x="1340" y="1014"/>
                  </a:lnTo>
                  <a:lnTo>
                    <a:pt x="1340" y="1014"/>
                  </a:lnTo>
                  <a:lnTo>
                    <a:pt x="1346" y="1014"/>
                  </a:lnTo>
                  <a:lnTo>
                    <a:pt x="1352" y="1016"/>
                  </a:lnTo>
                  <a:lnTo>
                    <a:pt x="1358" y="1016"/>
                  </a:lnTo>
                  <a:lnTo>
                    <a:pt x="1364" y="1016"/>
                  </a:lnTo>
                  <a:lnTo>
                    <a:pt x="1378" y="1016"/>
                  </a:lnTo>
                  <a:lnTo>
                    <a:pt x="1384" y="1014"/>
                  </a:lnTo>
                  <a:lnTo>
                    <a:pt x="1390" y="1014"/>
                  </a:lnTo>
                  <a:lnTo>
                    <a:pt x="1398" y="1012"/>
                  </a:lnTo>
                  <a:lnTo>
                    <a:pt x="1404" y="1008"/>
                  </a:lnTo>
                  <a:lnTo>
                    <a:pt x="1412" y="1006"/>
                  </a:lnTo>
                  <a:lnTo>
                    <a:pt x="1418" y="1002"/>
                  </a:lnTo>
                  <a:lnTo>
                    <a:pt x="1426" y="998"/>
                  </a:lnTo>
                  <a:lnTo>
                    <a:pt x="1432" y="996"/>
                  </a:lnTo>
                  <a:lnTo>
                    <a:pt x="1438" y="994"/>
                  </a:lnTo>
                  <a:lnTo>
                    <a:pt x="1442" y="992"/>
                  </a:lnTo>
                  <a:lnTo>
                    <a:pt x="1442" y="992"/>
                  </a:lnTo>
                  <a:lnTo>
                    <a:pt x="1446" y="992"/>
                  </a:lnTo>
                  <a:lnTo>
                    <a:pt x="1448" y="992"/>
                  </a:lnTo>
                  <a:lnTo>
                    <a:pt x="1450" y="992"/>
                  </a:lnTo>
                  <a:lnTo>
                    <a:pt x="1450" y="994"/>
                  </a:lnTo>
                  <a:lnTo>
                    <a:pt x="1452" y="996"/>
                  </a:lnTo>
                  <a:lnTo>
                    <a:pt x="1454" y="996"/>
                  </a:lnTo>
                  <a:lnTo>
                    <a:pt x="1454" y="996"/>
                  </a:lnTo>
                  <a:lnTo>
                    <a:pt x="1454" y="996"/>
                  </a:lnTo>
                  <a:lnTo>
                    <a:pt x="1456" y="998"/>
                  </a:lnTo>
                  <a:lnTo>
                    <a:pt x="1456" y="998"/>
                  </a:lnTo>
                  <a:lnTo>
                    <a:pt x="1458" y="998"/>
                  </a:lnTo>
                  <a:lnTo>
                    <a:pt x="1460" y="998"/>
                  </a:lnTo>
                  <a:lnTo>
                    <a:pt x="1464" y="998"/>
                  </a:lnTo>
                  <a:lnTo>
                    <a:pt x="1468" y="1000"/>
                  </a:lnTo>
                  <a:lnTo>
                    <a:pt x="1478" y="1000"/>
                  </a:lnTo>
                  <a:lnTo>
                    <a:pt x="1488" y="1000"/>
                  </a:lnTo>
                  <a:lnTo>
                    <a:pt x="1492" y="998"/>
                  </a:lnTo>
                  <a:lnTo>
                    <a:pt x="1496" y="998"/>
                  </a:lnTo>
                  <a:lnTo>
                    <a:pt x="1498" y="998"/>
                  </a:lnTo>
                  <a:lnTo>
                    <a:pt x="1500" y="998"/>
                  </a:lnTo>
                  <a:lnTo>
                    <a:pt x="1502" y="996"/>
                  </a:lnTo>
                  <a:lnTo>
                    <a:pt x="1504" y="996"/>
                  </a:lnTo>
                  <a:lnTo>
                    <a:pt x="1504" y="996"/>
                  </a:lnTo>
                  <a:lnTo>
                    <a:pt x="1504" y="996"/>
                  </a:lnTo>
                  <a:lnTo>
                    <a:pt x="1506" y="994"/>
                  </a:lnTo>
                  <a:lnTo>
                    <a:pt x="1506" y="994"/>
                  </a:lnTo>
                  <a:lnTo>
                    <a:pt x="1506" y="994"/>
                  </a:lnTo>
                  <a:lnTo>
                    <a:pt x="1508" y="992"/>
                  </a:lnTo>
                  <a:lnTo>
                    <a:pt x="1510" y="990"/>
                  </a:lnTo>
                  <a:lnTo>
                    <a:pt x="1512" y="988"/>
                  </a:lnTo>
                  <a:lnTo>
                    <a:pt x="1514" y="984"/>
                  </a:lnTo>
                  <a:lnTo>
                    <a:pt x="1516" y="980"/>
                  </a:lnTo>
                  <a:lnTo>
                    <a:pt x="1518" y="974"/>
                  </a:lnTo>
                  <a:lnTo>
                    <a:pt x="1522" y="970"/>
                  </a:lnTo>
                  <a:lnTo>
                    <a:pt x="1524" y="964"/>
                  </a:lnTo>
                  <a:lnTo>
                    <a:pt x="1526" y="958"/>
                  </a:lnTo>
                  <a:lnTo>
                    <a:pt x="1528" y="952"/>
                  </a:lnTo>
                  <a:lnTo>
                    <a:pt x="1530" y="946"/>
                  </a:lnTo>
                  <a:lnTo>
                    <a:pt x="1530" y="946"/>
                  </a:lnTo>
                  <a:lnTo>
                    <a:pt x="1530" y="946"/>
                  </a:lnTo>
                  <a:lnTo>
                    <a:pt x="1530" y="940"/>
                  </a:lnTo>
                  <a:lnTo>
                    <a:pt x="1530" y="940"/>
                  </a:lnTo>
                  <a:lnTo>
                    <a:pt x="1528" y="934"/>
                  </a:lnTo>
                  <a:lnTo>
                    <a:pt x="1528" y="930"/>
                  </a:lnTo>
                  <a:lnTo>
                    <a:pt x="1526" y="924"/>
                  </a:lnTo>
                  <a:lnTo>
                    <a:pt x="1524" y="920"/>
                  </a:lnTo>
                  <a:lnTo>
                    <a:pt x="1522" y="916"/>
                  </a:lnTo>
                  <a:lnTo>
                    <a:pt x="1522" y="916"/>
                  </a:lnTo>
                  <a:lnTo>
                    <a:pt x="1522" y="912"/>
                  </a:lnTo>
                  <a:lnTo>
                    <a:pt x="1522" y="912"/>
                  </a:lnTo>
                  <a:lnTo>
                    <a:pt x="1522" y="912"/>
                  </a:lnTo>
                  <a:lnTo>
                    <a:pt x="1524" y="912"/>
                  </a:lnTo>
                  <a:lnTo>
                    <a:pt x="1526" y="910"/>
                  </a:lnTo>
                  <a:lnTo>
                    <a:pt x="1528" y="908"/>
                  </a:lnTo>
                  <a:lnTo>
                    <a:pt x="1528" y="908"/>
                  </a:lnTo>
                  <a:lnTo>
                    <a:pt x="1532" y="906"/>
                  </a:lnTo>
                  <a:lnTo>
                    <a:pt x="1536" y="904"/>
                  </a:lnTo>
                  <a:lnTo>
                    <a:pt x="1542" y="904"/>
                  </a:lnTo>
                  <a:lnTo>
                    <a:pt x="1548" y="904"/>
                  </a:lnTo>
                  <a:lnTo>
                    <a:pt x="1558" y="902"/>
                  </a:lnTo>
                  <a:lnTo>
                    <a:pt x="1564" y="902"/>
                  </a:lnTo>
                  <a:lnTo>
                    <a:pt x="1570" y="902"/>
                  </a:lnTo>
                  <a:lnTo>
                    <a:pt x="1576" y="902"/>
                  </a:lnTo>
                  <a:lnTo>
                    <a:pt x="1582" y="902"/>
                  </a:lnTo>
                  <a:lnTo>
                    <a:pt x="1588" y="904"/>
                  </a:lnTo>
                  <a:lnTo>
                    <a:pt x="1594" y="904"/>
                  </a:lnTo>
                  <a:lnTo>
                    <a:pt x="1598" y="906"/>
                  </a:lnTo>
                  <a:lnTo>
                    <a:pt x="1602" y="908"/>
                  </a:lnTo>
                  <a:lnTo>
                    <a:pt x="1606" y="910"/>
                  </a:lnTo>
                  <a:lnTo>
                    <a:pt x="1604" y="910"/>
                  </a:lnTo>
                  <a:lnTo>
                    <a:pt x="1608" y="914"/>
                  </a:lnTo>
                  <a:lnTo>
                    <a:pt x="1608" y="918"/>
                  </a:lnTo>
                  <a:lnTo>
                    <a:pt x="1610" y="922"/>
                  </a:lnTo>
                  <a:lnTo>
                    <a:pt x="1610" y="928"/>
                  </a:lnTo>
                  <a:lnTo>
                    <a:pt x="1612" y="932"/>
                  </a:lnTo>
                  <a:lnTo>
                    <a:pt x="1612" y="936"/>
                  </a:lnTo>
                  <a:lnTo>
                    <a:pt x="1614" y="940"/>
                  </a:lnTo>
                  <a:lnTo>
                    <a:pt x="1614" y="940"/>
                  </a:lnTo>
                  <a:lnTo>
                    <a:pt x="1614" y="940"/>
                  </a:lnTo>
                  <a:lnTo>
                    <a:pt x="1616" y="944"/>
                  </a:lnTo>
                  <a:lnTo>
                    <a:pt x="1618" y="946"/>
                  </a:lnTo>
                  <a:lnTo>
                    <a:pt x="1618" y="946"/>
                  </a:lnTo>
                  <a:lnTo>
                    <a:pt x="1618" y="946"/>
                  </a:lnTo>
                  <a:lnTo>
                    <a:pt x="1620" y="950"/>
                  </a:lnTo>
                  <a:lnTo>
                    <a:pt x="1622" y="950"/>
                  </a:lnTo>
                  <a:lnTo>
                    <a:pt x="1624" y="952"/>
                  </a:lnTo>
                  <a:lnTo>
                    <a:pt x="1626" y="954"/>
                  </a:lnTo>
                  <a:lnTo>
                    <a:pt x="1626" y="954"/>
                  </a:lnTo>
                  <a:lnTo>
                    <a:pt x="1626" y="956"/>
                  </a:lnTo>
                  <a:lnTo>
                    <a:pt x="1628" y="958"/>
                  </a:lnTo>
                  <a:lnTo>
                    <a:pt x="1628" y="958"/>
                  </a:lnTo>
                  <a:lnTo>
                    <a:pt x="1630" y="962"/>
                  </a:lnTo>
                  <a:lnTo>
                    <a:pt x="1630" y="966"/>
                  </a:lnTo>
                  <a:lnTo>
                    <a:pt x="1632" y="972"/>
                  </a:lnTo>
                  <a:lnTo>
                    <a:pt x="1632" y="978"/>
                  </a:lnTo>
                  <a:lnTo>
                    <a:pt x="1634" y="984"/>
                  </a:lnTo>
                  <a:lnTo>
                    <a:pt x="1634" y="988"/>
                  </a:lnTo>
                  <a:lnTo>
                    <a:pt x="1636" y="994"/>
                  </a:lnTo>
                  <a:lnTo>
                    <a:pt x="1638" y="996"/>
                  </a:lnTo>
                  <a:lnTo>
                    <a:pt x="1638" y="996"/>
                  </a:lnTo>
                  <a:lnTo>
                    <a:pt x="1638" y="998"/>
                  </a:lnTo>
                  <a:lnTo>
                    <a:pt x="1640" y="1000"/>
                  </a:lnTo>
                  <a:lnTo>
                    <a:pt x="1640" y="1000"/>
                  </a:lnTo>
                  <a:lnTo>
                    <a:pt x="1640" y="1000"/>
                  </a:lnTo>
                  <a:lnTo>
                    <a:pt x="1642" y="1002"/>
                  </a:lnTo>
                  <a:lnTo>
                    <a:pt x="1642" y="1002"/>
                  </a:lnTo>
                  <a:lnTo>
                    <a:pt x="1642" y="1004"/>
                  </a:lnTo>
                  <a:lnTo>
                    <a:pt x="1646" y="1006"/>
                  </a:lnTo>
                  <a:lnTo>
                    <a:pt x="1648" y="1006"/>
                  </a:lnTo>
                  <a:lnTo>
                    <a:pt x="1650" y="1008"/>
                  </a:lnTo>
                  <a:lnTo>
                    <a:pt x="1654" y="1010"/>
                  </a:lnTo>
                  <a:lnTo>
                    <a:pt x="1656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58" y="1010"/>
                  </a:lnTo>
                  <a:lnTo>
                    <a:pt x="1660" y="1010"/>
                  </a:lnTo>
                  <a:lnTo>
                    <a:pt x="1660" y="1010"/>
                  </a:lnTo>
                  <a:lnTo>
                    <a:pt x="1660" y="1010"/>
                  </a:lnTo>
                  <a:lnTo>
                    <a:pt x="1662" y="1008"/>
                  </a:lnTo>
                  <a:lnTo>
                    <a:pt x="1662" y="1010"/>
                  </a:lnTo>
                  <a:lnTo>
                    <a:pt x="1666" y="1012"/>
                  </a:lnTo>
                  <a:lnTo>
                    <a:pt x="1668" y="1014"/>
                  </a:lnTo>
                  <a:lnTo>
                    <a:pt x="1674" y="1018"/>
                  </a:lnTo>
                  <a:lnTo>
                    <a:pt x="1676" y="1022"/>
                  </a:lnTo>
                  <a:lnTo>
                    <a:pt x="1678" y="1024"/>
                  </a:lnTo>
                  <a:lnTo>
                    <a:pt x="1678" y="1024"/>
                  </a:lnTo>
                  <a:lnTo>
                    <a:pt x="1678" y="1026"/>
                  </a:lnTo>
                  <a:lnTo>
                    <a:pt x="1680" y="1030"/>
                  </a:lnTo>
                  <a:lnTo>
                    <a:pt x="1682" y="1036"/>
                  </a:lnTo>
                  <a:lnTo>
                    <a:pt x="1682" y="1040"/>
                  </a:lnTo>
                  <a:lnTo>
                    <a:pt x="1684" y="1044"/>
                  </a:lnTo>
                  <a:lnTo>
                    <a:pt x="1684" y="1046"/>
                  </a:lnTo>
                  <a:lnTo>
                    <a:pt x="1684" y="1046"/>
                  </a:lnTo>
                  <a:lnTo>
                    <a:pt x="1686" y="1046"/>
                  </a:lnTo>
                  <a:lnTo>
                    <a:pt x="1686" y="1048"/>
                  </a:lnTo>
                  <a:lnTo>
                    <a:pt x="1686" y="1048"/>
                  </a:lnTo>
                  <a:lnTo>
                    <a:pt x="1688" y="1048"/>
                  </a:lnTo>
                  <a:lnTo>
                    <a:pt x="1690" y="1050"/>
                  </a:lnTo>
                  <a:lnTo>
                    <a:pt x="1690" y="1050"/>
                  </a:lnTo>
                  <a:lnTo>
                    <a:pt x="1690" y="1050"/>
                  </a:lnTo>
                  <a:lnTo>
                    <a:pt x="1692" y="1050"/>
                  </a:lnTo>
                  <a:lnTo>
                    <a:pt x="1692" y="1050"/>
                  </a:lnTo>
                  <a:lnTo>
                    <a:pt x="1692" y="1050"/>
                  </a:lnTo>
                  <a:lnTo>
                    <a:pt x="1694" y="1050"/>
                  </a:lnTo>
                  <a:lnTo>
                    <a:pt x="1696" y="1050"/>
                  </a:lnTo>
                  <a:lnTo>
                    <a:pt x="1696" y="1050"/>
                  </a:lnTo>
                  <a:lnTo>
                    <a:pt x="1698" y="1050"/>
                  </a:lnTo>
                  <a:lnTo>
                    <a:pt x="1702" y="1048"/>
                  </a:lnTo>
                  <a:lnTo>
                    <a:pt x="1708" y="1046"/>
                  </a:lnTo>
                  <a:lnTo>
                    <a:pt x="1710" y="1044"/>
                  </a:lnTo>
                  <a:lnTo>
                    <a:pt x="1712" y="1044"/>
                  </a:lnTo>
                  <a:lnTo>
                    <a:pt x="1718" y="1040"/>
                  </a:lnTo>
                  <a:lnTo>
                    <a:pt x="1722" y="1036"/>
                  </a:lnTo>
                  <a:lnTo>
                    <a:pt x="1728" y="1032"/>
                  </a:lnTo>
                  <a:lnTo>
                    <a:pt x="1734" y="1028"/>
                  </a:lnTo>
                  <a:lnTo>
                    <a:pt x="1736" y="1026"/>
                  </a:lnTo>
                  <a:lnTo>
                    <a:pt x="1738" y="1026"/>
                  </a:lnTo>
                  <a:lnTo>
                    <a:pt x="1740" y="1024"/>
                  </a:lnTo>
                  <a:lnTo>
                    <a:pt x="1740" y="1026"/>
                  </a:lnTo>
                  <a:lnTo>
                    <a:pt x="1740" y="1028"/>
                  </a:lnTo>
                  <a:lnTo>
                    <a:pt x="1738" y="1032"/>
                  </a:lnTo>
                  <a:lnTo>
                    <a:pt x="1738" y="1036"/>
                  </a:lnTo>
                  <a:lnTo>
                    <a:pt x="1736" y="1040"/>
                  </a:lnTo>
                  <a:lnTo>
                    <a:pt x="1736" y="1044"/>
                  </a:lnTo>
                  <a:lnTo>
                    <a:pt x="1732" y="1056"/>
                  </a:lnTo>
                  <a:lnTo>
                    <a:pt x="1728" y="1066"/>
                  </a:lnTo>
                  <a:lnTo>
                    <a:pt x="1726" y="1070"/>
                  </a:lnTo>
                  <a:lnTo>
                    <a:pt x="1724" y="1076"/>
                  </a:lnTo>
                  <a:lnTo>
                    <a:pt x="1722" y="1080"/>
                  </a:lnTo>
                  <a:lnTo>
                    <a:pt x="1720" y="1084"/>
                  </a:lnTo>
                  <a:lnTo>
                    <a:pt x="1720" y="1088"/>
                  </a:lnTo>
                  <a:lnTo>
                    <a:pt x="1718" y="1090"/>
                  </a:lnTo>
                  <a:lnTo>
                    <a:pt x="1716" y="1092"/>
                  </a:lnTo>
                  <a:lnTo>
                    <a:pt x="1716" y="1092"/>
                  </a:lnTo>
                  <a:lnTo>
                    <a:pt x="1716" y="1092"/>
                  </a:lnTo>
                  <a:lnTo>
                    <a:pt x="1714" y="1092"/>
                  </a:lnTo>
                  <a:lnTo>
                    <a:pt x="1712" y="1094"/>
                  </a:lnTo>
                  <a:lnTo>
                    <a:pt x="1708" y="1092"/>
                  </a:lnTo>
                  <a:lnTo>
                    <a:pt x="1708" y="1092"/>
                  </a:lnTo>
                  <a:lnTo>
                    <a:pt x="1704" y="1092"/>
                  </a:lnTo>
                  <a:lnTo>
                    <a:pt x="1700" y="1090"/>
                  </a:lnTo>
                  <a:lnTo>
                    <a:pt x="1696" y="1090"/>
                  </a:lnTo>
                  <a:lnTo>
                    <a:pt x="1694" y="1090"/>
                  </a:lnTo>
                  <a:lnTo>
                    <a:pt x="1694" y="1090"/>
                  </a:lnTo>
                  <a:lnTo>
                    <a:pt x="1694" y="1090"/>
                  </a:lnTo>
                  <a:lnTo>
                    <a:pt x="1692" y="1090"/>
                  </a:lnTo>
                  <a:lnTo>
                    <a:pt x="1692" y="1090"/>
                  </a:lnTo>
                  <a:lnTo>
                    <a:pt x="1690" y="1090"/>
                  </a:lnTo>
                  <a:lnTo>
                    <a:pt x="1690" y="1092"/>
                  </a:lnTo>
                  <a:lnTo>
                    <a:pt x="1690" y="1092"/>
                  </a:lnTo>
                  <a:lnTo>
                    <a:pt x="1688" y="1092"/>
                  </a:lnTo>
                  <a:lnTo>
                    <a:pt x="1688" y="1094"/>
                  </a:lnTo>
                  <a:lnTo>
                    <a:pt x="1688" y="1094"/>
                  </a:lnTo>
                  <a:lnTo>
                    <a:pt x="1688" y="1094"/>
                  </a:lnTo>
                  <a:lnTo>
                    <a:pt x="1686" y="1096"/>
                  </a:lnTo>
                  <a:lnTo>
                    <a:pt x="1686" y="1100"/>
                  </a:lnTo>
                  <a:lnTo>
                    <a:pt x="1684" y="1102"/>
                  </a:lnTo>
                  <a:lnTo>
                    <a:pt x="1684" y="1106"/>
                  </a:lnTo>
                  <a:lnTo>
                    <a:pt x="1684" y="1112"/>
                  </a:lnTo>
                  <a:lnTo>
                    <a:pt x="1682" y="1120"/>
                  </a:lnTo>
                  <a:lnTo>
                    <a:pt x="1682" y="1128"/>
                  </a:lnTo>
                  <a:lnTo>
                    <a:pt x="1684" y="1134"/>
                  </a:lnTo>
                  <a:lnTo>
                    <a:pt x="1684" y="1138"/>
                  </a:lnTo>
                  <a:lnTo>
                    <a:pt x="1684" y="1140"/>
                  </a:lnTo>
                  <a:lnTo>
                    <a:pt x="1686" y="1142"/>
                  </a:lnTo>
                  <a:lnTo>
                    <a:pt x="1686" y="1142"/>
                  </a:lnTo>
                  <a:lnTo>
                    <a:pt x="1686" y="1144"/>
                  </a:lnTo>
                  <a:lnTo>
                    <a:pt x="1686" y="1144"/>
                  </a:lnTo>
                  <a:lnTo>
                    <a:pt x="1686" y="1144"/>
                  </a:lnTo>
                  <a:lnTo>
                    <a:pt x="1686" y="1146"/>
                  </a:lnTo>
                  <a:lnTo>
                    <a:pt x="1690" y="1148"/>
                  </a:lnTo>
                  <a:lnTo>
                    <a:pt x="1690" y="1148"/>
                  </a:lnTo>
                  <a:lnTo>
                    <a:pt x="1690" y="1148"/>
                  </a:lnTo>
                  <a:lnTo>
                    <a:pt x="1694" y="1150"/>
                  </a:lnTo>
                  <a:lnTo>
                    <a:pt x="1694" y="1150"/>
                  </a:lnTo>
                  <a:lnTo>
                    <a:pt x="1696" y="1150"/>
                  </a:lnTo>
                  <a:lnTo>
                    <a:pt x="1700" y="1152"/>
                  </a:lnTo>
                  <a:lnTo>
                    <a:pt x="1700" y="1152"/>
                  </a:lnTo>
                  <a:lnTo>
                    <a:pt x="1706" y="1152"/>
                  </a:lnTo>
                  <a:lnTo>
                    <a:pt x="1712" y="1152"/>
                  </a:lnTo>
                  <a:lnTo>
                    <a:pt x="1718" y="1152"/>
                  </a:lnTo>
                  <a:lnTo>
                    <a:pt x="1724" y="1150"/>
                  </a:lnTo>
                  <a:lnTo>
                    <a:pt x="1730" y="1148"/>
                  </a:lnTo>
                  <a:lnTo>
                    <a:pt x="1736" y="1146"/>
                  </a:lnTo>
                  <a:lnTo>
                    <a:pt x="1740" y="1142"/>
                  </a:lnTo>
                  <a:lnTo>
                    <a:pt x="1746" y="1138"/>
                  </a:lnTo>
                  <a:lnTo>
                    <a:pt x="1750" y="1134"/>
                  </a:lnTo>
                  <a:lnTo>
                    <a:pt x="1756" y="1130"/>
                  </a:lnTo>
                  <a:lnTo>
                    <a:pt x="1760" y="1124"/>
                  </a:lnTo>
                  <a:lnTo>
                    <a:pt x="1766" y="1116"/>
                  </a:lnTo>
                  <a:lnTo>
                    <a:pt x="1772" y="1110"/>
                  </a:lnTo>
                  <a:lnTo>
                    <a:pt x="1774" y="1104"/>
                  </a:lnTo>
                  <a:lnTo>
                    <a:pt x="1778" y="1100"/>
                  </a:lnTo>
                  <a:lnTo>
                    <a:pt x="1782" y="1094"/>
                  </a:lnTo>
                  <a:lnTo>
                    <a:pt x="1786" y="1088"/>
                  </a:lnTo>
                  <a:lnTo>
                    <a:pt x="1794" y="1074"/>
                  </a:lnTo>
                  <a:lnTo>
                    <a:pt x="1804" y="1060"/>
                  </a:lnTo>
                  <a:lnTo>
                    <a:pt x="1812" y="1048"/>
                  </a:lnTo>
                  <a:lnTo>
                    <a:pt x="1820" y="1034"/>
                  </a:lnTo>
                  <a:lnTo>
                    <a:pt x="1824" y="1028"/>
                  </a:lnTo>
                  <a:lnTo>
                    <a:pt x="1826" y="1022"/>
                  </a:lnTo>
                  <a:lnTo>
                    <a:pt x="1830" y="1016"/>
                  </a:lnTo>
                  <a:lnTo>
                    <a:pt x="1832" y="1012"/>
                  </a:lnTo>
                  <a:lnTo>
                    <a:pt x="1834" y="1008"/>
                  </a:lnTo>
                  <a:lnTo>
                    <a:pt x="1834" y="1004"/>
                  </a:lnTo>
                  <a:lnTo>
                    <a:pt x="1836" y="1000"/>
                  </a:lnTo>
                  <a:lnTo>
                    <a:pt x="1836" y="996"/>
                  </a:lnTo>
                  <a:lnTo>
                    <a:pt x="1836" y="992"/>
                  </a:lnTo>
                  <a:lnTo>
                    <a:pt x="1836" y="986"/>
                  </a:lnTo>
                  <a:lnTo>
                    <a:pt x="1834" y="984"/>
                  </a:lnTo>
                  <a:lnTo>
                    <a:pt x="1832" y="980"/>
                  </a:lnTo>
                  <a:lnTo>
                    <a:pt x="1832" y="976"/>
                  </a:lnTo>
                  <a:lnTo>
                    <a:pt x="1832" y="976"/>
                  </a:lnTo>
                  <a:lnTo>
                    <a:pt x="1832" y="972"/>
                  </a:lnTo>
                  <a:lnTo>
                    <a:pt x="1832" y="968"/>
                  </a:lnTo>
                  <a:lnTo>
                    <a:pt x="1834" y="962"/>
                  </a:lnTo>
                  <a:lnTo>
                    <a:pt x="1836" y="952"/>
                  </a:lnTo>
                  <a:lnTo>
                    <a:pt x="1838" y="946"/>
                  </a:lnTo>
                  <a:lnTo>
                    <a:pt x="1840" y="940"/>
                  </a:lnTo>
                  <a:lnTo>
                    <a:pt x="1840" y="936"/>
                  </a:lnTo>
                  <a:lnTo>
                    <a:pt x="1840" y="930"/>
                  </a:lnTo>
                  <a:lnTo>
                    <a:pt x="1842" y="926"/>
                  </a:lnTo>
                  <a:lnTo>
                    <a:pt x="1842" y="924"/>
                  </a:lnTo>
                  <a:lnTo>
                    <a:pt x="1840" y="920"/>
                  </a:lnTo>
                  <a:lnTo>
                    <a:pt x="1840" y="918"/>
                  </a:lnTo>
                  <a:lnTo>
                    <a:pt x="1840" y="918"/>
                  </a:lnTo>
                  <a:lnTo>
                    <a:pt x="1840" y="918"/>
                  </a:lnTo>
                  <a:lnTo>
                    <a:pt x="1838" y="912"/>
                  </a:lnTo>
                  <a:lnTo>
                    <a:pt x="1836" y="908"/>
                  </a:lnTo>
                  <a:lnTo>
                    <a:pt x="1834" y="904"/>
                  </a:lnTo>
                  <a:lnTo>
                    <a:pt x="1832" y="902"/>
                  </a:lnTo>
                  <a:lnTo>
                    <a:pt x="1826" y="896"/>
                  </a:lnTo>
                  <a:lnTo>
                    <a:pt x="1822" y="892"/>
                  </a:lnTo>
                  <a:lnTo>
                    <a:pt x="1818" y="890"/>
                  </a:lnTo>
                  <a:lnTo>
                    <a:pt x="1816" y="888"/>
                  </a:lnTo>
                  <a:lnTo>
                    <a:pt x="1814" y="888"/>
                  </a:lnTo>
                  <a:lnTo>
                    <a:pt x="1814" y="888"/>
                  </a:lnTo>
                  <a:lnTo>
                    <a:pt x="1814" y="886"/>
                  </a:lnTo>
                  <a:lnTo>
                    <a:pt x="1812" y="886"/>
                  </a:lnTo>
                  <a:lnTo>
                    <a:pt x="1812" y="886"/>
                  </a:lnTo>
                  <a:lnTo>
                    <a:pt x="1812" y="886"/>
                  </a:lnTo>
                  <a:lnTo>
                    <a:pt x="1808" y="886"/>
                  </a:lnTo>
                  <a:lnTo>
                    <a:pt x="1808" y="886"/>
                  </a:lnTo>
                  <a:lnTo>
                    <a:pt x="1806" y="886"/>
                  </a:lnTo>
                  <a:lnTo>
                    <a:pt x="1804" y="888"/>
                  </a:lnTo>
                  <a:lnTo>
                    <a:pt x="1804" y="888"/>
                  </a:lnTo>
                  <a:lnTo>
                    <a:pt x="1802" y="888"/>
                  </a:lnTo>
                  <a:lnTo>
                    <a:pt x="1802" y="888"/>
                  </a:lnTo>
                  <a:lnTo>
                    <a:pt x="1802" y="888"/>
                  </a:lnTo>
                  <a:lnTo>
                    <a:pt x="1800" y="888"/>
                  </a:lnTo>
                  <a:lnTo>
                    <a:pt x="1800" y="890"/>
                  </a:lnTo>
                  <a:lnTo>
                    <a:pt x="1800" y="890"/>
                  </a:lnTo>
                  <a:lnTo>
                    <a:pt x="1800" y="890"/>
                  </a:lnTo>
                  <a:lnTo>
                    <a:pt x="1798" y="892"/>
                  </a:lnTo>
                  <a:lnTo>
                    <a:pt x="1798" y="892"/>
                  </a:lnTo>
                  <a:lnTo>
                    <a:pt x="1798" y="894"/>
                  </a:lnTo>
                  <a:lnTo>
                    <a:pt x="1798" y="896"/>
                  </a:lnTo>
                  <a:lnTo>
                    <a:pt x="1798" y="898"/>
                  </a:lnTo>
                  <a:lnTo>
                    <a:pt x="1800" y="902"/>
                  </a:lnTo>
                  <a:lnTo>
                    <a:pt x="1800" y="904"/>
                  </a:lnTo>
                  <a:lnTo>
                    <a:pt x="1800" y="906"/>
                  </a:lnTo>
                  <a:lnTo>
                    <a:pt x="1800" y="908"/>
                  </a:lnTo>
                  <a:lnTo>
                    <a:pt x="1798" y="908"/>
                  </a:lnTo>
                  <a:lnTo>
                    <a:pt x="1798" y="908"/>
                  </a:lnTo>
                  <a:lnTo>
                    <a:pt x="1796" y="908"/>
                  </a:lnTo>
                  <a:lnTo>
                    <a:pt x="1794" y="908"/>
                  </a:lnTo>
                  <a:lnTo>
                    <a:pt x="1792" y="906"/>
                  </a:lnTo>
                  <a:lnTo>
                    <a:pt x="1792" y="906"/>
                  </a:lnTo>
                  <a:lnTo>
                    <a:pt x="1792" y="904"/>
                  </a:lnTo>
                  <a:lnTo>
                    <a:pt x="1792" y="904"/>
                  </a:lnTo>
                  <a:lnTo>
                    <a:pt x="1792" y="904"/>
                  </a:lnTo>
                  <a:lnTo>
                    <a:pt x="1792" y="900"/>
                  </a:lnTo>
                  <a:lnTo>
                    <a:pt x="1794" y="894"/>
                  </a:lnTo>
                  <a:lnTo>
                    <a:pt x="1796" y="890"/>
                  </a:lnTo>
                  <a:lnTo>
                    <a:pt x="1798" y="884"/>
                  </a:lnTo>
                  <a:lnTo>
                    <a:pt x="1798" y="880"/>
                  </a:lnTo>
                  <a:lnTo>
                    <a:pt x="1800" y="876"/>
                  </a:lnTo>
                  <a:lnTo>
                    <a:pt x="1800" y="874"/>
                  </a:lnTo>
                  <a:lnTo>
                    <a:pt x="1800" y="874"/>
                  </a:lnTo>
                  <a:lnTo>
                    <a:pt x="1800" y="872"/>
                  </a:lnTo>
                  <a:lnTo>
                    <a:pt x="1800" y="872"/>
                  </a:lnTo>
                  <a:lnTo>
                    <a:pt x="1798" y="870"/>
                  </a:lnTo>
                  <a:lnTo>
                    <a:pt x="1798" y="870"/>
                  </a:lnTo>
                  <a:lnTo>
                    <a:pt x="1798" y="870"/>
                  </a:lnTo>
                  <a:lnTo>
                    <a:pt x="1796" y="870"/>
                  </a:lnTo>
                  <a:lnTo>
                    <a:pt x="1794" y="870"/>
                  </a:lnTo>
                  <a:lnTo>
                    <a:pt x="1794" y="870"/>
                  </a:lnTo>
                  <a:lnTo>
                    <a:pt x="1794" y="870"/>
                  </a:lnTo>
                  <a:lnTo>
                    <a:pt x="1792" y="872"/>
                  </a:lnTo>
                  <a:lnTo>
                    <a:pt x="1790" y="872"/>
                  </a:lnTo>
                  <a:lnTo>
                    <a:pt x="1786" y="876"/>
                  </a:lnTo>
                  <a:lnTo>
                    <a:pt x="1782" y="878"/>
                  </a:lnTo>
                  <a:lnTo>
                    <a:pt x="1780" y="878"/>
                  </a:lnTo>
                  <a:lnTo>
                    <a:pt x="1778" y="880"/>
                  </a:lnTo>
                  <a:lnTo>
                    <a:pt x="1772" y="880"/>
                  </a:lnTo>
                  <a:lnTo>
                    <a:pt x="1768" y="880"/>
                  </a:lnTo>
                  <a:lnTo>
                    <a:pt x="1764" y="880"/>
                  </a:lnTo>
                  <a:lnTo>
                    <a:pt x="1758" y="880"/>
                  </a:lnTo>
                  <a:lnTo>
                    <a:pt x="1754" y="880"/>
                  </a:lnTo>
                  <a:lnTo>
                    <a:pt x="1752" y="880"/>
                  </a:lnTo>
                  <a:lnTo>
                    <a:pt x="1750" y="880"/>
                  </a:lnTo>
                  <a:lnTo>
                    <a:pt x="1748" y="880"/>
                  </a:lnTo>
                  <a:lnTo>
                    <a:pt x="1748" y="878"/>
                  </a:lnTo>
                  <a:lnTo>
                    <a:pt x="1750" y="878"/>
                  </a:lnTo>
                  <a:lnTo>
                    <a:pt x="1750" y="876"/>
                  </a:lnTo>
                  <a:lnTo>
                    <a:pt x="1754" y="872"/>
                  </a:lnTo>
                  <a:lnTo>
                    <a:pt x="1754" y="872"/>
                  </a:lnTo>
                  <a:lnTo>
                    <a:pt x="1758" y="868"/>
                  </a:lnTo>
                  <a:lnTo>
                    <a:pt x="1760" y="866"/>
                  </a:lnTo>
                  <a:lnTo>
                    <a:pt x="1762" y="864"/>
                  </a:lnTo>
                  <a:lnTo>
                    <a:pt x="1770" y="860"/>
                  </a:lnTo>
                  <a:lnTo>
                    <a:pt x="1772" y="858"/>
                  </a:lnTo>
                  <a:lnTo>
                    <a:pt x="1776" y="854"/>
                  </a:lnTo>
                  <a:lnTo>
                    <a:pt x="1780" y="850"/>
                  </a:lnTo>
                  <a:lnTo>
                    <a:pt x="1786" y="846"/>
                  </a:lnTo>
                  <a:lnTo>
                    <a:pt x="1790" y="842"/>
                  </a:lnTo>
                  <a:lnTo>
                    <a:pt x="1794" y="838"/>
                  </a:lnTo>
                  <a:lnTo>
                    <a:pt x="1796" y="836"/>
                  </a:lnTo>
                  <a:lnTo>
                    <a:pt x="1796" y="836"/>
                  </a:lnTo>
                  <a:lnTo>
                    <a:pt x="1796" y="836"/>
                  </a:lnTo>
                  <a:lnTo>
                    <a:pt x="1798" y="834"/>
                  </a:lnTo>
                  <a:lnTo>
                    <a:pt x="1798" y="834"/>
                  </a:lnTo>
                  <a:lnTo>
                    <a:pt x="1798" y="834"/>
                  </a:lnTo>
                  <a:lnTo>
                    <a:pt x="1798" y="830"/>
                  </a:lnTo>
                  <a:lnTo>
                    <a:pt x="1800" y="826"/>
                  </a:lnTo>
                  <a:lnTo>
                    <a:pt x="1800" y="828"/>
                  </a:lnTo>
                  <a:lnTo>
                    <a:pt x="1800" y="826"/>
                  </a:lnTo>
                  <a:lnTo>
                    <a:pt x="1802" y="824"/>
                  </a:lnTo>
                  <a:lnTo>
                    <a:pt x="1802" y="824"/>
                  </a:lnTo>
                  <a:lnTo>
                    <a:pt x="1804" y="822"/>
                  </a:lnTo>
                  <a:lnTo>
                    <a:pt x="1808" y="820"/>
                  </a:lnTo>
                  <a:lnTo>
                    <a:pt x="1812" y="818"/>
                  </a:lnTo>
                  <a:lnTo>
                    <a:pt x="1814" y="816"/>
                  </a:lnTo>
                  <a:lnTo>
                    <a:pt x="1816" y="816"/>
                  </a:lnTo>
                  <a:lnTo>
                    <a:pt x="1818" y="814"/>
                  </a:lnTo>
                  <a:lnTo>
                    <a:pt x="1818" y="812"/>
                  </a:lnTo>
                  <a:lnTo>
                    <a:pt x="1818" y="812"/>
                  </a:lnTo>
                  <a:lnTo>
                    <a:pt x="1818" y="812"/>
                  </a:lnTo>
                  <a:lnTo>
                    <a:pt x="1820" y="810"/>
                  </a:lnTo>
                  <a:lnTo>
                    <a:pt x="1822" y="808"/>
                  </a:lnTo>
                  <a:lnTo>
                    <a:pt x="1822" y="806"/>
                  </a:lnTo>
                  <a:lnTo>
                    <a:pt x="1824" y="804"/>
                  </a:lnTo>
                  <a:lnTo>
                    <a:pt x="1828" y="800"/>
                  </a:lnTo>
                  <a:lnTo>
                    <a:pt x="1828" y="800"/>
                  </a:lnTo>
                  <a:lnTo>
                    <a:pt x="1830" y="800"/>
                  </a:lnTo>
                  <a:lnTo>
                    <a:pt x="1832" y="796"/>
                  </a:lnTo>
                  <a:lnTo>
                    <a:pt x="1832" y="796"/>
                  </a:lnTo>
                  <a:lnTo>
                    <a:pt x="1832" y="796"/>
                  </a:lnTo>
                  <a:lnTo>
                    <a:pt x="1832" y="794"/>
                  </a:lnTo>
                  <a:lnTo>
                    <a:pt x="1832" y="792"/>
                  </a:lnTo>
                  <a:lnTo>
                    <a:pt x="1834" y="788"/>
                  </a:lnTo>
                  <a:lnTo>
                    <a:pt x="1834" y="786"/>
                  </a:lnTo>
                  <a:lnTo>
                    <a:pt x="1834" y="784"/>
                  </a:lnTo>
                  <a:lnTo>
                    <a:pt x="1834" y="782"/>
                  </a:lnTo>
                  <a:lnTo>
                    <a:pt x="1836" y="782"/>
                  </a:lnTo>
                  <a:lnTo>
                    <a:pt x="1836" y="782"/>
                  </a:lnTo>
                  <a:lnTo>
                    <a:pt x="1838" y="782"/>
                  </a:lnTo>
                  <a:lnTo>
                    <a:pt x="1842" y="784"/>
                  </a:lnTo>
                  <a:lnTo>
                    <a:pt x="1842" y="784"/>
                  </a:lnTo>
                  <a:lnTo>
                    <a:pt x="1842" y="784"/>
                  </a:lnTo>
                  <a:lnTo>
                    <a:pt x="1844" y="784"/>
                  </a:lnTo>
                  <a:lnTo>
                    <a:pt x="1844" y="784"/>
                  </a:lnTo>
                  <a:lnTo>
                    <a:pt x="1844" y="784"/>
                  </a:lnTo>
                  <a:lnTo>
                    <a:pt x="1846" y="782"/>
                  </a:lnTo>
                  <a:lnTo>
                    <a:pt x="1846" y="782"/>
                  </a:lnTo>
                  <a:lnTo>
                    <a:pt x="1848" y="782"/>
                  </a:lnTo>
                  <a:lnTo>
                    <a:pt x="1848" y="782"/>
                  </a:lnTo>
                  <a:lnTo>
                    <a:pt x="1848" y="782"/>
                  </a:lnTo>
                  <a:lnTo>
                    <a:pt x="1848" y="780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8"/>
                  </a:lnTo>
                  <a:lnTo>
                    <a:pt x="1850" y="774"/>
                  </a:lnTo>
                  <a:lnTo>
                    <a:pt x="1850" y="772"/>
                  </a:lnTo>
                  <a:lnTo>
                    <a:pt x="1850" y="770"/>
                  </a:lnTo>
                  <a:lnTo>
                    <a:pt x="1850" y="770"/>
                  </a:lnTo>
                  <a:lnTo>
                    <a:pt x="1854" y="764"/>
                  </a:lnTo>
                  <a:lnTo>
                    <a:pt x="1854" y="760"/>
                  </a:lnTo>
                  <a:lnTo>
                    <a:pt x="1856" y="758"/>
                  </a:lnTo>
                  <a:lnTo>
                    <a:pt x="1856" y="760"/>
                  </a:lnTo>
                  <a:lnTo>
                    <a:pt x="1856" y="758"/>
                  </a:lnTo>
                  <a:lnTo>
                    <a:pt x="1858" y="758"/>
                  </a:lnTo>
                  <a:lnTo>
                    <a:pt x="1862" y="756"/>
                  </a:lnTo>
                  <a:lnTo>
                    <a:pt x="1866" y="754"/>
                  </a:lnTo>
                  <a:lnTo>
                    <a:pt x="1870" y="754"/>
                  </a:lnTo>
                  <a:lnTo>
                    <a:pt x="1874" y="754"/>
                  </a:lnTo>
                  <a:lnTo>
                    <a:pt x="1878" y="754"/>
                  </a:lnTo>
                  <a:lnTo>
                    <a:pt x="1884" y="754"/>
                  </a:lnTo>
                  <a:lnTo>
                    <a:pt x="1888" y="754"/>
                  </a:lnTo>
                  <a:lnTo>
                    <a:pt x="1892" y="754"/>
                  </a:lnTo>
                  <a:lnTo>
                    <a:pt x="1896" y="754"/>
                  </a:lnTo>
                  <a:lnTo>
                    <a:pt x="1900" y="754"/>
                  </a:lnTo>
                  <a:lnTo>
                    <a:pt x="1902" y="754"/>
                  </a:lnTo>
                  <a:lnTo>
                    <a:pt x="1902" y="754"/>
                  </a:lnTo>
                  <a:lnTo>
                    <a:pt x="1904" y="756"/>
                  </a:lnTo>
                  <a:lnTo>
                    <a:pt x="1904" y="754"/>
                  </a:lnTo>
                  <a:lnTo>
                    <a:pt x="1906" y="758"/>
                  </a:lnTo>
                  <a:lnTo>
                    <a:pt x="1908" y="760"/>
                  </a:lnTo>
                  <a:lnTo>
                    <a:pt x="1908" y="760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0" y="762"/>
                  </a:lnTo>
                  <a:lnTo>
                    <a:pt x="1912" y="762"/>
                  </a:lnTo>
                  <a:lnTo>
                    <a:pt x="1912" y="762"/>
                  </a:lnTo>
                  <a:lnTo>
                    <a:pt x="1914" y="762"/>
                  </a:lnTo>
                  <a:lnTo>
                    <a:pt x="1914" y="760"/>
                  </a:lnTo>
                  <a:lnTo>
                    <a:pt x="1914" y="760"/>
                  </a:lnTo>
                  <a:lnTo>
                    <a:pt x="1916" y="760"/>
                  </a:lnTo>
                  <a:lnTo>
                    <a:pt x="1916" y="758"/>
                  </a:lnTo>
                  <a:lnTo>
                    <a:pt x="1914" y="756"/>
                  </a:lnTo>
                  <a:lnTo>
                    <a:pt x="1916" y="758"/>
                  </a:lnTo>
                  <a:lnTo>
                    <a:pt x="1918" y="760"/>
                  </a:lnTo>
                  <a:lnTo>
                    <a:pt x="1918" y="760"/>
                  </a:lnTo>
                  <a:lnTo>
                    <a:pt x="1918" y="760"/>
                  </a:lnTo>
                  <a:lnTo>
                    <a:pt x="1920" y="762"/>
                  </a:lnTo>
                  <a:lnTo>
                    <a:pt x="1920" y="762"/>
                  </a:lnTo>
                  <a:lnTo>
                    <a:pt x="1922" y="762"/>
                  </a:lnTo>
                  <a:lnTo>
                    <a:pt x="1924" y="762"/>
                  </a:lnTo>
                  <a:lnTo>
                    <a:pt x="1924" y="762"/>
                  </a:lnTo>
                  <a:lnTo>
                    <a:pt x="1924" y="762"/>
                  </a:lnTo>
                  <a:lnTo>
                    <a:pt x="1926" y="762"/>
                  </a:lnTo>
                  <a:lnTo>
                    <a:pt x="1930" y="760"/>
                  </a:lnTo>
                  <a:lnTo>
                    <a:pt x="1934" y="758"/>
                  </a:lnTo>
                  <a:lnTo>
                    <a:pt x="1938" y="756"/>
                  </a:lnTo>
                  <a:lnTo>
                    <a:pt x="1940" y="756"/>
                  </a:lnTo>
                  <a:lnTo>
                    <a:pt x="1942" y="756"/>
                  </a:lnTo>
                  <a:lnTo>
                    <a:pt x="1942" y="756"/>
                  </a:lnTo>
                  <a:lnTo>
                    <a:pt x="1944" y="756"/>
                  </a:lnTo>
                  <a:lnTo>
                    <a:pt x="1946" y="756"/>
                  </a:lnTo>
                  <a:lnTo>
                    <a:pt x="1950" y="756"/>
                  </a:lnTo>
                  <a:lnTo>
                    <a:pt x="1954" y="758"/>
                  </a:lnTo>
                  <a:lnTo>
                    <a:pt x="1954" y="758"/>
                  </a:lnTo>
                  <a:lnTo>
                    <a:pt x="1954" y="758"/>
                  </a:lnTo>
                  <a:lnTo>
                    <a:pt x="1956" y="758"/>
                  </a:lnTo>
                  <a:lnTo>
                    <a:pt x="1956" y="758"/>
                  </a:lnTo>
                  <a:lnTo>
                    <a:pt x="1956" y="758"/>
                  </a:lnTo>
                  <a:lnTo>
                    <a:pt x="1958" y="756"/>
                  </a:lnTo>
                  <a:lnTo>
                    <a:pt x="1958" y="756"/>
                  </a:lnTo>
                  <a:lnTo>
                    <a:pt x="1960" y="756"/>
                  </a:lnTo>
                  <a:lnTo>
                    <a:pt x="1960" y="754"/>
                  </a:lnTo>
                  <a:lnTo>
                    <a:pt x="1960" y="754"/>
                  </a:lnTo>
                  <a:lnTo>
                    <a:pt x="1960" y="754"/>
                  </a:lnTo>
                  <a:lnTo>
                    <a:pt x="1960" y="752"/>
                  </a:lnTo>
                  <a:lnTo>
                    <a:pt x="1960" y="752"/>
                  </a:lnTo>
                  <a:lnTo>
                    <a:pt x="1960" y="750"/>
                  </a:lnTo>
                  <a:lnTo>
                    <a:pt x="1960" y="748"/>
                  </a:lnTo>
                  <a:lnTo>
                    <a:pt x="1960" y="746"/>
                  </a:lnTo>
                  <a:lnTo>
                    <a:pt x="1960" y="744"/>
                  </a:lnTo>
                  <a:lnTo>
                    <a:pt x="1960" y="742"/>
                  </a:lnTo>
                  <a:lnTo>
                    <a:pt x="1960" y="740"/>
                  </a:lnTo>
                  <a:lnTo>
                    <a:pt x="1960" y="740"/>
                  </a:lnTo>
                  <a:lnTo>
                    <a:pt x="1962" y="740"/>
                  </a:lnTo>
                  <a:lnTo>
                    <a:pt x="1964" y="740"/>
                  </a:lnTo>
                  <a:lnTo>
                    <a:pt x="1964" y="740"/>
                  </a:lnTo>
                  <a:lnTo>
                    <a:pt x="1966" y="742"/>
                  </a:lnTo>
                  <a:lnTo>
                    <a:pt x="1968" y="742"/>
                  </a:lnTo>
                  <a:lnTo>
                    <a:pt x="1970" y="744"/>
                  </a:lnTo>
                  <a:lnTo>
                    <a:pt x="1976" y="748"/>
                  </a:lnTo>
                  <a:lnTo>
                    <a:pt x="1982" y="752"/>
                  </a:lnTo>
                  <a:lnTo>
                    <a:pt x="1984" y="754"/>
                  </a:lnTo>
                  <a:lnTo>
                    <a:pt x="1986" y="756"/>
                  </a:lnTo>
                  <a:lnTo>
                    <a:pt x="1988" y="758"/>
                  </a:lnTo>
                  <a:lnTo>
                    <a:pt x="1988" y="758"/>
                  </a:lnTo>
                  <a:lnTo>
                    <a:pt x="1990" y="762"/>
                  </a:lnTo>
                  <a:lnTo>
                    <a:pt x="1992" y="764"/>
                  </a:lnTo>
                  <a:lnTo>
                    <a:pt x="1992" y="764"/>
                  </a:lnTo>
                  <a:lnTo>
                    <a:pt x="1994" y="764"/>
                  </a:lnTo>
                  <a:lnTo>
                    <a:pt x="1996" y="764"/>
                  </a:lnTo>
                  <a:lnTo>
                    <a:pt x="1996" y="764"/>
                  </a:lnTo>
                  <a:lnTo>
                    <a:pt x="1996" y="766"/>
                  </a:lnTo>
                  <a:lnTo>
                    <a:pt x="1998" y="766"/>
                  </a:lnTo>
                  <a:lnTo>
                    <a:pt x="1998" y="766"/>
                  </a:lnTo>
                  <a:lnTo>
                    <a:pt x="1998" y="766"/>
                  </a:lnTo>
                  <a:lnTo>
                    <a:pt x="2000" y="766"/>
                  </a:lnTo>
                  <a:lnTo>
                    <a:pt x="2000" y="766"/>
                  </a:lnTo>
                  <a:lnTo>
                    <a:pt x="2002" y="766"/>
                  </a:lnTo>
                  <a:lnTo>
                    <a:pt x="2002" y="766"/>
                  </a:lnTo>
                  <a:lnTo>
                    <a:pt x="2004" y="766"/>
                  </a:lnTo>
                  <a:lnTo>
                    <a:pt x="2008" y="764"/>
                  </a:lnTo>
                  <a:lnTo>
                    <a:pt x="2012" y="762"/>
                  </a:lnTo>
                  <a:lnTo>
                    <a:pt x="2018" y="760"/>
                  </a:lnTo>
                  <a:lnTo>
                    <a:pt x="2018" y="760"/>
                  </a:lnTo>
                  <a:lnTo>
                    <a:pt x="2022" y="758"/>
                  </a:lnTo>
                  <a:lnTo>
                    <a:pt x="2028" y="758"/>
                  </a:lnTo>
                  <a:lnTo>
                    <a:pt x="2030" y="758"/>
                  </a:lnTo>
                  <a:lnTo>
                    <a:pt x="2032" y="758"/>
                  </a:lnTo>
                  <a:lnTo>
                    <a:pt x="2032" y="758"/>
                  </a:lnTo>
                  <a:lnTo>
                    <a:pt x="2034" y="758"/>
                  </a:lnTo>
                  <a:lnTo>
                    <a:pt x="2036" y="758"/>
                  </a:lnTo>
                  <a:lnTo>
                    <a:pt x="2036" y="758"/>
                  </a:lnTo>
                  <a:lnTo>
                    <a:pt x="2036" y="756"/>
                  </a:lnTo>
                  <a:lnTo>
                    <a:pt x="2038" y="756"/>
                  </a:lnTo>
                  <a:lnTo>
                    <a:pt x="2038" y="756"/>
                  </a:lnTo>
                  <a:lnTo>
                    <a:pt x="2038" y="754"/>
                  </a:lnTo>
                  <a:lnTo>
                    <a:pt x="2040" y="752"/>
                  </a:lnTo>
                  <a:lnTo>
                    <a:pt x="2040" y="752"/>
                  </a:lnTo>
                  <a:lnTo>
                    <a:pt x="2040" y="752"/>
                  </a:lnTo>
                  <a:lnTo>
                    <a:pt x="2042" y="748"/>
                  </a:lnTo>
                  <a:lnTo>
                    <a:pt x="2042" y="744"/>
                  </a:lnTo>
                  <a:lnTo>
                    <a:pt x="2042" y="742"/>
                  </a:lnTo>
                  <a:lnTo>
                    <a:pt x="2042" y="734"/>
                  </a:lnTo>
                  <a:lnTo>
                    <a:pt x="2044" y="730"/>
                  </a:lnTo>
                  <a:lnTo>
                    <a:pt x="2044" y="732"/>
                  </a:lnTo>
                  <a:lnTo>
                    <a:pt x="2044" y="728"/>
                  </a:lnTo>
                  <a:lnTo>
                    <a:pt x="2046" y="726"/>
                  </a:lnTo>
                  <a:lnTo>
                    <a:pt x="2046" y="726"/>
                  </a:lnTo>
                  <a:lnTo>
                    <a:pt x="2048" y="724"/>
                  </a:lnTo>
                  <a:lnTo>
                    <a:pt x="2048" y="726"/>
                  </a:lnTo>
                  <a:lnTo>
                    <a:pt x="2054" y="722"/>
                  </a:lnTo>
                  <a:lnTo>
                    <a:pt x="2058" y="720"/>
                  </a:lnTo>
                  <a:lnTo>
                    <a:pt x="2060" y="718"/>
                  </a:lnTo>
                  <a:lnTo>
                    <a:pt x="2060" y="718"/>
                  </a:lnTo>
                  <a:lnTo>
                    <a:pt x="2062" y="718"/>
                  </a:lnTo>
                  <a:lnTo>
                    <a:pt x="2062" y="716"/>
                  </a:lnTo>
                  <a:lnTo>
                    <a:pt x="2062" y="716"/>
                  </a:lnTo>
                  <a:lnTo>
                    <a:pt x="2064" y="716"/>
                  </a:lnTo>
                  <a:lnTo>
                    <a:pt x="2064" y="714"/>
                  </a:lnTo>
                  <a:lnTo>
                    <a:pt x="2066" y="712"/>
                  </a:lnTo>
                  <a:lnTo>
                    <a:pt x="2066" y="712"/>
                  </a:lnTo>
                  <a:lnTo>
                    <a:pt x="2066" y="712"/>
                  </a:lnTo>
                  <a:lnTo>
                    <a:pt x="2068" y="708"/>
                  </a:lnTo>
                  <a:lnTo>
                    <a:pt x="2068" y="706"/>
                  </a:lnTo>
                  <a:lnTo>
                    <a:pt x="2070" y="704"/>
                  </a:lnTo>
                  <a:lnTo>
                    <a:pt x="2072" y="700"/>
                  </a:lnTo>
                  <a:lnTo>
                    <a:pt x="2072" y="696"/>
                  </a:lnTo>
                  <a:lnTo>
                    <a:pt x="2074" y="694"/>
                  </a:lnTo>
                  <a:lnTo>
                    <a:pt x="2076" y="692"/>
                  </a:lnTo>
                  <a:lnTo>
                    <a:pt x="2076" y="690"/>
                  </a:lnTo>
                  <a:lnTo>
                    <a:pt x="2078" y="688"/>
                  </a:lnTo>
                  <a:lnTo>
                    <a:pt x="2080" y="686"/>
                  </a:lnTo>
                  <a:lnTo>
                    <a:pt x="2084" y="684"/>
                  </a:lnTo>
                  <a:lnTo>
                    <a:pt x="2086" y="684"/>
                  </a:lnTo>
                  <a:lnTo>
                    <a:pt x="2088" y="682"/>
                  </a:lnTo>
                  <a:lnTo>
                    <a:pt x="2092" y="682"/>
                  </a:lnTo>
                  <a:lnTo>
                    <a:pt x="2098" y="680"/>
                  </a:lnTo>
                  <a:lnTo>
                    <a:pt x="2100" y="680"/>
                  </a:lnTo>
                  <a:lnTo>
                    <a:pt x="2104" y="678"/>
                  </a:lnTo>
                  <a:lnTo>
                    <a:pt x="2106" y="680"/>
                  </a:lnTo>
                  <a:lnTo>
                    <a:pt x="2106" y="680"/>
                  </a:lnTo>
                  <a:lnTo>
                    <a:pt x="2108" y="680"/>
                  </a:lnTo>
                  <a:lnTo>
                    <a:pt x="2110" y="682"/>
                  </a:lnTo>
                  <a:lnTo>
                    <a:pt x="2112" y="684"/>
                  </a:lnTo>
                  <a:lnTo>
                    <a:pt x="2114" y="686"/>
                  </a:lnTo>
                  <a:lnTo>
                    <a:pt x="2114" y="686"/>
                  </a:lnTo>
                  <a:lnTo>
                    <a:pt x="2114" y="686"/>
                  </a:lnTo>
                  <a:lnTo>
                    <a:pt x="2114" y="690"/>
                  </a:lnTo>
                  <a:lnTo>
                    <a:pt x="2114" y="694"/>
                  </a:lnTo>
                  <a:lnTo>
                    <a:pt x="2114" y="696"/>
                  </a:lnTo>
                  <a:lnTo>
                    <a:pt x="2114" y="698"/>
                  </a:lnTo>
                  <a:lnTo>
                    <a:pt x="2114" y="700"/>
                  </a:lnTo>
                  <a:lnTo>
                    <a:pt x="2116" y="702"/>
                  </a:lnTo>
                  <a:lnTo>
                    <a:pt x="2116" y="708"/>
                  </a:lnTo>
                  <a:lnTo>
                    <a:pt x="2118" y="710"/>
                  </a:lnTo>
                  <a:lnTo>
                    <a:pt x="2118" y="712"/>
                  </a:lnTo>
                  <a:lnTo>
                    <a:pt x="2118" y="712"/>
                  </a:lnTo>
                  <a:lnTo>
                    <a:pt x="2118" y="712"/>
                  </a:lnTo>
                  <a:lnTo>
                    <a:pt x="2120" y="714"/>
                  </a:lnTo>
                  <a:lnTo>
                    <a:pt x="2120" y="714"/>
                  </a:lnTo>
                  <a:lnTo>
                    <a:pt x="2120" y="716"/>
                  </a:lnTo>
                  <a:lnTo>
                    <a:pt x="2122" y="716"/>
                  </a:lnTo>
                  <a:lnTo>
                    <a:pt x="2122" y="716"/>
                  </a:lnTo>
                  <a:lnTo>
                    <a:pt x="2122" y="716"/>
                  </a:lnTo>
                  <a:lnTo>
                    <a:pt x="2124" y="718"/>
                  </a:lnTo>
                  <a:lnTo>
                    <a:pt x="2124" y="718"/>
                  </a:lnTo>
                  <a:lnTo>
                    <a:pt x="2124" y="718"/>
                  </a:lnTo>
                  <a:lnTo>
                    <a:pt x="2126" y="718"/>
                  </a:lnTo>
                  <a:lnTo>
                    <a:pt x="2126" y="718"/>
                  </a:lnTo>
                  <a:lnTo>
                    <a:pt x="2128" y="718"/>
                  </a:lnTo>
                  <a:lnTo>
                    <a:pt x="2130" y="716"/>
                  </a:lnTo>
                  <a:lnTo>
                    <a:pt x="2130" y="716"/>
                  </a:lnTo>
                  <a:lnTo>
                    <a:pt x="2130" y="716"/>
                  </a:lnTo>
                  <a:lnTo>
                    <a:pt x="2132" y="714"/>
                  </a:lnTo>
                  <a:lnTo>
                    <a:pt x="2138" y="712"/>
                  </a:lnTo>
                  <a:lnTo>
                    <a:pt x="2142" y="708"/>
                  </a:lnTo>
                  <a:lnTo>
                    <a:pt x="2144" y="706"/>
                  </a:lnTo>
                  <a:lnTo>
                    <a:pt x="2148" y="704"/>
                  </a:lnTo>
                  <a:lnTo>
                    <a:pt x="2152" y="696"/>
                  </a:lnTo>
                  <a:lnTo>
                    <a:pt x="2156" y="690"/>
                  </a:lnTo>
                  <a:lnTo>
                    <a:pt x="2158" y="688"/>
                  </a:lnTo>
                  <a:lnTo>
                    <a:pt x="2160" y="686"/>
                  </a:lnTo>
                  <a:lnTo>
                    <a:pt x="2162" y="684"/>
                  </a:lnTo>
                  <a:lnTo>
                    <a:pt x="2162" y="684"/>
                  </a:lnTo>
                  <a:lnTo>
                    <a:pt x="2166" y="682"/>
                  </a:lnTo>
                  <a:lnTo>
                    <a:pt x="2168" y="680"/>
                  </a:lnTo>
                  <a:lnTo>
                    <a:pt x="2168" y="680"/>
                  </a:lnTo>
                  <a:lnTo>
                    <a:pt x="2168" y="680"/>
                  </a:lnTo>
                  <a:lnTo>
                    <a:pt x="2170" y="678"/>
                  </a:lnTo>
                  <a:lnTo>
                    <a:pt x="2170" y="678"/>
                  </a:lnTo>
                  <a:lnTo>
                    <a:pt x="2170" y="678"/>
                  </a:lnTo>
                  <a:lnTo>
                    <a:pt x="2170" y="676"/>
                  </a:lnTo>
                  <a:lnTo>
                    <a:pt x="2170" y="676"/>
                  </a:lnTo>
                  <a:lnTo>
                    <a:pt x="2172" y="676"/>
                  </a:lnTo>
                  <a:lnTo>
                    <a:pt x="2172" y="674"/>
                  </a:lnTo>
                  <a:lnTo>
                    <a:pt x="2172" y="674"/>
                  </a:lnTo>
                  <a:lnTo>
                    <a:pt x="2172" y="672"/>
                  </a:lnTo>
                  <a:lnTo>
                    <a:pt x="2170" y="672"/>
                  </a:lnTo>
                  <a:lnTo>
                    <a:pt x="2170" y="672"/>
                  </a:lnTo>
                  <a:lnTo>
                    <a:pt x="2170" y="670"/>
                  </a:lnTo>
                  <a:lnTo>
                    <a:pt x="2168" y="666"/>
                  </a:lnTo>
                  <a:lnTo>
                    <a:pt x="2168" y="664"/>
                  </a:lnTo>
                  <a:lnTo>
                    <a:pt x="2168" y="664"/>
                  </a:lnTo>
                  <a:lnTo>
                    <a:pt x="2166" y="662"/>
                  </a:lnTo>
                  <a:lnTo>
                    <a:pt x="2166" y="662"/>
                  </a:lnTo>
                  <a:lnTo>
                    <a:pt x="2168" y="658"/>
                  </a:lnTo>
                  <a:lnTo>
                    <a:pt x="2168" y="656"/>
                  </a:lnTo>
                  <a:lnTo>
                    <a:pt x="2168" y="656"/>
                  </a:lnTo>
                  <a:lnTo>
                    <a:pt x="2168" y="656"/>
                  </a:lnTo>
                  <a:lnTo>
                    <a:pt x="2170" y="654"/>
                  </a:lnTo>
                  <a:lnTo>
                    <a:pt x="2170" y="654"/>
                  </a:lnTo>
                  <a:lnTo>
                    <a:pt x="2172" y="654"/>
                  </a:lnTo>
                  <a:lnTo>
                    <a:pt x="2172" y="654"/>
                  </a:lnTo>
                  <a:lnTo>
                    <a:pt x="2174" y="654"/>
                  </a:lnTo>
                  <a:lnTo>
                    <a:pt x="2176" y="654"/>
                  </a:lnTo>
                  <a:lnTo>
                    <a:pt x="2180" y="654"/>
                  </a:lnTo>
                  <a:lnTo>
                    <a:pt x="2184" y="654"/>
                  </a:lnTo>
                  <a:lnTo>
                    <a:pt x="2188" y="654"/>
                  </a:lnTo>
                  <a:lnTo>
                    <a:pt x="2192" y="654"/>
                  </a:lnTo>
                  <a:lnTo>
                    <a:pt x="2190" y="654"/>
                  </a:lnTo>
                  <a:lnTo>
                    <a:pt x="2186" y="658"/>
                  </a:lnTo>
                  <a:lnTo>
                    <a:pt x="2186" y="658"/>
                  </a:lnTo>
                  <a:lnTo>
                    <a:pt x="2186" y="658"/>
                  </a:lnTo>
                  <a:lnTo>
                    <a:pt x="2184" y="662"/>
                  </a:lnTo>
                  <a:lnTo>
                    <a:pt x="2184" y="662"/>
                  </a:lnTo>
                  <a:lnTo>
                    <a:pt x="2184" y="662"/>
                  </a:lnTo>
                  <a:lnTo>
                    <a:pt x="2182" y="664"/>
                  </a:lnTo>
                  <a:lnTo>
                    <a:pt x="2182" y="664"/>
                  </a:lnTo>
                  <a:lnTo>
                    <a:pt x="2182" y="666"/>
                  </a:lnTo>
                  <a:lnTo>
                    <a:pt x="2180" y="668"/>
                  </a:lnTo>
                  <a:lnTo>
                    <a:pt x="2180" y="670"/>
                  </a:lnTo>
                  <a:lnTo>
                    <a:pt x="2180" y="674"/>
                  </a:lnTo>
                  <a:lnTo>
                    <a:pt x="2180" y="684"/>
                  </a:lnTo>
                  <a:lnTo>
                    <a:pt x="2180" y="688"/>
                  </a:lnTo>
                  <a:lnTo>
                    <a:pt x="2180" y="694"/>
                  </a:lnTo>
                  <a:lnTo>
                    <a:pt x="2178" y="698"/>
                  </a:lnTo>
                  <a:lnTo>
                    <a:pt x="2178" y="700"/>
                  </a:lnTo>
                  <a:lnTo>
                    <a:pt x="2176" y="704"/>
                  </a:lnTo>
                  <a:lnTo>
                    <a:pt x="2172" y="706"/>
                  </a:lnTo>
                  <a:lnTo>
                    <a:pt x="2174" y="706"/>
                  </a:lnTo>
                  <a:lnTo>
                    <a:pt x="2170" y="708"/>
                  </a:lnTo>
                  <a:lnTo>
                    <a:pt x="2166" y="710"/>
                  </a:lnTo>
                  <a:lnTo>
                    <a:pt x="2158" y="714"/>
                  </a:lnTo>
                  <a:lnTo>
                    <a:pt x="2154" y="716"/>
                  </a:lnTo>
                  <a:lnTo>
                    <a:pt x="2152" y="718"/>
                  </a:lnTo>
                  <a:lnTo>
                    <a:pt x="2148" y="720"/>
                  </a:lnTo>
                  <a:lnTo>
                    <a:pt x="2146" y="722"/>
                  </a:lnTo>
                  <a:lnTo>
                    <a:pt x="2142" y="724"/>
                  </a:lnTo>
                  <a:lnTo>
                    <a:pt x="2140" y="726"/>
                  </a:lnTo>
                  <a:lnTo>
                    <a:pt x="2136" y="728"/>
                  </a:lnTo>
                  <a:lnTo>
                    <a:pt x="2134" y="732"/>
                  </a:lnTo>
                  <a:lnTo>
                    <a:pt x="2132" y="734"/>
                  </a:lnTo>
                  <a:lnTo>
                    <a:pt x="2130" y="738"/>
                  </a:lnTo>
                  <a:lnTo>
                    <a:pt x="2126" y="742"/>
                  </a:lnTo>
                  <a:lnTo>
                    <a:pt x="2122" y="746"/>
                  </a:lnTo>
                  <a:lnTo>
                    <a:pt x="2120" y="752"/>
                  </a:lnTo>
                  <a:lnTo>
                    <a:pt x="2112" y="762"/>
                  </a:lnTo>
                  <a:lnTo>
                    <a:pt x="2110" y="766"/>
                  </a:lnTo>
                  <a:lnTo>
                    <a:pt x="2106" y="770"/>
                  </a:lnTo>
                  <a:lnTo>
                    <a:pt x="2098" y="776"/>
                  </a:lnTo>
                  <a:lnTo>
                    <a:pt x="2092" y="784"/>
                  </a:lnTo>
                  <a:lnTo>
                    <a:pt x="2084" y="790"/>
                  </a:lnTo>
                  <a:lnTo>
                    <a:pt x="2078" y="796"/>
                  </a:lnTo>
                  <a:lnTo>
                    <a:pt x="2074" y="800"/>
                  </a:lnTo>
                  <a:lnTo>
                    <a:pt x="2070" y="802"/>
                  </a:lnTo>
                  <a:lnTo>
                    <a:pt x="2064" y="808"/>
                  </a:lnTo>
                  <a:lnTo>
                    <a:pt x="2062" y="812"/>
                  </a:lnTo>
                  <a:lnTo>
                    <a:pt x="2058" y="816"/>
                  </a:lnTo>
                  <a:lnTo>
                    <a:pt x="2056" y="820"/>
                  </a:lnTo>
                  <a:lnTo>
                    <a:pt x="2054" y="824"/>
                  </a:lnTo>
                  <a:lnTo>
                    <a:pt x="2052" y="830"/>
                  </a:lnTo>
                  <a:lnTo>
                    <a:pt x="2050" y="836"/>
                  </a:lnTo>
                  <a:lnTo>
                    <a:pt x="2048" y="844"/>
                  </a:lnTo>
                  <a:lnTo>
                    <a:pt x="2048" y="850"/>
                  </a:lnTo>
                  <a:lnTo>
                    <a:pt x="2048" y="858"/>
                  </a:lnTo>
                  <a:lnTo>
                    <a:pt x="2048" y="866"/>
                  </a:lnTo>
                  <a:lnTo>
                    <a:pt x="2046" y="872"/>
                  </a:lnTo>
                  <a:lnTo>
                    <a:pt x="2048" y="878"/>
                  </a:lnTo>
                  <a:lnTo>
                    <a:pt x="2048" y="882"/>
                  </a:lnTo>
                  <a:lnTo>
                    <a:pt x="2048" y="882"/>
                  </a:lnTo>
                  <a:lnTo>
                    <a:pt x="2048" y="882"/>
                  </a:lnTo>
                  <a:lnTo>
                    <a:pt x="2050" y="884"/>
                  </a:lnTo>
                  <a:lnTo>
                    <a:pt x="2050" y="884"/>
                  </a:lnTo>
                  <a:lnTo>
                    <a:pt x="2050" y="886"/>
                  </a:lnTo>
                  <a:lnTo>
                    <a:pt x="2052" y="888"/>
                  </a:lnTo>
                  <a:lnTo>
                    <a:pt x="2052" y="888"/>
                  </a:lnTo>
                  <a:lnTo>
                    <a:pt x="2052" y="888"/>
                  </a:lnTo>
                  <a:lnTo>
                    <a:pt x="2054" y="890"/>
                  </a:lnTo>
                  <a:lnTo>
                    <a:pt x="2058" y="894"/>
                  </a:lnTo>
                  <a:lnTo>
                    <a:pt x="2058" y="894"/>
                  </a:lnTo>
                  <a:lnTo>
                    <a:pt x="2058" y="896"/>
                  </a:lnTo>
                  <a:lnTo>
                    <a:pt x="2060" y="898"/>
                  </a:lnTo>
                  <a:lnTo>
                    <a:pt x="2060" y="900"/>
                  </a:lnTo>
                  <a:lnTo>
                    <a:pt x="2060" y="904"/>
                  </a:lnTo>
                  <a:lnTo>
                    <a:pt x="2060" y="910"/>
                  </a:lnTo>
                  <a:lnTo>
                    <a:pt x="2058" y="918"/>
                  </a:lnTo>
                  <a:lnTo>
                    <a:pt x="2058" y="922"/>
                  </a:lnTo>
                  <a:lnTo>
                    <a:pt x="2058" y="924"/>
                  </a:lnTo>
                  <a:lnTo>
                    <a:pt x="2058" y="926"/>
                  </a:lnTo>
                  <a:lnTo>
                    <a:pt x="2058" y="928"/>
                  </a:lnTo>
                  <a:lnTo>
                    <a:pt x="2058" y="928"/>
                  </a:lnTo>
                  <a:lnTo>
                    <a:pt x="2060" y="928"/>
                  </a:lnTo>
                  <a:lnTo>
                    <a:pt x="2060" y="930"/>
                  </a:lnTo>
                  <a:lnTo>
                    <a:pt x="2062" y="934"/>
                  </a:lnTo>
                  <a:lnTo>
                    <a:pt x="2064" y="938"/>
                  </a:lnTo>
                  <a:lnTo>
                    <a:pt x="2064" y="940"/>
                  </a:lnTo>
                  <a:lnTo>
                    <a:pt x="2066" y="942"/>
                  </a:lnTo>
                  <a:lnTo>
                    <a:pt x="2066" y="944"/>
                  </a:lnTo>
                  <a:lnTo>
                    <a:pt x="2066" y="948"/>
                  </a:lnTo>
                  <a:lnTo>
                    <a:pt x="2066" y="952"/>
                  </a:lnTo>
                  <a:lnTo>
                    <a:pt x="2066" y="956"/>
                  </a:lnTo>
                  <a:lnTo>
                    <a:pt x="2066" y="960"/>
                  </a:lnTo>
                  <a:lnTo>
                    <a:pt x="2064" y="964"/>
                  </a:lnTo>
                  <a:lnTo>
                    <a:pt x="2066" y="968"/>
                  </a:lnTo>
                  <a:lnTo>
                    <a:pt x="2066" y="970"/>
                  </a:lnTo>
                  <a:lnTo>
                    <a:pt x="2066" y="970"/>
                  </a:lnTo>
                  <a:lnTo>
                    <a:pt x="2066" y="970"/>
                  </a:lnTo>
                  <a:lnTo>
                    <a:pt x="2066" y="972"/>
                  </a:lnTo>
                  <a:lnTo>
                    <a:pt x="2066" y="972"/>
                  </a:lnTo>
                  <a:lnTo>
                    <a:pt x="2070" y="972"/>
                  </a:lnTo>
                  <a:lnTo>
                    <a:pt x="2070" y="972"/>
                  </a:lnTo>
                  <a:lnTo>
                    <a:pt x="2070" y="972"/>
                  </a:lnTo>
                  <a:lnTo>
                    <a:pt x="2072" y="972"/>
                  </a:lnTo>
                  <a:lnTo>
                    <a:pt x="2072" y="970"/>
                  </a:lnTo>
                  <a:lnTo>
                    <a:pt x="2074" y="970"/>
                  </a:lnTo>
                  <a:lnTo>
                    <a:pt x="2076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78" y="966"/>
                  </a:lnTo>
                  <a:lnTo>
                    <a:pt x="2082" y="966"/>
                  </a:lnTo>
                  <a:lnTo>
                    <a:pt x="2084" y="966"/>
                  </a:lnTo>
                  <a:lnTo>
                    <a:pt x="2084" y="966"/>
                  </a:lnTo>
                  <a:lnTo>
                    <a:pt x="2084" y="966"/>
                  </a:lnTo>
                  <a:lnTo>
                    <a:pt x="2086" y="966"/>
                  </a:lnTo>
                  <a:lnTo>
                    <a:pt x="2086" y="966"/>
                  </a:lnTo>
                  <a:lnTo>
                    <a:pt x="2086" y="966"/>
                  </a:lnTo>
                  <a:lnTo>
                    <a:pt x="2088" y="964"/>
                  </a:lnTo>
                  <a:lnTo>
                    <a:pt x="2088" y="964"/>
                  </a:lnTo>
                  <a:lnTo>
                    <a:pt x="2088" y="964"/>
                  </a:lnTo>
                  <a:lnTo>
                    <a:pt x="2090" y="962"/>
                  </a:lnTo>
                  <a:lnTo>
                    <a:pt x="2090" y="962"/>
                  </a:lnTo>
                  <a:lnTo>
                    <a:pt x="2090" y="962"/>
                  </a:lnTo>
                  <a:lnTo>
                    <a:pt x="2092" y="960"/>
                  </a:lnTo>
                  <a:lnTo>
                    <a:pt x="2094" y="956"/>
                  </a:lnTo>
                  <a:lnTo>
                    <a:pt x="2096" y="954"/>
                  </a:lnTo>
                  <a:lnTo>
                    <a:pt x="2098" y="950"/>
                  </a:lnTo>
                  <a:lnTo>
                    <a:pt x="2100" y="942"/>
                  </a:lnTo>
                  <a:lnTo>
                    <a:pt x="2102" y="940"/>
                  </a:lnTo>
                  <a:lnTo>
                    <a:pt x="2102" y="936"/>
                  </a:lnTo>
                  <a:lnTo>
                    <a:pt x="2104" y="932"/>
                  </a:lnTo>
                  <a:lnTo>
                    <a:pt x="2106" y="926"/>
                  </a:lnTo>
                  <a:lnTo>
                    <a:pt x="2108" y="924"/>
                  </a:lnTo>
                  <a:lnTo>
                    <a:pt x="2108" y="922"/>
                  </a:lnTo>
                  <a:lnTo>
                    <a:pt x="2110" y="922"/>
                  </a:lnTo>
                  <a:lnTo>
                    <a:pt x="2110" y="922"/>
                  </a:lnTo>
                  <a:lnTo>
                    <a:pt x="2110" y="922"/>
                  </a:lnTo>
                  <a:lnTo>
                    <a:pt x="2112" y="922"/>
                  </a:lnTo>
                  <a:lnTo>
                    <a:pt x="2112" y="924"/>
                  </a:lnTo>
                  <a:lnTo>
                    <a:pt x="2114" y="926"/>
                  </a:lnTo>
                  <a:lnTo>
                    <a:pt x="2116" y="928"/>
                  </a:lnTo>
                  <a:lnTo>
                    <a:pt x="2116" y="928"/>
                  </a:lnTo>
                  <a:lnTo>
                    <a:pt x="2118" y="928"/>
                  </a:lnTo>
                  <a:lnTo>
                    <a:pt x="2118" y="928"/>
                  </a:lnTo>
                  <a:lnTo>
                    <a:pt x="2118" y="928"/>
                  </a:lnTo>
                  <a:lnTo>
                    <a:pt x="2122" y="928"/>
                  </a:lnTo>
                  <a:lnTo>
                    <a:pt x="2122" y="926"/>
                  </a:lnTo>
                  <a:lnTo>
                    <a:pt x="2122" y="926"/>
                  </a:lnTo>
                  <a:lnTo>
                    <a:pt x="2124" y="924"/>
                  </a:lnTo>
                  <a:lnTo>
                    <a:pt x="2124" y="924"/>
                  </a:lnTo>
                  <a:lnTo>
                    <a:pt x="2124" y="922"/>
                  </a:lnTo>
                  <a:lnTo>
                    <a:pt x="2122" y="920"/>
                  </a:lnTo>
                  <a:lnTo>
                    <a:pt x="2122" y="918"/>
                  </a:lnTo>
                  <a:lnTo>
                    <a:pt x="2122" y="914"/>
                  </a:lnTo>
                  <a:lnTo>
                    <a:pt x="2120" y="910"/>
                  </a:lnTo>
                  <a:lnTo>
                    <a:pt x="2120" y="908"/>
                  </a:lnTo>
                  <a:lnTo>
                    <a:pt x="2120" y="904"/>
                  </a:lnTo>
                  <a:lnTo>
                    <a:pt x="2118" y="902"/>
                  </a:lnTo>
                  <a:lnTo>
                    <a:pt x="2120" y="902"/>
                  </a:lnTo>
                  <a:lnTo>
                    <a:pt x="2120" y="900"/>
                  </a:lnTo>
                  <a:lnTo>
                    <a:pt x="2120" y="900"/>
                  </a:lnTo>
                  <a:lnTo>
                    <a:pt x="2122" y="898"/>
                  </a:lnTo>
                  <a:lnTo>
                    <a:pt x="2124" y="896"/>
                  </a:lnTo>
                  <a:lnTo>
                    <a:pt x="2126" y="894"/>
                  </a:lnTo>
                  <a:lnTo>
                    <a:pt x="2128" y="892"/>
                  </a:lnTo>
                  <a:lnTo>
                    <a:pt x="2132" y="890"/>
                  </a:lnTo>
                  <a:lnTo>
                    <a:pt x="2130" y="890"/>
                  </a:lnTo>
                  <a:lnTo>
                    <a:pt x="2134" y="888"/>
                  </a:lnTo>
                  <a:lnTo>
                    <a:pt x="2134" y="888"/>
                  </a:lnTo>
                  <a:lnTo>
                    <a:pt x="2134" y="888"/>
                  </a:lnTo>
                  <a:lnTo>
                    <a:pt x="2138" y="888"/>
                  </a:lnTo>
                  <a:lnTo>
                    <a:pt x="2142" y="890"/>
                  </a:lnTo>
                  <a:lnTo>
                    <a:pt x="2142" y="890"/>
                  </a:lnTo>
                  <a:lnTo>
                    <a:pt x="2142" y="890"/>
                  </a:lnTo>
                  <a:lnTo>
                    <a:pt x="2144" y="890"/>
                  </a:lnTo>
                  <a:lnTo>
                    <a:pt x="2144" y="890"/>
                  </a:lnTo>
                  <a:lnTo>
                    <a:pt x="2144" y="888"/>
                  </a:lnTo>
                  <a:lnTo>
                    <a:pt x="2146" y="888"/>
                  </a:lnTo>
                  <a:lnTo>
                    <a:pt x="2146" y="888"/>
                  </a:lnTo>
                  <a:lnTo>
                    <a:pt x="2146" y="888"/>
                  </a:lnTo>
                  <a:lnTo>
                    <a:pt x="2148" y="886"/>
                  </a:lnTo>
                  <a:lnTo>
                    <a:pt x="2148" y="886"/>
                  </a:lnTo>
                  <a:lnTo>
                    <a:pt x="2148" y="886"/>
                  </a:lnTo>
                  <a:lnTo>
                    <a:pt x="2152" y="884"/>
                  </a:lnTo>
                  <a:lnTo>
                    <a:pt x="2154" y="880"/>
                  </a:lnTo>
                  <a:lnTo>
                    <a:pt x="2154" y="880"/>
                  </a:lnTo>
                  <a:lnTo>
                    <a:pt x="2154" y="880"/>
                  </a:lnTo>
                  <a:lnTo>
                    <a:pt x="2154" y="878"/>
                  </a:lnTo>
                  <a:lnTo>
                    <a:pt x="2154" y="878"/>
                  </a:lnTo>
                  <a:lnTo>
                    <a:pt x="2154" y="878"/>
                  </a:lnTo>
                  <a:lnTo>
                    <a:pt x="2156" y="874"/>
                  </a:lnTo>
                  <a:lnTo>
                    <a:pt x="2156" y="874"/>
                  </a:lnTo>
                  <a:lnTo>
                    <a:pt x="2156" y="872"/>
                  </a:lnTo>
                  <a:lnTo>
                    <a:pt x="2156" y="868"/>
                  </a:lnTo>
                  <a:lnTo>
                    <a:pt x="2154" y="864"/>
                  </a:lnTo>
                  <a:lnTo>
                    <a:pt x="2154" y="860"/>
                  </a:lnTo>
                  <a:lnTo>
                    <a:pt x="2154" y="856"/>
                  </a:lnTo>
                  <a:lnTo>
                    <a:pt x="2154" y="852"/>
                  </a:lnTo>
                  <a:lnTo>
                    <a:pt x="2154" y="852"/>
                  </a:lnTo>
                  <a:lnTo>
                    <a:pt x="2154" y="850"/>
                  </a:lnTo>
                  <a:lnTo>
                    <a:pt x="2154" y="850"/>
                  </a:lnTo>
                  <a:lnTo>
                    <a:pt x="2156" y="850"/>
                  </a:lnTo>
                  <a:lnTo>
                    <a:pt x="2158" y="852"/>
                  </a:lnTo>
                  <a:lnTo>
                    <a:pt x="2162" y="852"/>
                  </a:lnTo>
                  <a:lnTo>
                    <a:pt x="2166" y="852"/>
                  </a:lnTo>
                  <a:lnTo>
                    <a:pt x="2168" y="852"/>
                  </a:lnTo>
                  <a:lnTo>
                    <a:pt x="2168" y="852"/>
                  </a:lnTo>
                  <a:lnTo>
                    <a:pt x="2170" y="852"/>
                  </a:lnTo>
                  <a:lnTo>
                    <a:pt x="2170" y="852"/>
                  </a:lnTo>
                  <a:lnTo>
                    <a:pt x="2172" y="852"/>
                  </a:lnTo>
                  <a:lnTo>
                    <a:pt x="2174" y="852"/>
                  </a:lnTo>
                  <a:lnTo>
                    <a:pt x="2174" y="852"/>
                  </a:lnTo>
                  <a:lnTo>
                    <a:pt x="2174" y="850"/>
                  </a:lnTo>
                  <a:lnTo>
                    <a:pt x="2176" y="848"/>
                  </a:lnTo>
                  <a:lnTo>
                    <a:pt x="2176" y="848"/>
                  </a:lnTo>
                  <a:lnTo>
                    <a:pt x="2176" y="848"/>
                  </a:lnTo>
                  <a:lnTo>
                    <a:pt x="2176" y="846"/>
                  </a:lnTo>
                  <a:lnTo>
                    <a:pt x="2176" y="846"/>
                  </a:lnTo>
                  <a:lnTo>
                    <a:pt x="2176" y="846"/>
                  </a:lnTo>
                  <a:lnTo>
                    <a:pt x="2176" y="844"/>
                  </a:lnTo>
                  <a:lnTo>
                    <a:pt x="2176" y="840"/>
                  </a:lnTo>
                  <a:lnTo>
                    <a:pt x="2174" y="836"/>
                  </a:lnTo>
                  <a:lnTo>
                    <a:pt x="2174" y="830"/>
                  </a:lnTo>
                  <a:lnTo>
                    <a:pt x="2174" y="828"/>
                  </a:lnTo>
                  <a:lnTo>
                    <a:pt x="2174" y="828"/>
                  </a:lnTo>
                  <a:lnTo>
                    <a:pt x="2174" y="828"/>
                  </a:lnTo>
                  <a:lnTo>
                    <a:pt x="2172" y="824"/>
                  </a:lnTo>
                  <a:lnTo>
                    <a:pt x="2168" y="820"/>
                  </a:lnTo>
                  <a:lnTo>
                    <a:pt x="2168" y="818"/>
                  </a:lnTo>
                  <a:lnTo>
                    <a:pt x="2166" y="816"/>
                  </a:lnTo>
                  <a:lnTo>
                    <a:pt x="2166" y="814"/>
                  </a:lnTo>
                  <a:lnTo>
                    <a:pt x="2166" y="812"/>
                  </a:lnTo>
                  <a:lnTo>
                    <a:pt x="2166" y="812"/>
                  </a:lnTo>
                  <a:lnTo>
                    <a:pt x="2166" y="810"/>
                  </a:lnTo>
                  <a:lnTo>
                    <a:pt x="2168" y="808"/>
                  </a:lnTo>
                  <a:lnTo>
                    <a:pt x="2170" y="806"/>
                  </a:lnTo>
                  <a:lnTo>
                    <a:pt x="2172" y="804"/>
                  </a:lnTo>
                  <a:lnTo>
                    <a:pt x="2174" y="804"/>
                  </a:lnTo>
                  <a:lnTo>
                    <a:pt x="2174" y="804"/>
                  </a:lnTo>
                  <a:lnTo>
                    <a:pt x="2174" y="802"/>
                  </a:lnTo>
                  <a:lnTo>
                    <a:pt x="2174" y="802"/>
                  </a:lnTo>
                  <a:lnTo>
                    <a:pt x="2174" y="802"/>
                  </a:lnTo>
                  <a:lnTo>
                    <a:pt x="2174" y="800"/>
                  </a:lnTo>
                  <a:lnTo>
                    <a:pt x="2174" y="800"/>
                  </a:lnTo>
                  <a:lnTo>
                    <a:pt x="2174" y="800"/>
                  </a:lnTo>
                  <a:lnTo>
                    <a:pt x="2174" y="798"/>
                  </a:lnTo>
                  <a:lnTo>
                    <a:pt x="2174" y="796"/>
                  </a:lnTo>
                  <a:lnTo>
                    <a:pt x="2172" y="796"/>
                  </a:lnTo>
                  <a:lnTo>
                    <a:pt x="2172" y="796"/>
                  </a:lnTo>
                  <a:lnTo>
                    <a:pt x="2172" y="796"/>
                  </a:lnTo>
                  <a:lnTo>
                    <a:pt x="2168" y="796"/>
                  </a:lnTo>
                  <a:lnTo>
                    <a:pt x="2166" y="796"/>
                  </a:lnTo>
                  <a:lnTo>
                    <a:pt x="2164" y="798"/>
                  </a:lnTo>
                  <a:lnTo>
                    <a:pt x="2160" y="798"/>
                  </a:lnTo>
                  <a:lnTo>
                    <a:pt x="2158" y="798"/>
                  </a:lnTo>
                  <a:lnTo>
                    <a:pt x="2158" y="798"/>
                  </a:lnTo>
                  <a:lnTo>
                    <a:pt x="2156" y="798"/>
                  </a:lnTo>
                  <a:lnTo>
                    <a:pt x="2156" y="798"/>
                  </a:lnTo>
                  <a:lnTo>
                    <a:pt x="2156" y="798"/>
                  </a:lnTo>
                  <a:lnTo>
                    <a:pt x="2156" y="794"/>
                  </a:lnTo>
                  <a:lnTo>
                    <a:pt x="2156" y="790"/>
                  </a:lnTo>
                  <a:lnTo>
                    <a:pt x="2156" y="786"/>
                  </a:lnTo>
                  <a:lnTo>
                    <a:pt x="2156" y="782"/>
                  </a:lnTo>
                  <a:lnTo>
                    <a:pt x="2156" y="780"/>
                  </a:lnTo>
                  <a:lnTo>
                    <a:pt x="2156" y="776"/>
                  </a:lnTo>
                  <a:lnTo>
                    <a:pt x="2158" y="774"/>
                  </a:lnTo>
                  <a:lnTo>
                    <a:pt x="2158" y="772"/>
                  </a:lnTo>
                  <a:lnTo>
                    <a:pt x="2160" y="770"/>
                  </a:lnTo>
                  <a:lnTo>
                    <a:pt x="2162" y="768"/>
                  </a:lnTo>
                  <a:lnTo>
                    <a:pt x="2164" y="766"/>
                  </a:lnTo>
                  <a:lnTo>
                    <a:pt x="2166" y="766"/>
                  </a:lnTo>
                  <a:lnTo>
                    <a:pt x="2168" y="766"/>
                  </a:lnTo>
                  <a:lnTo>
                    <a:pt x="2168" y="766"/>
                  </a:lnTo>
                  <a:lnTo>
                    <a:pt x="2168" y="770"/>
                  </a:lnTo>
                  <a:lnTo>
                    <a:pt x="2168" y="772"/>
                  </a:lnTo>
                  <a:lnTo>
                    <a:pt x="2168" y="772"/>
                  </a:lnTo>
                  <a:lnTo>
                    <a:pt x="2168" y="774"/>
                  </a:lnTo>
                  <a:lnTo>
                    <a:pt x="2168" y="774"/>
                  </a:lnTo>
                  <a:lnTo>
                    <a:pt x="2168" y="776"/>
                  </a:lnTo>
                  <a:lnTo>
                    <a:pt x="2170" y="776"/>
                  </a:lnTo>
                  <a:lnTo>
                    <a:pt x="2170" y="776"/>
                  </a:lnTo>
                  <a:lnTo>
                    <a:pt x="2172" y="778"/>
                  </a:lnTo>
                  <a:lnTo>
                    <a:pt x="2172" y="778"/>
                  </a:lnTo>
                  <a:lnTo>
                    <a:pt x="2172" y="778"/>
                  </a:lnTo>
                  <a:lnTo>
                    <a:pt x="2174" y="778"/>
                  </a:lnTo>
                  <a:lnTo>
                    <a:pt x="2176" y="778"/>
                  </a:lnTo>
                  <a:lnTo>
                    <a:pt x="2178" y="778"/>
                  </a:lnTo>
                  <a:lnTo>
                    <a:pt x="2182" y="778"/>
                  </a:lnTo>
                  <a:lnTo>
                    <a:pt x="2184" y="776"/>
                  </a:lnTo>
                  <a:lnTo>
                    <a:pt x="2188" y="776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0" y="774"/>
                  </a:lnTo>
                  <a:lnTo>
                    <a:pt x="2192" y="772"/>
                  </a:lnTo>
                  <a:lnTo>
                    <a:pt x="2194" y="770"/>
                  </a:lnTo>
                  <a:lnTo>
                    <a:pt x="2194" y="770"/>
                  </a:lnTo>
                  <a:lnTo>
                    <a:pt x="2194" y="768"/>
                  </a:lnTo>
                  <a:lnTo>
                    <a:pt x="2194" y="766"/>
                  </a:lnTo>
                  <a:lnTo>
                    <a:pt x="2194" y="766"/>
                  </a:lnTo>
                  <a:lnTo>
                    <a:pt x="2194" y="764"/>
                  </a:lnTo>
                  <a:lnTo>
                    <a:pt x="2194" y="762"/>
                  </a:lnTo>
                  <a:lnTo>
                    <a:pt x="2194" y="762"/>
                  </a:lnTo>
                  <a:lnTo>
                    <a:pt x="2194" y="762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4" y="760"/>
                  </a:lnTo>
                  <a:lnTo>
                    <a:pt x="2192" y="758"/>
                  </a:lnTo>
                  <a:lnTo>
                    <a:pt x="2192" y="758"/>
                  </a:lnTo>
                  <a:lnTo>
                    <a:pt x="2192" y="758"/>
                  </a:lnTo>
                  <a:lnTo>
                    <a:pt x="2190" y="756"/>
                  </a:lnTo>
                  <a:lnTo>
                    <a:pt x="2190" y="756"/>
                  </a:lnTo>
                  <a:lnTo>
                    <a:pt x="2190" y="756"/>
                  </a:lnTo>
                  <a:lnTo>
                    <a:pt x="2188" y="756"/>
                  </a:lnTo>
                  <a:lnTo>
                    <a:pt x="2188" y="756"/>
                  </a:lnTo>
                  <a:lnTo>
                    <a:pt x="2184" y="756"/>
                  </a:lnTo>
                  <a:lnTo>
                    <a:pt x="2180" y="758"/>
                  </a:lnTo>
                  <a:lnTo>
                    <a:pt x="2178" y="758"/>
                  </a:lnTo>
                  <a:lnTo>
                    <a:pt x="2178" y="758"/>
                  </a:lnTo>
                  <a:lnTo>
                    <a:pt x="2176" y="756"/>
                  </a:lnTo>
                  <a:lnTo>
                    <a:pt x="2174" y="756"/>
                  </a:lnTo>
                  <a:lnTo>
                    <a:pt x="2168" y="754"/>
                  </a:lnTo>
                  <a:lnTo>
                    <a:pt x="2166" y="754"/>
                  </a:lnTo>
                  <a:lnTo>
                    <a:pt x="2166" y="754"/>
                  </a:lnTo>
                  <a:lnTo>
                    <a:pt x="2166" y="752"/>
                  </a:lnTo>
                  <a:lnTo>
                    <a:pt x="2168" y="752"/>
                  </a:lnTo>
                  <a:lnTo>
                    <a:pt x="2172" y="750"/>
                  </a:lnTo>
                  <a:lnTo>
                    <a:pt x="2178" y="746"/>
                  </a:lnTo>
                  <a:lnTo>
                    <a:pt x="2182" y="744"/>
                  </a:lnTo>
                  <a:lnTo>
                    <a:pt x="2184" y="744"/>
                  </a:lnTo>
                  <a:lnTo>
                    <a:pt x="2190" y="742"/>
                  </a:lnTo>
                  <a:lnTo>
                    <a:pt x="2196" y="740"/>
                  </a:lnTo>
                  <a:lnTo>
                    <a:pt x="2202" y="738"/>
                  </a:lnTo>
                  <a:lnTo>
                    <a:pt x="2204" y="736"/>
                  </a:lnTo>
                  <a:lnTo>
                    <a:pt x="2204" y="736"/>
                  </a:lnTo>
                  <a:lnTo>
                    <a:pt x="2204" y="736"/>
                  </a:lnTo>
                  <a:lnTo>
                    <a:pt x="2206" y="736"/>
                  </a:lnTo>
                  <a:lnTo>
                    <a:pt x="2206" y="736"/>
                  </a:lnTo>
                  <a:lnTo>
                    <a:pt x="2208" y="734"/>
                  </a:lnTo>
                  <a:lnTo>
                    <a:pt x="2208" y="734"/>
                  </a:lnTo>
                  <a:lnTo>
                    <a:pt x="2208" y="734"/>
                  </a:lnTo>
                  <a:lnTo>
                    <a:pt x="2210" y="732"/>
                  </a:lnTo>
                  <a:lnTo>
                    <a:pt x="2210" y="730"/>
                  </a:lnTo>
                  <a:lnTo>
                    <a:pt x="2210" y="730"/>
                  </a:lnTo>
                  <a:lnTo>
                    <a:pt x="2212" y="730"/>
                  </a:lnTo>
                  <a:lnTo>
                    <a:pt x="2214" y="726"/>
                  </a:lnTo>
                  <a:lnTo>
                    <a:pt x="2214" y="724"/>
                  </a:lnTo>
                  <a:lnTo>
                    <a:pt x="2214" y="726"/>
                  </a:lnTo>
                  <a:lnTo>
                    <a:pt x="2214" y="728"/>
                  </a:lnTo>
                  <a:lnTo>
                    <a:pt x="2216" y="730"/>
                  </a:lnTo>
                  <a:lnTo>
                    <a:pt x="2216" y="730"/>
                  </a:lnTo>
                  <a:lnTo>
                    <a:pt x="2216" y="730"/>
                  </a:lnTo>
                  <a:lnTo>
                    <a:pt x="2216" y="732"/>
                  </a:lnTo>
                  <a:lnTo>
                    <a:pt x="2216" y="732"/>
                  </a:lnTo>
                  <a:lnTo>
                    <a:pt x="2218" y="734"/>
                  </a:lnTo>
                  <a:lnTo>
                    <a:pt x="2218" y="734"/>
                  </a:lnTo>
                  <a:lnTo>
                    <a:pt x="2218" y="734"/>
                  </a:lnTo>
                  <a:lnTo>
                    <a:pt x="2220" y="734"/>
                  </a:lnTo>
                  <a:lnTo>
                    <a:pt x="2222" y="734"/>
                  </a:lnTo>
                  <a:lnTo>
                    <a:pt x="2222" y="734"/>
                  </a:lnTo>
                  <a:lnTo>
                    <a:pt x="2222" y="734"/>
                  </a:lnTo>
                  <a:lnTo>
                    <a:pt x="2224" y="734"/>
                  </a:lnTo>
                  <a:lnTo>
                    <a:pt x="2224" y="734"/>
                  </a:lnTo>
                  <a:lnTo>
                    <a:pt x="2226" y="734"/>
                  </a:lnTo>
                  <a:lnTo>
                    <a:pt x="2228" y="732"/>
                  </a:lnTo>
                  <a:lnTo>
                    <a:pt x="2230" y="732"/>
                  </a:lnTo>
                  <a:lnTo>
                    <a:pt x="2236" y="728"/>
                  </a:lnTo>
                  <a:lnTo>
                    <a:pt x="2238" y="726"/>
                  </a:lnTo>
                  <a:lnTo>
                    <a:pt x="2240" y="726"/>
                  </a:lnTo>
                  <a:lnTo>
                    <a:pt x="2238" y="726"/>
                  </a:lnTo>
                  <a:lnTo>
                    <a:pt x="2242" y="724"/>
                  </a:lnTo>
                  <a:lnTo>
                    <a:pt x="2246" y="724"/>
                  </a:lnTo>
                  <a:lnTo>
                    <a:pt x="2250" y="724"/>
                  </a:lnTo>
                  <a:lnTo>
                    <a:pt x="2254" y="724"/>
                  </a:lnTo>
                  <a:lnTo>
                    <a:pt x="2258" y="724"/>
                  </a:lnTo>
                  <a:lnTo>
                    <a:pt x="2260" y="724"/>
                  </a:lnTo>
                  <a:lnTo>
                    <a:pt x="2262" y="724"/>
                  </a:lnTo>
                  <a:lnTo>
                    <a:pt x="2264" y="724"/>
                  </a:lnTo>
                  <a:lnTo>
                    <a:pt x="2264" y="724"/>
                  </a:lnTo>
                  <a:lnTo>
                    <a:pt x="2264" y="726"/>
                  </a:lnTo>
                  <a:lnTo>
                    <a:pt x="2266" y="726"/>
                  </a:lnTo>
                  <a:lnTo>
                    <a:pt x="2266" y="730"/>
                  </a:lnTo>
                  <a:lnTo>
                    <a:pt x="2266" y="732"/>
                  </a:lnTo>
                  <a:lnTo>
                    <a:pt x="2268" y="734"/>
                  </a:lnTo>
                  <a:lnTo>
                    <a:pt x="2268" y="736"/>
                  </a:lnTo>
                  <a:lnTo>
                    <a:pt x="2268" y="736"/>
                  </a:lnTo>
                  <a:lnTo>
                    <a:pt x="2268" y="738"/>
                  </a:lnTo>
                  <a:lnTo>
                    <a:pt x="2270" y="738"/>
                  </a:lnTo>
                  <a:lnTo>
                    <a:pt x="2270" y="738"/>
                  </a:lnTo>
                  <a:lnTo>
                    <a:pt x="2272" y="738"/>
                  </a:lnTo>
                  <a:lnTo>
                    <a:pt x="2272" y="738"/>
                  </a:lnTo>
                  <a:lnTo>
                    <a:pt x="2272" y="738"/>
                  </a:lnTo>
                  <a:lnTo>
                    <a:pt x="2274" y="738"/>
                  </a:lnTo>
                  <a:lnTo>
                    <a:pt x="2274" y="738"/>
                  </a:lnTo>
                  <a:lnTo>
                    <a:pt x="2274" y="738"/>
                  </a:lnTo>
                  <a:lnTo>
                    <a:pt x="2276" y="736"/>
                  </a:lnTo>
                  <a:lnTo>
                    <a:pt x="2276" y="736"/>
                  </a:lnTo>
                  <a:lnTo>
                    <a:pt x="2276" y="734"/>
                  </a:lnTo>
                  <a:lnTo>
                    <a:pt x="2278" y="730"/>
                  </a:lnTo>
                  <a:lnTo>
                    <a:pt x="2278" y="730"/>
                  </a:lnTo>
                  <a:lnTo>
                    <a:pt x="2280" y="728"/>
                  </a:lnTo>
                  <a:lnTo>
                    <a:pt x="2280" y="728"/>
                  </a:lnTo>
                  <a:lnTo>
                    <a:pt x="2282" y="728"/>
                  </a:lnTo>
                  <a:lnTo>
                    <a:pt x="2284" y="726"/>
                  </a:lnTo>
                  <a:lnTo>
                    <a:pt x="2286" y="726"/>
                  </a:lnTo>
                  <a:lnTo>
                    <a:pt x="2286" y="726"/>
                  </a:lnTo>
                  <a:lnTo>
                    <a:pt x="2286" y="726"/>
                  </a:lnTo>
                  <a:lnTo>
                    <a:pt x="2288" y="724"/>
                  </a:lnTo>
                  <a:lnTo>
                    <a:pt x="2288" y="724"/>
                  </a:lnTo>
                  <a:lnTo>
                    <a:pt x="2292" y="722"/>
                  </a:lnTo>
                  <a:lnTo>
                    <a:pt x="2294" y="720"/>
                  </a:lnTo>
                  <a:lnTo>
                    <a:pt x="2298" y="714"/>
                  </a:lnTo>
                  <a:lnTo>
                    <a:pt x="2304" y="708"/>
                  </a:lnTo>
                  <a:lnTo>
                    <a:pt x="2308" y="704"/>
                  </a:lnTo>
                  <a:lnTo>
                    <a:pt x="2312" y="700"/>
                  </a:lnTo>
                  <a:lnTo>
                    <a:pt x="2316" y="694"/>
                  </a:lnTo>
                  <a:lnTo>
                    <a:pt x="2318" y="692"/>
                  </a:lnTo>
                  <a:lnTo>
                    <a:pt x="2322" y="690"/>
                  </a:lnTo>
                  <a:lnTo>
                    <a:pt x="2324" y="688"/>
                  </a:lnTo>
                  <a:lnTo>
                    <a:pt x="2328" y="684"/>
                  </a:lnTo>
                  <a:lnTo>
                    <a:pt x="2332" y="682"/>
                  </a:lnTo>
                  <a:lnTo>
                    <a:pt x="2334" y="682"/>
                  </a:lnTo>
                  <a:lnTo>
                    <a:pt x="2340" y="678"/>
                  </a:lnTo>
                  <a:lnTo>
                    <a:pt x="2348" y="674"/>
                  </a:lnTo>
                  <a:lnTo>
                    <a:pt x="2356" y="672"/>
                  </a:lnTo>
                  <a:lnTo>
                    <a:pt x="2362" y="668"/>
                  </a:lnTo>
                  <a:lnTo>
                    <a:pt x="2370" y="664"/>
                  </a:lnTo>
                  <a:lnTo>
                    <a:pt x="2376" y="662"/>
                  </a:lnTo>
                  <a:lnTo>
                    <a:pt x="2378" y="660"/>
                  </a:lnTo>
                  <a:lnTo>
                    <a:pt x="2386" y="658"/>
                  </a:lnTo>
                  <a:lnTo>
                    <a:pt x="2386" y="656"/>
                  </a:lnTo>
                  <a:lnTo>
                    <a:pt x="2388" y="656"/>
                  </a:lnTo>
                  <a:lnTo>
                    <a:pt x="2388" y="656"/>
                  </a:lnTo>
                  <a:lnTo>
                    <a:pt x="2388" y="656"/>
                  </a:lnTo>
                  <a:lnTo>
                    <a:pt x="2390" y="656"/>
                  </a:lnTo>
                  <a:lnTo>
                    <a:pt x="2392" y="658"/>
                  </a:lnTo>
                  <a:lnTo>
                    <a:pt x="2394" y="658"/>
                  </a:lnTo>
                  <a:lnTo>
                    <a:pt x="2400" y="660"/>
                  </a:lnTo>
                  <a:lnTo>
                    <a:pt x="2402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4" y="662"/>
                  </a:lnTo>
                  <a:lnTo>
                    <a:pt x="2408" y="664"/>
                  </a:lnTo>
                  <a:lnTo>
                    <a:pt x="2408" y="664"/>
                  </a:lnTo>
                  <a:lnTo>
                    <a:pt x="2410" y="662"/>
                  </a:lnTo>
                  <a:lnTo>
                    <a:pt x="2410" y="662"/>
                  </a:lnTo>
                  <a:lnTo>
                    <a:pt x="2410" y="662"/>
                  </a:lnTo>
                  <a:lnTo>
                    <a:pt x="2412" y="662"/>
                  </a:lnTo>
                  <a:lnTo>
                    <a:pt x="2412" y="662"/>
                  </a:lnTo>
                  <a:lnTo>
                    <a:pt x="2414" y="660"/>
                  </a:lnTo>
                  <a:lnTo>
                    <a:pt x="2414" y="660"/>
                  </a:lnTo>
                  <a:lnTo>
                    <a:pt x="2414" y="660"/>
                  </a:lnTo>
                  <a:lnTo>
                    <a:pt x="2416" y="658"/>
                  </a:lnTo>
                  <a:lnTo>
                    <a:pt x="2416" y="656"/>
                  </a:lnTo>
                  <a:lnTo>
                    <a:pt x="2418" y="654"/>
                  </a:lnTo>
                  <a:lnTo>
                    <a:pt x="2420" y="648"/>
                  </a:lnTo>
                  <a:lnTo>
                    <a:pt x="2420" y="644"/>
                  </a:lnTo>
                  <a:lnTo>
                    <a:pt x="2422" y="642"/>
                  </a:lnTo>
                  <a:lnTo>
                    <a:pt x="2422" y="642"/>
                  </a:lnTo>
                  <a:lnTo>
                    <a:pt x="2422" y="642"/>
                  </a:lnTo>
                  <a:lnTo>
                    <a:pt x="2420" y="640"/>
                  </a:lnTo>
                  <a:lnTo>
                    <a:pt x="2420" y="640"/>
                  </a:lnTo>
                  <a:lnTo>
                    <a:pt x="2420" y="638"/>
                  </a:lnTo>
                  <a:lnTo>
                    <a:pt x="2420" y="638"/>
                  </a:lnTo>
                  <a:lnTo>
                    <a:pt x="2420" y="638"/>
                  </a:lnTo>
                  <a:lnTo>
                    <a:pt x="2420" y="636"/>
                  </a:lnTo>
                  <a:lnTo>
                    <a:pt x="2418" y="636"/>
                  </a:lnTo>
                  <a:lnTo>
                    <a:pt x="2416" y="634"/>
                  </a:lnTo>
                  <a:lnTo>
                    <a:pt x="2414" y="630"/>
                  </a:lnTo>
                  <a:lnTo>
                    <a:pt x="2412" y="628"/>
                  </a:lnTo>
                  <a:lnTo>
                    <a:pt x="2410" y="626"/>
                  </a:lnTo>
                  <a:lnTo>
                    <a:pt x="2410" y="624"/>
                  </a:lnTo>
                  <a:lnTo>
                    <a:pt x="2408" y="622"/>
                  </a:lnTo>
                  <a:lnTo>
                    <a:pt x="2404" y="614"/>
                  </a:lnTo>
                  <a:lnTo>
                    <a:pt x="2404" y="612"/>
                  </a:lnTo>
                  <a:lnTo>
                    <a:pt x="2402" y="608"/>
                  </a:lnTo>
                  <a:lnTo>
                    <a:pt x="2400" y="604"/>
                  </a:lnTo>
                  <a:lnTo>
                    <a:pt x="2398" y="602"/>
                  </a:lnTo>
                  <a:lnTo>
                    <a:pt x="2398" y="600"/>
                  </a:lnTo>
                  <a:lnTo>
                    <a:pt x="2396" y="600"/>
                  </a:lnTo>
                  <a:lnTo>
                    <a:pt x="2396" y="600"/>
                  </a:lnTo>
                  <a:lnTo>
                    <a:pt x="2396" y="598"/>
                  </a:lnTo>
                  <a:lnTo>
                    <a:pt x="2394" y="596"/>
                  </a:lnTo>
                  <a:lnTo>
                    <a:pt x="2392" y="594"/>
                  </a:lnTo>
                  <a:lnTo>
                    <a:pt x="2390" y="592"/>
                  </a:lnTo>
                  <a:lnTo>
                    <a:pt x="2386" y="592"/>
                  </a:lnTo>
                  <a:lnTo>
                    <a:pt x="2386" y="592"/>
                  </a:lnTo>
                  <a:lnTo>
                    <a:pt x="2386" y="590"/>
                  </a:lnTo>
                  <a:lnTo>
                    <a:pt x="2384" y="590"/>
                  </a:lnTo>
                  <a:lnTo>
                    <a:pt x="2382" y="588"/>
                  </a:lnTo>
                  <a:lnTo>
                    <a:pt x="2382" y="588"/>
                  </a:lnTo>
                  <a:lnTo>
                    <a:pt x="2380" y="584"/>
                  </a:lnTo>
                  <a:lnTo>
                    <a:pt x="2378" y="582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6" y="578"/>
                  </a:lnTo>
                  <a:lnTo>
                    <a:pt x="2378" y="578"/>
                  </a:lnTo>
                  <a:lnTo>
                    <a:pt x="2382" y="576"/>
                  </a:lnTo>
                  <a:lnTo>
                    <a:pt x="2382" y="576"/>
                  </a:lnTo>
                  <a:lnTo>
                    <a:pt x="2384" y="576"/>
                  </a:lnTo>
                  <a:lnTo>
                    <a:pt x="2384" y="578"/>
                  </a:lnTo>
                  <a:lnTo>
                    <a:pt x="2384" y="578"/>
                  </a:lnTo>
                  <a:lnTo>
                    <a:pt x="2386" y="580"/>
                  </a:lnTo>
                  <a:lnTo>
                    <a:pt x="2388" y="584"/>
                  </a:lnTo>
                  <a:lnTo>
                    <a:pt x="2388" y="584"/>
                  </a:lnTo>
                  <a:lnTo>
                    <a:pt x="2390" y="584"/>
                  </a:lnTo>
                  <a:lnTo>
                    <a:pt x="2390" y="584"/>
                  </a:lnTo>
                  <a:lnTo>
                    <a:pt x="2390" y="584"/>
                  </a:lnTo>
                  <a:lnTo>
                    <a:pt x="2392" y="586"/>
                  </a:lnTo>
                  <a:lnTo>
                    <a:pt x="2394" y="586"/>
                  </a:lnTo>
                  <a:lnTo>
                    <a:pt x="2394" y="586"/>
                  </a:lnTo>
                  <a:lnTo>
                    <a:pt x="2394" y="586"/>
                  </a:lnTo>
                  <a:lnTo>
                    <a:pt x="2396" y="586"/>
                  </a:lnTo>
                  <a:lnTo>
                    <a:pt x="2400" y="586"/>
                  </a:lnTo>
                  <a:lnTo>
                    <a:pt x="2406" y="586"/>
                  </a:lnTo>
                  <a:lnTo>
                    <a:pt x="2412" y="584"/>
                  </a:lnTo>
                  <a:lnTo>
                    <a:pt x="2414" y="584"/>
                  </a:lnTo>
                  <a:lnTo>
                    <a:pt x="2416" y="582"/>
                  </a:lnTo>
                  <a:lnTo>
                    <a:pt x="2416" y="582"/>
                  </a:lnTo>
                  <a:lnTo>
                    <a:pt x="2418" y="582"/>
                  </a:lnTo>
                  <a:lnTo>
                    <a:pt x="2420" y="580"/>
                  </a:lnTo>
                  <a:lnTo>
                    <a:pt x="2420" y="580"/>
                  </a:lnTo>
                  <a:lnTo>
                    <a:pt x="2420" y="580"/>
                  </a:lnTo>
                  <a:lnTo>
                    <a:pt x="2422" y="578"/>
                  </a:lnTo>
                  <a:lnTo>
                    <a:pt x="2424" y="576"/>
                  </a:lnTo>
                  <a:lnTo>
                    <a:pt x="2424" y="572"/>
                  </a:lnTo>
                  <a:lnTo>
                    <a:pt x="2426" y="570"/>
                  </a:lnTo>
                  <a:lnTo>
                    <a:pt x="2426" y="570"/>
                  </a:lnTo>
                  <a:lnTo>
                    <a:pt x="2426" y="570"/>
                  </a:lnTo>
                  <a:lnTo>
                    <a:pt x="2426" y="566"/>
                  </a:lnTo>
                  <a:lnTo>
                    <a:pt x="2428" y="564"/>
                  </a:lnTo>
                  <a:lnTo>
                    <a:pt x="2428" y="562"/>
                  </a:lnTo>
                  <a:lnTo>
                    <a:pt x="2428" y="560"/>
                  </a:lnTo>
                  <a:lnTo>
                    <a:pt x="2430" y="560"/>
                  </a:lnTo>
                  <a:lnTo>
                    <a:pt x="2432" y="558"/>
                  </a:lnTo>
                  <a:lnTo>
                    <a:pt x="2432" y="558"/>
                  </a:lnTo>
                  <a:lnTo>
                    <a:pt x="2432" y="558"/>
                  </a:lnTo>
                  <a:lnTo>
                    <a:pt x="2432" y="556"/>
                  </a:lnTo>
                  <a:lnTo>
                    <a:pt x="2432" y="556"/>
                  </a:lnTo>
                  <a:lnTo>
                    <a:pt x="2432" y="556"/>
                  </a:lnTo>
                  <a:lnTo>
                    <a:pt x="2432" y="558"/>
                  </a:lnTo>
                  <a:lnTo>
                    <a:pt x="2434" y="560"/>
                  </a:lnTo>
                  <a:lnTo>
                    <a:pt x="2434" y="560"/>
                  </a:lnTo>
                  <a:lnTo>
                    <a:pt x="2434" y="560"/>
                  </a:lnTo>
                  <a:lnTo>
                    <a:pt x="2436" y="562"/>
                  </a:lnTo>
                  <a:lnTo>
                    <a:pt x="2436" y="562"/>
                  </a:lnTo>
                  <a:lnTo>
                    <a:pt x="2436" y="562"/>
                  </a:lnTo>
                  <a:lnTo>
                    <a:pt x="2438" y="562"/>
                  </a:lnTo>
                  <a:lnTo>
                    <a:pt x="2438" y="562"/>
                  </a:lnTo>
                  <a:lnTo>
                    <a:pt x="2440" y="564"/>
                  </a:lnTo>
                  <a:lnTo>
                    <a:pt x="2442" y="564"/>
                  </a:lnTo>
                  <a:lnTo>
                    <a:pt x="2444" y="564"/>
                  </a:lnTo>
                  <a:lnTo>
                    <a:pt x="2450" y="562"/>
                  </a:lnTo>
                  <a:lnTo>
                    <a:pt x="2452" y="562"/>
                  </a:lnTo>
                  <a:lnTo>
                    <a:pt x="2456" y="562"/>
                  </a:lnTo>
                  <a:lnTo>
                    <a:pt x="2458" y="562"/>
                  </a:lnTo>
                  <a:lnTo>
                    <a:pt x="2458" y="562"/>
                  </a:lnTo>
                  <a:lnTo>
                    <a:pt x="2458" y="562"/>
                  </a:lnTo>
                  <a:lnTo>
                    <a:pt x="2460" y="560"/>
                  </a:lnTo>
                  <a:lnTo>
                    <a:pt x="2460" y="560"/>
                  </a:lnTo>
                  <a:lnTo>
                    <a:pt x="2460" y="560"/>
                  </a:lnTo>
                  <a:lnTo>
                    <a:pt x="2462" y="558"/>
                  </a:lnTo>
                  <a:lnTo>
                    <a:pt x="2466" y="556"/>
                  </a:lnTo>
                  <a:lnTo>
                    <a:pt x="2466" y="556"/>
                  </a:lnTo>
                  <a:lnTo>
                    <a:pt x="2466" y="556"/>
                  </a:lnTo>
                  <a:lnTo>
                    <a:pt x="2468" y="556"/>
                  </a:lnTo>
                  <a:lnTo>
                    <a:pt x="2472" y="556"/>
                  </a:lnTo>
                  <a:lnTo>
                    <a:pt x="2472" y="556"/>
                  </a:lnTo>
                  <a:lnTo>
                    <a:pt x="2474" y="556"/>
                  </a:lnTo>
                  <a:lnTo>
                    <a:pt x="2474" y="556"/>
                  </a:lnTo>
                  <a:lnTo>
                    <a:pt x="2474" y="558"/>
                  </a:lnTo>
                  <a:lnTo>
                    <a:pt x="2474" y="560"/>
                  </a:lnTo>
                  <a:lnTo>
                    <a:pt x="2472" y="564"/>
                  </a:lnTo>
                  <a:lnTo>
                    <a:pt x="2470" y="566"/>
                  </a:lnTo>
                  <a:lnTo>
                    <a:pt x="2470" y="570"/>
                  </a:lnTo>
                  <a:lnTo>
                    <a:pt x="2470" y="570"/>
                  </a:lnTo>
                  <a:lnTo>
                    <a:pt x="2470" y="572"/>
                  </a:lnTo>
                  <a:lnTo>
                    <a:pt x="2470" y="572"/>
                  </a:lnTo>
                  <a:lnTo>
                    <a:pt x="2470" y="572"/>
                  </a:lnTo>
                  <a:lnTo>
                    <a:pt x="2470" y="574"/>
                  </a:lnTo>
                  <a:lnTo>
                    <a:pt x="2470" y="574"/>
                  </a:lnTo>
                  <a:lnTo>
                    <a:pt x="2470" y="576"/>
                  </a:lnTo>
                  <a:lnTo>
                    <a:pt x="2472" y="578"/>
                  </a:lnTo>
                  <a:lnTo>
                    <a:pt x="2472" y="578"/>
                  </a:lnTo>
                  <a:lnTo>
                    <a:pt x="2472" y="578"/>
                  </a:lnTo>
                  <a:lnTo>
                    <a:pt x="2474" y="578"/>
                  </a:lnTo>
                  <a:lnTo>
                    <a:pt x="2474" y="578"/>
                  </a:lnTo>
                  <a:lnTo>
                    <a:pt x="2476" y="580"/>
                  </a:lnTo>
                  <a:lnTo>
                    <a:pt x="2478" y="580"/>
                  </a:lnTo>
                  <a:lnTo>
                    <a:pt x="2480" y="580"/>
                  </a:lnTo>
                  <a:lnTo>
                    <a:pt x="2486" y="580"/>
                  </a:lnTo>
                  <a:lnTo>
                    <a:pt x="2488" y="580"/>
                  </a:lnTo>
                  <a:lnTo>
                    <a:pt x="2490" y="582"/>
                  </a:lnTo>
                  <a:lnTo>
                    <a:pt x="2492" y="582"/>
                  </a:lnTo>
                  <a:lnTo>
                    <a:pt x="2492" y="584"/>
                  </a:lnTo>
                  <a:lnTo>
                    <a:pt x="2494" y="588"/>
                  </a:lnTo>
                  <a:lnTo>
                    <a:pt x="2496" y="592"/>
                  </a:lnTo>
                  <a:lnTo>
                    <a:pt x="2498" y="594"/>
                  </a:lnTo>
                  <a:lnTo>
                    <a:pt x="2500" y="596"/>
                  </a:lnTo>
                  <a:lnTo>
                    <a:pt x="2500" y="596"/>
                  </a:lnTo>
                  <a:lnTo>
                    <a:pt x="2500" y="596"/>
                  </a:lnTo>
                  <a:lnTo>
                    <a:pt x="2502" y="598"/>
                  </a:lnTo>
                  <a:lnTo>
                    <a:pt x="2504" y="600"/>
                  </a:lnTo>
                  <a:lnTo>
                    <a:pt x="2510" y="602"/>
                  </a:lnTo>
                  <a:lnTo>
                    <a:pt x="2512" y="604"/>
                  </a:lnTo>
                  <a:lnTo>
                    <a:pt x="2514" y="604"/>
                  </a:lnTo>
                  <a:lnTo>
                    <a:pt x="2514" y="604"/>
                  </a:lnTo>
                  <a:lnTo>
                    <a:pt x="2516" y="604"/>
                  </a:lnTo>
                  <a:lnTo>
                    <a:pt x="2516" y="604"/>
                  </a:lnTo>
                  <a:lnTo>
                    <a:pt x="2518" y="604"/>
                  </a:lnTo>
                  <a:lnTo>
                    <a:pt x="2520" y="604"/>
                  </a:lnTo>
                  <a:lnTo>
                    <a:pt x="2520" y="604"/>
                  </a:lnTo>
                  <a:lnTo>
                    <a:pt x="2520" y="602"/>
                  </a:lnTo>
                  <a:lnTo>
                    <a:pt x="2522" y="602"/>
                  </a:lnTo>
                  <a:lnTo>
                    <a:pt x="2522" y="602"/>
                  </a:lnTo>
                  <a:lnTo>
                    <a:pt x="2522" y="600"/>
                  </a:lnTo>
                  <a:lnTo>
                    <a:pt x="2522" y="598"/>
                  </a:lnTo>
                  <a:lnTo>
                    <a:pt x="2522" y="596"/>
                  </a:lnTo>
                  <a:lnTo>
                    <a:pt x="2522" y="594"/>
                  </a:lnTo>
                  <a:lnTo>
                    <a:pt x="2522" y="588"/>
                  </a:lnTo>
                  <a:lnTo>
                    <a:pt x="2522" y="586"/>
                  </a:lnTo>
                  <a:lnTo>
                    <a:pt x="2522" y="586"/>
                  </a:lnTo>
                  <a:lnTo>
                    <a:pt x="2522" y="584"/>
                  </a:lnTo>
                  <a:lnTo>
                    <a:pt x="2522" y="584"/>
                  </a:lnTo>
                  <a:lnTo>
                    <a:pt x="2524" y="580"/>
                  </a:lnTo>
                  <a:lnTo>
                    <a:pt x="2526" y="578"/>
                  </a:lnTo>
                  <a:lnTo>
                    <a:pt x="2528" y="574"/>
                  </a:lnTo>
                  <a:lnTo>
                    <a:pt x="2530" y="570"/>
                  </a:lnTo>
                  <a:lnTo>
                    <a:pt x="2534" y="566"/>
                  </a:lnTo>
                  <a:lnTo>
                    <a:pt x="2536" y="562"/>
                  </a:lnTo>
                  <a:lnTo>
                    <a:pt x="2538" y="560"/>
                  </a:lnTo>
                  <a:lnTo>
                    <a:pt x="2538" y="560"/>
                  </a:lnTo>
                  <a:lnTo>
                    <a:pt x="2538" y="560"/>
                  </a:lnTo>
                  <a:lnTo>
                    <a:pt x="2540" y="558"/>
                  </a:lnTo>
                  <a:lnTo>
                    <a:pt x="2540" y="558"/>
                  </a:lnTo>
                  <a:lnTo>
                    <a:pt x="2540" y="556"/>
                  </a:lnTo>
                  <a:lnTo>
                    <a:pt x="2540" y="556"/>
                  </a:lnTo>
                  <a:lnTo>
                    <a:pt x="2540" y="556"/>
                  </a:lnTo>
                  <a:lnTo>
                    <a:pt x="2540" y="554"/>
                  </a:lnTo>
                  <a:lnTo>
                    <a:pt x="2542" y="554"/>
                  </a:lnTo>
                  <a:lnTo>
                    <a:pt x="2544" y="554"/>
                  </a:lnTo>
                  <a:lnTo>
                    <a:pt x="2548" y="556"/>
                  </a:lnTo>
                  <a:lnTo>
                    <a:pt x="2548" y="556"/>
                  </a:lnTo>
                  <a:lnTo>
                    <a:pt x="2548" y="556"/>
                  </a:lnTo>
                  <a:lnTo>
                    <a:pt x="2552" y="554"/>
                  </a:lnTo>
                  <a:lnTo>
                    <a:pt x="2552" y="554"/>
                  </a:lnTo>
                  <a:lnTo>
                    <a:pt x="2552" y="554"/>
                  </a:lnTo>
                  <a:lnTo>
                    <a:pt x="2554" y="554"/>
                  </a:lnTo>
                  <a:lnTo>
                    <a:pt x="2554" y="554"/>
                  </a:lnTo>
                  <a:lnTo>
                    <a:pt x="2556" y="554"/>
                  </a:lnTo>
                  <a:lnTo>
                    <a:pt x="2558" y="552"/>
                  </a:lnTo>
                  <a:lnTo>
                    <a:pt x="2558" y="552"/>
                  </a:lnTo>
                  <a:lnTo>
                    <a:pt x="2558" y="552"/>
                  </a:lnTo>
                  <a:lnTo>
                    <a:pt x="2560" y="550"/>
                  </a:lnTo>
                  <a:lnTo>
                    <a:pt x="2562" y="548"/>
                  </a:lnTo>
                  <a:lnTo>
                    <a:pt x="2564" y="546"/>
                  </a:lnTo>
                  <a:lnTo>
                    <a:pt x="2566" y="542"/>
                  </a:lnTo>
                  <a:lnTo>
                    <a:pt x="2566" y="542"/>
                  </a:lnTo>
                  <a:lnTo>
                    <a:pt x="2566" y="540"/>
                  </a:lnTo>
                  <a:lnTo>
                    <a:pt x="2566" y="538"/>
                  </a:lnTo>
                  <a:lnTo>
                    <a:pt x="2566" y="538"/>
                  </a:lnTo>
                  <a:lnTo>
                    <a:pt x="2566" y="538"/>
                  </a:lnTo>
                  <a:lnTo>
                    <a:pt x="2568" y="536"/>
                  </a:lnTo>
                  <a:lnTo>
                    <a:pt x="2568" y="536"/>
                  </a:lnTo>
                  <a:lnTo>
                    <a:pt x="2568" y="534"/>
                  </a:lnTo>
                  <a:lnTo>
                    <a:pt x="2568" y="534"/>
                  </a:lnTo>
                  <a:lnTo>
                    <a:pt x="2568" y="532"/>
                  </a:lnTo>
                  <a:lnTo>
                    <a:pt x="2568" y="530"/>
                  </a:lnTo>
                  <a:close/>
                  <a:moveTo>
                    <a:pt x="874" y="436"/>
                  </a:moveTo>
                  <a:lnTo>
                    <a:pt x="872" y="434"/>
                  </a:lnTo>
                  <a:lnTo>
                    <a:pt x="870" y="434"/>
                  </a:lnTo>
                  <a:lnTo>
                    <a:pt x="870" y="432"/>
                  </a:lnTo>
                  <a:lnTo>
                    <a:pt x="868" y="428"/>
                  </a:lnTo>
                  <a:lnTo>
                    <a:pt x="866" y="426"/>
                  </a:lnTo>
                  <a:lnTo>
                    <a:pt x="864" y="422"/>
                  </a:lnTo>
                  <a:lnTo>
                    <a:pt x="862" y="418"/>
                  </a:lnTo>
                  <a:lnTo>
                    <a:pt x="862" y="414"/>
                  </a:lnTo>
                  <a:lnTo>
                    <a:pt x="860" y="414"/>
                  </a:lnTo>
                  <a:lnTo>
                    <a:pt x="862" y="414"/>
                  </a:lnTo>
                  <a:lnTo>
                    <a:pt x="864" y="414"/>
                  </a:lnTo>
                  <a:lnTo>
                    <a:pt x="864" y="414"/>
                  </a:lnTo>
                  <a:lnTo>
                    <a:pt x="866" y="414"/>
                  </a:lnTo>
                  <a:lnTo>
                    <a:pt x="868" y="416"/>
                  </a:lnTo>
                  <a:lnTo>
                    <a:pt x="868" y="414"/>
                  </a:lnTo>
                  <a:lnTo>
                    <a:pt x="870" y="416"/>
                  </a:lnTo>
                  <a:lnTo>
                    <a:pt x="874" y="420"/>
                  </a:lnTo>
                  <a:lnTo>
                    <a:pt x="876" y="422"/>
                  </a:lnTo>
                  <a:lnTo>
                    <a:pt x="880" y="424"/>
                  </a:lnTo>
                  <a:lnTo>
                    <a:pt x="880" y="428"/>
                  </a:lnTo>
                  <a:lnTo>
                    <a:pt x="880" y="428"/>
                  </a:lnTo>
                  <a:lnTo>
                    <a:pt x="882" y="430"/>
                  </a:lnTo>
                  <a:lnTo>
                    <a:pt x="882" y="432"/>
                  </a:lnTo>
                  <a:lnTo>
                    <a:pt x="882" y="438"/>
                  </a:lnTo>
                  <a:lnTo>
                    <a:pt x="882" y="442"/>
                  </a:lnTo>
                  <a:lnTo>
                    <a:pt x="880" y="442"/>
                  </a:lnTo>
                  <a:lnTo>
                    <a:pt x="880" y="442"/>
                  </a:lnTo>
                  <a:lnTo>
                    <a:pt x="880" y="442"/>
                  </a:lnTo>
                  <a:lnTo>
                    <a:pt x="880" y="440"/>
                  </a:lnTo>
                  <a:lnTo>
                    <a:pt x="878" y="440"/>
                  </a:lnTo>
                  <a:lnTo>
                    <a:pt x="876" y="438"/>
                  </a:lnTo>
                  <a:lnTo>
                    <a:pt x="874" y="436"/>
                  </a:lnTo>
                  <a:close/>
                  <a:moveTo>
                    <a:pt x="886" y="474"/>
                  </a:moveTo>
                  <a:lnTo>
                    <a:pt x="882" y="472"/>
                  </a:lnTo>
                  <a:lnTo>
                    <a:pt x="880" y="470"/>
                  </a:lnTo>
                  <a:lnTo>
                    <a:pt x="878" y="466"/>
                  </a:lnTo>
                  <a:lnTo>
                    <a:pt x="880" y="468"/>
                  </a:lnTo>
                  <a:lnTo>
                    <a:pt x="878" y="466"/>
                  </a:lnTo>
                  <a:lnTo>
                    <a:pt x="878" y="464"/>
                  </a:lnTo>
                  <a:lnTo>
                    <a:pt x="878" y="462"/>
                  </a:lnTo>
                  <a:lnTo>
                    <a:pt x="878" y="458"/>
                  </a:lnTo>
                  <a:lnTo>
                    <a:pt x="880" y="456"/>
                  </a:lnTo>
                  <a:lnTo>
                    <a:pt x="880" y="450"/>
                  </a:lnTo>
                  <a:lnTo>
                    <a:pt x="880" y="452"/>
                  </a:lnTo>
                  <a:lnTo>
                    <a:pt x="880" y="454"/>
                  </a:lnTo>
                  <a:lnTo>
                    <a:pt x="882" y="456"/>
                  </a:lnTo>
                  <a:lnTo>
                    <a:pt x="882" y="458"/>
                  </a:lnTo>
                  <a:lnTo>
                    <a:pt x="882" y="460"/>
                  </a:lnTo>
                  <a:lnTo>
                    <a:pt x="882" y="462"/>
                  </a:lnTo>
                  <a:lnTo>
                    <a:pt x="884" y="466"/>
                  </a:lnTo>
                  <a:lnTo>
                    <a:pt x="884" y="468"/>
                  </a:lnTo>
                  <a:lnTo>
                    <a:pt x="886" y="472"/>
                  </a:lnTo>
                  <a:lnTo>
                    <a:pt x="886" y="474"/>
                  </a:lnTo>
                  <a:lnTo>
                    <a:pt x="886" y="474"/>
                  </a:lnTo>
                  <a:close/>
                  <a:moveTo>
                    <a:pt x="888" y="330"/>
                  </a:moveTo>
                  <a:lnTo>
                    <a:pt x="886" y="330"/>
                  </a:lnTo>
                  <a:lnTo>
                    <a:pt x="882" y="330"/>
                  </a:lnTo>
                  <a:lnTo>
                    <a:pt x="878" y="330"/>
                  </a:lnTo>
                  <a:lnTo>
                    <a:pt x="874" y="330"/>
                  </a:lnTo>
                  <a:lnTo>
                    <a:pt x="872" y="328"/>
                  </a:lnTo>
                  <a:lnTo>
                    <a:pt x="868" y="328"/>
                  </a:lnTo>
                  <a:lnTo>
                    <a:pt x="866" y="326"/>
                  </a:lnTo>
                  <a:lnTo>
                    <a:pt x="862" y="324"/>
                  </a:lnTo>
                  <a:lnTo>
                    <a:pt x="858" y="320"/>
                  </a:lnTo>
                  <a:lnTo>
                    <a:pt x="854" y="318"/>
                  </a:lnTo>
                  <a:lnTo>
                    <a:pt x="852" y="316"/>
                  </a:lnTo>
                  <a:lnTo>
                    <a:pt x="848" y="314"/>
                  </a:lnTo>
                  <a:lnTo>
                    <a:pt x="846" y="310"/>
                  </a:lnTo>
                  <a:lnTo>
                    <a:pt x="848" y="312"/>
                  </a:lnTo>
                  <a:lnTo>
                    <a:pt x="846" y="310"/>
                  </a:lnTo>
                  <a:lnTo>
                    <a:pt x="846" y="308"/>
                  </a:lnTo>
                  <a:lnTo>
                    <a:pt x="846" y="308"/>
                  </a:lnTo>
                  <a:lnTo>
                    <a:pt x="846" y="306"/>
                  </a:lnTo>
                  <a:lnTo>
                    <a:pt x="846" y="304"/>
                  </a:lnTo>
                  <a:lnTo>
                    <a:pt x="846" y="300"/>
                  </a:lnTo>
                  <a:lnTo>
                    <a:pt x="848" y="296"/>
                  </a:lnTo>
                  <a:lnTo>
                    <a:pt x="848" y="296"/>
                  </a:lnTo>
                  <a:lnTo>
                    <a:pt x="848" y="296"/>
                  </a:lnTo>
                  <a:lnTo>
                    <a:pt x="850" y="296"/>
                  </a:lnTo>
                  <a:lnTo>
                    <a:pt x="852" y="296"/>
                  </a:lnTo>
                  <a:lnTo>
                    <a:pt x="852" y="296"/>
                  </a:lnTo>
                  <a:lnTo>
                    <a:pt x="852" y="294"/>
                  </a:lnTo>
                  <a:lnTo>
                    <a:pt x="854" y="294"/>
                  </a:lnTo>
                  <a:lnTo>
                    <a:pt x="854" y="294"/>
                  </a:lnTo>
                  <a:lnTo>
                    <a:pt x="854" y="294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6" y="292"/>
                  </a:lnTo>
                  <a:lnTo>
                    <a:pt x="854" y="294"/>
                  </a:lnTo>
                  <a:lnTo>
                    <a:pt x="854" y="298"/>
                  </a:lnTo>
                  <a:lnTo>
                    <a:pt x="854" y="298"/>
                  </a:lnTo>
                  <a:lnTo>
                    <a:pt x="856" y="300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2"/>
                  </a:lnTo>
                  <a:lnTo>
                    <a:pt x="856" y="304"/>
                  </a:lnTo>
                  <a:lnTo>
                    <a:pt x="856" y="304"/>
                  </a:lnTo>
                  <a:lnTo>
                    <a:pt x="856" y="304"/>
                  </a:lnTo>
                  <a:lnTo>
                    <a:pt x="858" y="306"/>
                  </a:lnTo>
                  <a:lnTo>
                    <a:pt x="858" y="306"/>
                  </a:lnTo>
                  <a:lnTo>
                    <a:pt x="858" y="308"/>
                  </a:lnTo>
                  <a:lnTo>
                    <a:pt x="860" y="310"/>
                  </a:lnTo>
                  <a:lnTo>
                    <a:pt x="862" y="312"/>
                  </a:lnTo>
                  <a:lnTo>
                    <a:pt x="864" y="312"/>
                  </a:lnTo>
                  <a:lnTo>
                    <a:pt x="868" y="316"/>
                  </a:lnTo>
                  <a:lnTo>
                    <a:pt x="874" y="318"/>
                  </a:lnTo>
                  <a:lnTo>
                    <a:pt x="878" y="322"/>
                  </a:lnTo>
                  <a:lnTo>
                    <a:pt x="884" y="324"/>
                  </a:lnTo>
                  <a:lnTo>
                    <a:pt x="888" y="326"/>
                  </a:lnTo>
                  <a:lnTo>
                    <a:pt x="888" y="328"/>
                  </a:lnTo>
                  <a:lnTo>
                    <a:pt x="890" y="328"/>
                  </a:lnTo>
                  <a:lnTo>
                    <a:pt x="888" y="330"/>
                  </a:lnTo>
                  <a:close/>
                  <a:moveTo>
                    <a:pt x="966" y="316"/>
                  </a:moveTo>
                  <a:lnTo>
                    <a:pt x="966" y="320"/>
                  </a:lnTo>
                  <a:lnTo>
                    <a:pt x="966" y="322"/>
                  </a:lnTo>
                  <a:lnTo>
                    <a:pt x="966" y="330"/>
                  </a:lnTo>
                  <a:lnTo>
                    <a:pt x="966" y="332"/>
                  </a:lnTo>
                  <a:lnTo>
                    <a:pt x="964" y="334"/>
                  </a:lnTo>
                  <a:lnTo>
                    <a:pt x="964" y="336"/>
                  </a:lnTo>
                  <a:lnTo>
                    <a:pt x="964" y="336"/>
                  </a:lnTo>
                  <a:lnTo>
                    <a:pt x="964" y="338"/>
                  </a:lnTo>
                  <a:lnTo>
                    <a:pt x="964" y="338"/>
                  </a:lnTo>
                  <a:lnTo>
                    <a:pt x="962" y="338"/>
                  </a:lnTo>
                  <a:lnTo>
                    <a:pt x="960" y="338"/>
                  </a:lnTo>
                  <a:lnTo>
                    <a:pt x="958" y="336"/>
                  </a:lnTo>
                  <a:lnTo>
                    <a:pt x="956" y="336"/>
                  </a:lnTo>
                  <a:lnTo>
                    <a:pt x="954" y="334"/>
                  </a:lnTo>
                  <a:lnTo>
                    <a:pt x="954" y="334"/>
                  </a:lnTo>
                  <a:lnTo>
                    <a:pt x="952" y="332"/>
                  </a:lnTo>
                  <a:lnTo>
                    <a:pt x="952" y="332"/>
                  </a:lnTo>
                  <a:lnTo>
                    <a:pt x="952" y="330"/>
                  </a:lnTo>
                  <a:lnTo>
                    <a:pt x="952" y="328"/>
                  </a:lnTo>
                  <a:lnTo>
                    <a:pt x="952" y="324"/>
                  </a:lnTo>
                  <a:lnTo>
                    <a:pt x="952" y="322"/>
                  </a:lnTo>
                  <a:lnTo>
                    <a:pt x="952" y="322"/>
                  </a:lnTo>
                  <a:lnTo>
                    <a:pt x="954" y="320"/>
                  </a:lnTo>
                  <a:lnTo>
                    <a:pt x="956" y="320"/>
                  </a:lnTo>
                  <a:lnTo>
                    <a:pt x="960" y="318"/>
                  </a:lnTo>
                  <a:lnTo>
                    <a:pt x="962" y="316"/>
                  </a:lnTo>
                  <a:lnTo>
                    <a:pt x="964" y="316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4"/>
                  </a:lnTo>
                  <a:lnTo>
                    <a:pt x="966" y="316"/>
                  </a:lnTo>
                  <a:close/>
                  <a:moveTo>
                    <a:pt x="1746" y="118"/>
                  </a:moveTo>
                  <a:lnTo>
                    <a:pt x="1746" y="118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48" y="120"/>
                  </a:lnTo>
                  <a:lnTo>
                    <a:pt x="1750" y="122"/>
                  </a:lnTo>
                  <a:lnTo>
                    <a:pt x="1750" y="122"/>
                  </a:lnTo>
                  <a:lnTo>
                    <a:pt x="1752" y="118"/>
                  </a:lnTo>
                  <a:lnTo>
                    <a:pt x="1752" y="118"/>
                  </a:lnTo>
                  <a:lnTo>
                    <a:pt x="1752" y="118"/>
                  </a:lnTo>
                  <a:lnTo>
                    <a:pt x="1756" y="118"/>
                  </a:lnTo>
                  <a:lnTo>
                    <a:pt x="1756" y="118"/>
                  </a:lnTo>
                  <a:lnTo>
                    <a:pt x="1756" y="118"/>
                  </a:lnTo>
                  <a:lnTo>
                    <a:pt x="1760" y="116"/>
                  </a:lnTo>
                  <a:lnTo>
                    <a:pt x="1760" y="116"/>
                  </a:lnTo>
                  <a:lnTo>
                    <a:pt x="1760" y="116"/>
                  </a:lnTo>
                  <a:lnTo>
                    <a:pt x="1762" y="114"/>
                  </a:lnTo>
                  <a:lnTo>
                    <a:pt x="1762" y="114"/>
                  </a:lnTo>
                  <a:lnTo>
                    <a:pt x="1764" y="112"/>
                  </a:lnTo>
                  <a:lnTo>
                    <a:pt x="1766" y="110"/>
                  </a:lnTo>
                  <a:lnTo>
                    <a:pt x="1766" y="110"/>
                  </a:lnTo>
                  <a:lnTo>
                    <a:pt x="1766" y="110"/>
                  </a:lnTo>
                  <a:lnTo>
                    <a:pt x="1766" y="106"/>
                  </a:lnTo>
                  <a:lnTo>
                    <a:pt x="1766" y="106"/>
                  </a:lnTo>
                  <a:lnTo>
                    <a:pt x="1766" y="106"/>
                  </a:lnTo>
                  <a:lnTo>
                    <a:pt x="1766" y="102"/>
                  </a:lnTo>
                  <a:lnTo>
                    <a:pt x="1766" y="102"/>
                  </a:lnTo>
                  <a:lnTo>
                    <a:pt x="1764" y="102"/>
                  </a:lnTo>
                  <a:lnTo>
                    <a:pt x="1762" y="98"/>
                  </a:lnTo>
                  <a:lnTo>
                    <a:pt x="1762" y="98"/>
                  </a:lnTo>
                  <a:lnTo>
                    <a:pt x="1762" y="96"/>
                  </a:lnTo>
                  <a:lnTo>
                    <a:pt x="1760" y="92"/>
                  </a:lnTo>
                  <a:lnTo>
                    <a:pt x="1760" y="90"/>
                  </a:lnTo>
                  <a:lnTo>
                    <a:pt x="1760" y="88"/>
                  </a:lnTo>
                  <a:lnTo>
                    <a:pt x="1760" y="88"/>
                  </a:lnTo>
                  <a:lnTo>
                    <a:pt x="1760" y="88"/>
                  </a:lnTo>
                  <a:lnTo>
                    <a:pt x="1758" y="86"/>
                  </a:lnTo>
                  <a:lnTo>
                    <a:pt x="1758" y="86"/>
                  </a:lnTo>
                  <a:lnTo>
                    <a:pt x="1758" y="84"/>
                  </a:lnTo>
                  <a:lnTo>
                    <a:pt x="1756" y="84"/>
                  </a:lnTo>
                  <a:lnTo>
                    <a:pt x="1756" y="84"/>
                  </a:lnTo>
                  <a:lnTo>
                    <a:pt x="1754" y="84"/>
                  </a:lnTo>
                  <a:lnTo>
                    <a:pt x="1752" y="86"/>
                  </a:lnTo>
                  <a:lnTo>
                    <a:pt x="1752" y="86"/>
                  </a:lnTo>
                  <a:lnTo>
                    <a:pt x="1752" y="86"/>
                  </a:lnTo>
                  <a:lnTo>
                    <a:pt x="1752" y="88"/>
                  </a:lnTo>
                  <a:lnTo>
                    <a:pt x="1752" y="90"/>
                  </a:lnTo>
                  <a:lnTo>
                    <a:pt x="1750" y="92"/>
                  </a:lnTo>
                  <a:lnTo>
                    <a:pt x="1750" y="98"/>
                  </a:lnTo>
                  <a:lnTo>
                    <a:pt x="1748" y="102"/>
                  </a:lnTo>
                  <a:lnTo>
                    <a:pt x="1746" y="108"/>
                  </a:lnTo>
                  <a:lnTo>
                    <a:pt x="1746" y="110"/>
                  </a:lnTo>
                  <a:lnTo>
                    <a:pt x="1746" y="112"/>
                  </a:lnTo>
                  <a:lnTo>
                    <a:pt x="1746" y="112"/>
                  </a:lnTo>
                  <a:lnTo>
                    <a:pt x="1746" y="114"/>
                  </a:lnTo>
                  <a:lnTo>
                    <a:pt x="1746" y="116"/>
                  </a:lnTo>
                  <a:lnTo>
                    <a:pt x="1746" y="118"/>
                  </a:lnTo>
                  <a:close/>
                  <a:moveTo>
                    <a:pt x="1942" y="36"/>
                  </a:moveTo>
                  <a:lnTo>
                    <a:pt x="1944" y="38"/>
                  </a:lnTo>
                  <a:lnTo>
                    <a:pt x="1944" y="38"/>
                  </a:lnTo>
                  <a:lnTo>
                    <a:pt x="1944" y="40"/>
                  </a:lnTo>
                  <a:lnTo>
                    <a:pt x="1946" y="40"/>
                  </a:lnTo>
                  <a:lnTo>
                    <a:pt x="1950" y="40"/>
                  </a:lnTo>
                  <a:lnTo>
                    <a:pt x="1954" y="40"/>
                  </a:lnTo>
                  <a:lnTo>
                    <a:pt x="1956" y="38"/>
                  </a:lnTo>
                  <a:lnTo>
                    <a:pt x="1960" y="38"/>
                  </a:lnTo>
                  <a:lnTo>
                    <a:pt x="1960" y="38"/>
                  </a:lnTo>
                  <a:lnTo>
                    <a:pt x="1960" y="38"/>
                  </a:lnTo>
                  <a:lnTo>
                    <a:pt x="1962" y="38"/>
                  </a:lnTo>
                  <a:lnTo>
                    <a:pt x="1962" y="38"/>
                  </a:lnTo>
                  <a:lnTo>
                    <a:pt x="1962" y="36"/>
                  </a:lnTo>
                  <a:lnTo>
                    <a:pt x="1964" y="36"/>
                  </a:lnTo>
                  <a:lnTo>
                    <a:pt x="1964" y="36"/>
                  </a:lnTo>
                  <a:lnTo>
                    <a:pt x="1964" y="36"/>
                  </a:lnTo>
                  <a:lnTo>
                    <a:pt x="1966" y="34"/>
                  </a:lnTo>
                  <a:lnTo>
                    <a:pt x="1966" y="34"/>
                  </a:lnTo>
                  <a:lnTo>
                    <a:pt x="1966" y="32"/>
                  </a:lnTo>
                  <a:lnTo>
                    <a:pt x="1968" y="30"/>
                  </a:lnTo>
                  <a:lnTo>
                    <a:pt x="1968" y="30"/>
                  </a:lnTo>
                  <a:lnTo>
                    <a:pt x="1968" y="28"/>
                  </a:lnTo>
                  <a:lnTo>
                    <a:pt x="1968" y="28"/>
                  </a:lnTo>
                  <a:lnTo>
                    <a:pt x="1968" y="26"/>
                  </a:lnTo>
                  <a:lnTo>
                    <a:pt x="1964" y="24"/>
                  </a:lnTo>
                  <a:lnTo>
                    <a:pt x="1964" y="24"/>
                  </a:lnTo>
                  <a:lnTo>
                    <a:pt x="1962" y="24"/>
                  </a:lnTo>
                  <a:lnTo>
                    <a:pt x="1958" y="24"/>
                  </a:lnTo>
                  <a:lnTo>
                    <a:pt x="1958" y="24"/>
                  </a:lnTo>
                  <a:lnTo>
                    <a:pt x="1958" y="24"/>
                  </a:lnTo>
                  <a:lnTo>
                    <a:pt x="1954" y="24"/>
                  </a:lnTo>
                  <a:lnTo>
                    <a:pt x="1954" y="24"/>
                  </a:lnTo>
                  <a:lnTo>
                    <a:pt x="1954" y="24"/>
                  </a:lnTo>
                  <a:lnTo>
                    <a:pt x="1950" y="24"/>
                  </a:lnTo>
                  <a:lnTo>
                    <a:pt x="1950" y="24"/>
                  </a:lnTo>
                  <a:lnTo>
                    <a:pt x="1950" y="24"/>
                  </a:lnTo>
                  <a:lnTo>
                    <a:pt x="1946" y="26"/>
                  </a:lnTo>
                  <a:lnTo>
                    <a:pt x="1946" y="26"/>
                  </a:lnTo>
                  <a:lnTo>
                    <a:pt x="1946" y="26"/>
                  </a:lnTo>
                  <a:lnTo>
                    <a:pt x="1944" y="30"/>
                  </a:lnTo>
                  <a:lnTo>
                    <a:pt x="1944" y="30"/>
                  </a:lnTo>
                  <a:lnTo>
                    <a:pt x="1944" y="30"/>
                  </a:lnTo>
                  <a:lnTo>
                    <a:pt x="1942" y="32"/>
                  </a:lnTo>
                  <a:lnTo>
                    <a:pt x="1942" y="32"/>
                  </a:lnTo>
                  <a:lnTo>
                    <a:pt x="1942" y="32"/>
                  </a:lnTo>
                  <a:lnTo>
                    <a:pt x="1942" y="34"/>
                  </a:lnTo>
                  <a:lnTo>
                    <a:pt x="1942" y="34"/>
                  </a:lnTo>
                  <a:lnTo>
                    <a:pt x="1942" y="34"/>
                  </a:lnTo>
                  <a:lnTo>
                    <a:pt x="1942" y="36"/>
                  </a:lnTo>
                  <a:lnTo>
                    <a:pt x="1942" y="36"/>
                  </a:lnTo>
                  <a:lnTo>
                    <a:pt x="1942" y="36"/>
                  </a:lnTo>
                  <a:lnTo>
                    <a:pt x="1942" y="36"/>
                  </a:lnTo>
                  <a:close/>
                  <a:moveTo>
                    <a:pt x="1764" y="180"/>
                  </a:moveTo>
                  <a:lnTo>
                    <a:pt x="1762" y="180"/>
                  </a:lnTo>
                  <a:lnTo>
                    <a:pt x="1762" y="180"/>
                  </a:lnTo>
                  <a:lnTo>
                    <a:pt x="1762" y="180"/>
                  </a:lnTo>
                  <a:lnTo>
                    <a:pt x="1760" y="178"/>
                  </a:lnTo>
                  <a:lnTo>
                    <a:pt x="1760" y="178"/>
                  </a:lnTo>
                  <a:lnTo>
                    <a:pt x="1760" y="178"/>
                  </a:lnTo>
                  <a:lnTo>
                    <a:pt x="1758" y="176"/>
                  </a:lnTo>
                  <a:lnTo>
                    <a:pt x="1758" y="176"/>
                  </a:lnTo>
                  <a:lnTo>
                    <a:pt x="1756" y="176"/>
                  </a:lnTo>
                  <a:lnTo>
                    <a:pt x="1754" y="176"/>
                  </a:lnTo>
                  <a:lnTo>
                    <a:pt x="1754" y="176"/>
                  </a:lnTo>
                  <a:lnTo>
                    <a:pt x="1752" y="176"/>
                  </a:lnTo>
                  <a:lnTo>
                    <a:pt x="1748" y="178"/>
                  </a:lnTo>
                  <a:lnTo>
                    <a:pt x="1748" y="178"/>
                  </a:lnTo>
                  <a:lnTo>
                    <a:pt x="1748" y="178"/>
                  </a:lnTo>
                  <a:lnTo>
                    <a:pt x="1748" y="180"/>
                  </a:lnTo>
                  <a:lnTo>
                    <a:pt x="1748" y="180"/>
                  </a:lnTo>
                  <a:lnTo>
                    <a:pt x="1746" y="182"/>
                  </a:lnTo>
                  <a:lnTo>
                    <a:pt x="1746" y="182"/>
                  </a:lnTo>
                  <a:lnTo>
                    <a:pt x="1746" y="182"/>
                  </a:lnTo>
                  <a:lnTo>
                    <a:pt x="1746" y="184"/>
                  </a:lnTo>
                  <a:lnTo>
                    <a:pt x="1746" y="184"/>
                  </a:lnTo>
                  <a:lnTo>
                    <a:pt x="1746" y="184"/>
                  </a:lnTo>
                  <a:lnTo>
                    <a:pt x="1746" y="186"/>
                  </a:lnTo>
                  <a:lnTo>
                    <a:pt x="1748" y="188"/>
                  </a:lnTo>
                  <a:lnTo>
                    <a:pt x="1748" y="188"/>
                  </a:lnTo>
                  <a:lnTo>
                    <a:pt x="1748" y="188"/>
                  </a:lnTo>
                  <a:lnTo>
                    <a:pt x="1748" y="190"/>
                  </a:lnTo>
                  <a:lnTo>
                    <a:pt x="1750" y="192"/>
                  </a:lnTo>
                  <a:lnTo>
                    <a:pt x="1752" y="194"/>
                  </a:lnTo>
                  <a:lnTo>
                    <a:pt x="1752" y="194"/>
                  </a:lnTo>
                  <a:lnTo>
                    <a:pt x="1752" y="194"/>
                  </a:lnTo>
                  <a:lnTo>
                    <a:pt x="1756" y="196"/>
                  </a:lnTo>
                  <a:lnTo>
                    <a:pt x="1760" y="198"/>
                  </a:lnTo>
                  <a:lnTo>
                    <a:pt x="1762" y="198"/>
                  </a:lnTo>
                  <a:lnTo>
                    <a:pt x="1762" y="198"/>
                  </a:lnTo>
                  <a:lnTo>
                    <a:pt x="1762" y="200"/>
                  </a:lnTo>
                  <a:lnTo>
                    <a:pt x="1764" y="200"/>
                  </a:lnTo>
                  <a:lnTo>
                    <a:pt x="1764" y="200"/>
                  </a:lnTo>
                  <a:lnTo>
                    <a:pt x="1766" y="200"/>
                  </a:lnTo>
                  <a:lnTo>
                    <a:pt x="1768" y="198"/>
                  </a:lnTo>
                  <a:lnTo>
                    <a:pt x="1768" y="198"/>
                  </a:lnTo>
                  <a:lnTo>
                    <a:pt x="1768" y="198"/>
                  </a:lnTo>
                  <a:lnTo>
                    <a:pt x="1770" y="196"/>
                  </a:lnTo>
                  <a:lnTo>
                    <a:pt x="1770" y="196"/>
                  </a:lnTo>
                  <a:lnTo>
                    <a:pt x="1770" y="196"/>
                  </a:lnTo>
                  <a:lnTo>
                    <a:pt x="1772" y="194"/>
                  </a:lnTo>
                  <a:lnTo>
                    <a:pt x="1772" y="194"/>
                  </a:lnTo>
                  <a:lnTo>
                    <a:pt x="1772" y="194"/>
                  </a:lnTo>
                  <a:lnTo>
                    <a:pt x="1774" y="190"/>
                  </a:lnTo>
                  <a:lnTo>
                    <a:pt x="1774" y="190"/>
                  </a:lnTo>
                  <a:lnTo>
                    <a:pt x="1774" y="188"/>
                  </a:lnTo>
                  <a:lnTo>
                    <a:pt x="1774" y="188"/>
                  </a:lnTo>
                  <a:lnTo>
                    <a:pt x="1772" y="186"/>
                  </a:lnTo>
                  <a:lnTo>
                    <a:pt x="1768" y="184"/>
                  </a:lnTo>
                  <a:lnTo>
                    <a:pt x="1768" y="184"/>
                  </a:lnTo>
                  <a:lnTo>
                    <a:pt x="1766" y="182"/>
                  </a:lnTo>
                  <a:lnTo>
                    <a:pt x="1764" y="180"/>
                  </a:lnTo>
                  <a:close/>
                  <a:moveTo>
                    <a:pt x="1774" y="106"/>
                  </a:moveTo>
                  <a:lnTo>
                    <a:pt x="1774" y="112"/>
                  </a:lnTo>
                  <a:lnTo>
                    <a:pt x="1774" y="116"/>
                  </a:lnTo>
                  <a:lnTo>
                    <a:pt x="1774" y="118"/>
                  </a:lnTo>
                  <a:lnTo>
                    <a:pt x="1774" y="122"/>
                  </a:lnTo>
                  <a:lnTo>
                    <a:pt x="1774" y="124"/>
                  </a:lnTo>
                  <a:lnTo>
                    <a:pt x="1774" y="128"/>
                  </a:lnTo>
                  <a:lnTo>
                    <a:pt x="1774" y="128"/>
                  </a:lnTo>
                  <a:lnTo>
                    <a:pt x="1774" y="128"/>
                  </a:lnTo>
                  <a:lnTo>
                    <a:pt x="1776" y="132"/>
                  </a:lnTo>
                  <a:lnTo>
                    <a:pt x="1776" y="132"/>
                  </a:lnTo>
                  <a:lnTo>
                    <a:pt x="1776" y="132"/>
                  </a:lnTo>
                  <a:lnTo>
                    <a:pt x="1776" y="134"/>
                  </a:lnTo>
                  <a:lnTo>
                    <a:pt x="1778" y="136"/>
                  </a:lnTo>
                  <a:lnTo>
                    <a:pt x="1778" y="136"/>
                  </a:lnTo>
                  <a:lnTo>
                    <a:pt x="1778" y="136"/>
                  </a:lnTo>
                  <a:lnTo>
                    <a:pt x="1780" y="138"/>
                  </a:lnTo>
                  <a:lnTo>
                    <a:pt x="1780" y="138"/>
                  </a:lnTo>
                  <a:lnTo>
                    <a:pt x="1780" y="138"/>
                  </a:lnTo>
                  <a:lnTo>
                    <a:pt x="1782" y="140"/>
                  </a:lnTo>
                  <a:lnTo>
                    <a:pt x="1784" y="142"/>
                  </a:lnTo>
                  <a:lnTo>
                    <a:pt x="1786" y="144"/>
                  </a:lnTo>
                  <a:lnTo>
                    <a:pt x="1792" y="148"/>
                  </a:lnTo>
                  <a:lnTo>
                    <a:pt x="1796" y="150"/>
                  </a:lnTo>
                  <a:lnTo>
                    <a:pt x="1798" y="152"/>
                  </a:lnTo>
                  <a:lnTo>
                    <a:pt x="1802" y="154"/>
                  </a:lnTo>
                  <a:lnTo>
                    <a:pt x="1804" y="156"/>
                  </a:lnTo>
                  <a:lnTo>
                    <a:pt x="1806" y="156"/>
                  </a:lnTo>
                  <a:lnTo>
                    <a:pt x="1808" y="158"/>
                  </a:lnTo>
                  <a:lnTo>
                    <a:pt x="1808" y="158"/>
                  </a:lnTo>
                  <a:lnTo>
                    <a:pt x="1808" y="158"/>
                  </a:lnTo>
                  <a:lnTo>
                    <a:pt x="1810" y="158"/>
                  </a:lnTo>
                  <a:lnTo>
                    <a:pt x="1810" y="158"/>
                  </a:lnTo>
                  <a:lnTo>
                    <a:pt x="1810" y="158"/>
                  </a:lnTo>
                  <a:lnTo>
                    <a:pt x="1812" y="156"/>
                  </a:lnTo>
                  <a:lnTo>
                    <a:pt x="1812" y="156"/>
                  </a:lnTo>
                  <a:lnTo>
                    <a:pt x="1812" y="156"/>
                  </a:lnTo>
                  <a:lnTo>
                    <a:pt x="1814" y="154"/>
                  </a:lnTo>
                  <a:lnTo>
                    <a:pt x="1814" y="154"/>
                  </a:lnTo>
                  <a:lnTo>
                    <a:pt x="1814" y="154"/>
                  </a:lnTo>
                  <a:lnTo>
                    <a:pt x="1814" y="152"/>
                  </a:lnTo>
                  <a:lnTo>
                    <a:pt x="1814" y="148"/>
                  </a:lnTo>
                  <a:lnTo>
                    <a:pt x="1812" y="146"/>
                  </a:lnTo>
                  <a:lnTo>
                    <a:pt x="1812" y="144"/>
                  </a:lnTo>
                  <a:lnTo>
                    <a:pt x="1812" y="142"/>
                  </a:lnTo>
                  <a:lnTo>
                    <a:pt x="1812" y="142"/>
                  </a:lnTo>
                  <a:lnTo>
                    <a:pt x="1812" y="142"/>
                  </a:lnTo>
                  <a:lnTo>
                    <a:pt x="1814" y="142"/>
                  </a:lnTo>
                  <a:lnTo>
                    <a:pt x="1816" y="142"/>
                  </a:lnTo>
                  <a:lnTo>
                    <a:pt x="1818" y="142"/>
                  </a:lnTo>
                  <a:lnTo>
                    <a:pt x="1824" y="142"/>
                  </a:lnTo>
                  <a:lnTo>
                    <a:pt x="1828" y="144"/>
                  </a:lnTo>
                  <a:lnTo>
                    <a:pt x="1830" y="144"/>
                  </a:lnTo>
                  <a:lnTo>
                    <a:pt x="1830" y="144"/>
                  </a:lnTo>
                  <a:lnTo>
                    <a:pt x="1830" y="144"/>
                  </a:lnTo>
                  <a:lnTo>
                    <a:pt x="1832" y="142"/>
                  </a:lnTo>
                  <a:lnTo>
                    <a:pt x="1832" y="142"/>
                  </a:lnTo>
                  <a:lnTo>
                    <a:pt x="1832" y="142"/>
                  </a:lnTo>
                  <a:lnTo>
                    <a:pt x="1834" y="142"/>
                  </a:lnTo>
                  <a:lnTo>
                    <a:pt x="1838" y="140"/>
                  </a:lnTo>
                  <a:lnTo>
                    <a:pt x="1842" y="140"/>
                  </a:lnTo>
                  <a:lnTo>
                    <a:pt x="1842" y="140"/>
                  </a:lnTo>
                  <a:lnTo>
                    <a:pt x="1844" y="140"/>
                  </a:lnTo>
                  <a:lnTo>
                    <a:pt x="1844" y="140"/>
                  </a:lnTo>
                  <a:lnTo>
                    <a:pt x="1844" y="140"/>
                  </a:lnTo>
                  <a:lnTo>
                    <a:pt x="1846" y="142"/>
                  </a:lnTo>
                  <a:lnTo>
                    <a:pt x="1848" y="144"/>
                  </a:lnTo>
                  <a:lnTo>
                    <a:pt x="1848" y="144"/>
                  </a:lnTo>
                  <a:lnTo>
                    <a:pt x="1848" y="146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50" y="146"/>
                  </a:lnTo>
                  <a:lnTo>
                    <a:pt x="1852" y="148"/>
                  </a:lnTo>
                  <a:lnTo>
                    <a:pt x="1852" y="148"/>
                  </a:lnTo>
                  <a:lnTo>
                    <a:pt x="1852" y="148"/>
                  </a:lnTo>
                  <a:lnTo>
                    <a:pt x="1856" y="150"/>
                  </a:lnTo>
                  <a:lnTo>
                    <a:pt x="1856" y="150"/>
                  </a:lnTo>
                  <a:lnTo>
                    <a:pt x="1856" y="150"/>
                  </a:lnTo>
                  <a:lnTo>
                    <a:pt x="1860" y="150"/>
                  </a:lnTo>
                  <a:lnTo>
                    <a:pt x="1860" y="150"/>
                  </a:lnTo>
                  <a:lnTo>
                    <a:pt x="1860" y="150"/>
                  </a:lnTo>
                  <a:lnTo>
                    <a:pt x="1864" y="150"/>
                  </a:lnTo>
                  <a:lnTo>
                    <a:pt x="1864" y="150"/>
                  </a:lnTo>
                  <a:lnTo>
                    <a:pt x="1864" y="150"/>
                  </a:lnTo>
                  <a:lnTo>
                    <a:pt x="1868" y="148"/>
                  </a:lnTo>
                  <a:lnTo>
                    <a:pt x="1868" y="148"/>
                  </a:lnTo>
                  <a:lnTo>
                    <a:pt x="1868" y="148"/>
                  </a:lnTo>
                  <a:lnTo>
                    <a:pt x="1870" y="146"/>
                  </a:lnTo>
                  <a:lnTo>
                    <a:pt x="1870" y="146"/>
                  </a:lnTo>
                  <a:lnTo>
                    <a:pt x="1870" y="146"/>
                  </a:lnTo>
                  <a:lnTo>
                    <a:pt x="1870" y="144"/>
                  </a:lnTo>
                  <a:lnTo>
                    <a:pt x="1870" y="144"/>
                  </a:lnTo>
                  <a:lnTo>
                    <a:pt x="1870" y="144"/>
                  </a:lnTo>
                  <a:lnTo>
                    <a:pt x="1872" y="140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4" y="136"/>
                  </a:lnTo>
                  <a:lnTo>
                    <a:pt x="1876" y="136"/>
                  </a:lnTo>
                  <a:lnTo>
                    <a:pt x="1878" y="136"/>
                  </a:lnTo>
                  <a:lnTo>
                    <a:pt x="1882" y="134"/>
                  </a:lnTo>
                  <a:lnTo>
                    <a:pt x="1882" y="134"/>
                  </a:lnTo>
                  <a:lnTo>
                    <a:pt x="1882" y="134"/>
                  </a:lnTo>
                  <a:lnTo>
                    <a:pt x="1884" y="134"/>
                  </a:lnTo>
                  <a:lnTo>
                    <a:pt x="1884" y="134"/>
                  </a:lnTo>
                  <a:lnTo>
                    <a:pt x="1884" y="134"/>
                  </a:lnTo>
                  <a:lnTo>
                    <a:pt x="1886" y="132"/>
                  </a:lnTo>
                  <a:lnTo>
                    <a:pt x="1886" y="132"/>
                  </a:lnTo>
                  <a:lnTo>
                    <a:pt x="1886" y="132"/>
                  </a:lnTo>
                  <a:lnTo>
                    <a:pt x="1888" y="130"/>
                  </a:lnTo>
                  <a:lnTo>
                    <a:pt x="1890" y="128"/>
                  </a:lnTo>
                  <a:lnTo>
                    <a:pt x="1892" y="124"/>
                  </a:lnTo>
                  <a:lnTo>
                    <a:pt x="1894" y="118"/>
                  </a:lnTo>
                  <a:lnTo>
                    <a:pt x="1894" y="116"/>
                  </a:lnTo>
                  <a:lnTo>
                    <a:pt x="1896" y="114"/>
                  </a:lnTo>
                  <a:lnTo>
                    <a:pt x="1898" y="114"/>
                  </a:lnTo>
                  <a:lnTo>
                    <a:pt x="1898" y="112"/>
                  </a:lnTo>
                  <a:lnTo>
                    <a:pt x="1902" y="110"/>
                  </a:lnTo>
                  <a:lnTo>
                    <a:pt x="1902" y="108"/>
                  </a:lnTo>
                  <a:lnTo>
                    <a:pt x="1904" y="106"/>
                  </a:lnTo>
                  <a:lnTo>
                    <a:pt x="1904" y="106"/>
                  </a:lnTo>
                  <a:lnTo>
                    <a:pt x="1904" y="106"/>
                  </a:lnTo>
                  <a:lnTo>
                    <a:pt x="1906" y="104"/>
                  </a:lnTo>
                  <a:lnTo>
                    <a:pt x="1906" y="104"/>
                  </a:lnTo>
                  <a:lnTo>
                    <a:pt x="1906" y="102"/>
                  </a:lnTo>
                  <a:lnTo>
                    <a:pt x="1906" y="102"/>
                  </a:lnTo>
                  <a:lnTo>
                    <a:pt x="1906" y="102"/>
                  </a:lnTo>
                  <a:lnTo>
                    <a:pt x="1906" y="100"/>
                  </a:lnTo>
                  <a:lnTo>
                    <a:pt x="1904" y="98"/>
                  </a:lnTo>
                  <a:lnTo>
                    <a:pt x="1904" y="98"/>
                  </a:lnTo>
                  <a:lnTo>
                    <a:pt x="1904" y="98"/>
                  </a:lnTo>
                  <a:lnTo>
                    <a:pt x="1902" y="96"/>
                  </a:lnTo>
                  <a:lnTo>
                    <a:pt x="1902" y="96"/>
                  </a:lnTo>
                  <a:lnTo>
                    <a:pt x="1902" y="96"/>
                  </a:lnTo>
                  <a:lnTo>
                    <a:pt x="1900" y="96"/>
                  </a:lnTo>
                  <a:lnTo>
                    <a:pt x="1898" y="94"/>
                  </a:lnTo>
                  <a:lnTo>
                    <a:pt x="1892" y="92"/>
                  </a:lnTo>
                  <a:lnTo>
                    <a:pt x="1890" y="90"/>
                  </a:lnTo>
                  <a:lnTo>
                    <a:pt x="1888" y="90"/>
                  </a:lnTo>
                  <a:lnTo>
                    <a:pt x="1886" y="88"/>
                  </a:lnTo>
                  <a:lnTo>
                    <a:pt x="1884" y="84"/>
                  </a:lnTo>
                  <a:lnTo>
                    <a:pt x="1880" y="82"/>
                  </a:lnTo>
                  <a:lnTo>
                    <a:pt x="1876" y="80"/>
                  </a:lnTo>
                  <a:lnTo>
                    <a:pt x="1876" y="80"/>
                  </a:lnTo>
                  <a:lnTo>
                    <a:pt x="1876" y="80"/>
                  </a:lnTo>
                  <a:lnTo>
                    <a:pt x="1874" y="80"/>
                  </a:lnTo>
                  <a:lnTo>
                    <a:pt x="1874" y="80"/>
                  </a:lnTo>
                  <a:lnTo>
                    <a:pt x="1874" y="78"/>
                  </a:lnTo>
                  <a:lnTo>
                    <a:pt x="1872" y="78"/>
                  </a:lnTo>
                  <a:lnTo>
                    <a:pt x="1868" y="78"/>
                  </a:lnTo>
                  <a:lnTo>
                    <a:pt x="1862" y="78"/>
                  </a:lnTo>
                  <a:lnTo>
                    <a:pt x="1862" y="78"/>
                  </a:lnTo>
                  <a:lnTo>
                    <a:pt x="1860" y="76"/>
                  </a:lnTo>
                  <a:lnTo>
                    <a:pt x="1858" y="76"/>
                  </a:lnTo>
                  <a:lnTo>
                    <a:pt x="1856" y="74"/>
                  </a:lnTo>
                  <a:lnTo>
                    <a:pt x="1854" y="70"/>
                  </a:lnTo>
                  <a:lnTo>
                    <a:pt x="1854" y="70"/>
                  </a:lnTo>
                  <a:lnTo>
                    <a:pt x="1854" y="70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52" y="68"/>
                  </a:lnTo>
                  <a:lnTo>
                    <a:pt x="1850" y="68"/>
                  </a:lnTo>
                  <a:lnTo>
                    <a:pt x="1848" y="66"/>
                  </a:lnTo>
                  <a:lnTo>
                    <a:pt x="1842" y="64"/>
                  </a:lnTo>
                  <a:lnTo>
                    <a:pt x="1842" y="64"/>
                  </a:lnTo>
                  <a:lnTo>
                    <a:pt x="1842" y="64"/>
                  </a:lnTo>
                  <a:lnTo>
                    <a:pt x="1838" y="64"/>
                  </a:lnTo>
                  <a:lnTo>
                    <a:pt x="1838" y="64"/>
                  </a:lnTo>
                  <a:lnTo>
                    <a:pt x="1838" y="64"/>
                  </a:lnTo>
                  <a:lnTo>
                    <a:pt x="1836" y="64"/>
                  </a:lnTo>
                  <a:lnTo>
                    <a:pt x="1836" y="64"/>
                  </a:lnTo>
                  <a:lnTo>
                    <a:pt x="1834" y="64"/>
                  </a:lnTo>
                  <a:lnTo>
                    <a:pt x="1834" y="64"/>
                  </a:lnTo>
                  <a:lnTo>
                    <a:pt x="1834" y="64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2" y="66"/>
                  </a:lnTo>
                  <a:lnTo>
                    <a:pt x="1830" y="68"/>
                  </a:lnTo>
                  <a:lnTo>
                    <a:pt x="1830" y="68"/>
                  </a:lnTo>
                  <a:lnTo>
                    <a:pt x="1830" y="68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30" y="72"/>
                  </a:lnTo>
                  <a:lnTo>
                    <a:pt x="1828" y="76"/>
                  </a:lnTo>
                  <a:lnTo>
                    <a:pt x="1828" y="80"/>
                  </a:lnTo>
                  <a:lnTo>
                    <a:pt x="1828" y="82"/>
                  </a:lnTo>
                  <a:lnTo>
                    <a:pt x="1830" y="84"/>
                  </a:lnTo>
                  <a:lnTo>
                    <a:pt x="1830" y="88"/>
                  </a:lnTo>
                  <a:lnTo>
                    <a:pt x="1830" y="86"/>
                  </a:lnTo>
                  <a:lnTo>
                    <a:pt x="1826" y="82"/>
                  </a:lnTo>
                  <a:lnTo>
                    <a:pt x="1824" y="78"/>
                  </a:lnTo>
                  <a:lnTo>
                    <a:pt x="1820" y="74"/>
                  </a:lnTo>
                  <a:lnTo>
                    <a:pt x="1818" y="72"/>
                  </a:lnTo>
                  <a:lnTo>
                    <a:pt x="1814" y="66"/>
                  </a:lnTo>
                  <a:lnTo>
                    <a:pt x="1810" y="62"/>
                  </a:lnTo>
                  <a:lnTo>
                    <a:pt x="1808" y="60"/>
                  </a:lnTo>
                  <a:lnTo>
                    <a:pt x="1806" y="58"/>
                  </a:lnTo>
                  <a:lnTo>
                    <a:pt x="1804" y="58"/>
                  </a:lnTo>
                  <a:lnTo>
                    <a:pt x="1804" y="58"/>
                  </a:lnTo>
                  <a:lnTo>
                    <a:pt x="1804" y="58"/>
                  </a:lnTo>
                  <a:lnTo>
                    <a:pt x="1802" y="56"/>
                  </a:lnTo>
                  <a:lnTo>
                    <a:pt x="1802" y="56"/>
                  </a:lnTo>
                  <a:lnTo>
                    <a:pt x="1800" y="56"/>
                  </a:lnTo>
                  <a:lnTo>
                    <a:pt x="1800" y="58"/>
                  </a:lnTo>
                  <a:lnTo>
                    <a:pt x="1800" y="58"/>
                  </a:lnTo>
                  <a:lnTo>
                    <a:pt x="1798" y="58"/>
                  </a:lnTo>
                  <a:lnTo>
                    <a:pt x="1796" y="58"/>
                  </a:lnTo>
                  <a:lnTo>
                    <a:pt x="1796" y="58"/>
                  </a:lnTo>
                  <a:lnTo>
                    <a:pt x="1796" y="60"/>
                  </a:lnTo>
                  <a:lnTo>
                    <a:pt x="1796" y="60"/>
                  </a:lnTo>
                  <a:lnTo>
                    <a:pt x="1794" y="62"/>
                  </a:lnTo>
                  <a:lnTo>
                    <a:pt x="1792" y="66"/>
                  </a:lnTo>
                  <a:lnTo>
                    <a:pt x="1792" y="68"/>
                  </a:lnTo>
                  <a:lnTo>
                    <a:pt x="1792" y="68"/>
                  </a:lnTo>
                  <a:lnTo>
                    <a:pt x="1788" y="70"/>
                  </a:lnTo>
                  <a:lnTo>
                    <a:pt x="1786" y="72"/>
                  </a:lnTo>
                  <a:lnTo>
                    <a:pt x="1784" y="74"/>
                  </a:lnTo>
                  <a:lnTo>
                    <a:pt x="1784" y="74"/>
                  </a:lnTo>
                  <a:lnTo>
                    <a:pt x="1784" y="74"/>
                  </a:lnTo>
                  <a:lnTo>
                    <a:pt x="1782" y="76"/>
                  </a:lnTo>
                  <a:lnTo>
                    <a:pt x="1782" y="76"/>
                  </a:lnTo>
                  <a:lnTo>
                    <a:pt x="1780" y="76"/>
                  </a:lnTo>
                  <a:lnTo>
                    <a:pt x="1778" y="78"/>
                  </a:lnTo>
                  <a:lnTo>
                    <a:pt x="1778" y="78"/>
                  </a:lnTo>
                  <a:lnTo>
                    <a:pt x="1778" y="78"/>
                  </a:lnTo>
                  <a:lnTo>
                    <a:pt x="1778" y="80"/>
                  </a:lnTo>
                  <a:lnTo>
                    <a:pt x="1778" y="80"/>
                  </a:lnTo>
                  <a:lnTo>
                    <a:pt x="1778" y="80"/>
                  </a:lnTo>
                  <a:lnTo>
                    <a:pt x="1776" y="80"/>
                  </a:lnTo>
                  <a:lnTo>
                    <a:pt x="1776" y="80"/>
                  </a:lnTo>
                  <a:lnTo>
                    <a:pt x="1776" y="82"/>
                  </a:lnTo>
                  <a:lnTo>
                    <a:pt x="1776" y="84"/>
                  </a:lnTo>
                  <a:lnTo>
                    <a:pt x="1776" y="84"/>
                  </a:lnTo>
                  <a:lnTo>
                    <a:pt x="1776" y="84"/>
                  </a:lnTo>
                  <a:lnTo>
                    <a:pt x="1774" y="86"/>
                  </a:lnTo>
                  <a:lnTo>
                    <a:pt x="1774" y="90"/>
                  </a:lnTo>
                  <a:lnTo>
                    <a:pt x="1774" y="94"/>
                  </a:lnTo>
                  <a:lnTo>
                    <a:pt x="1774" y="98"/>
                  </a:lnTo>
                  <a:lnTo>
                    <a:pt x="1774" y="102"/>
                  </a:lnTo>
                  <a:lnTo>
                    <a:pt x="1774" y="106"/>
                  </a:lnTo>
                  <a:close/>
                  <a:moveTo>
                    <a:pt x="1912" y="124"/>
                  </a:moveTo>
                  <a:lnTo>
                    <a:pt x="1912" y="126"/>
                  </a:lnTo>
                  <a:lnTo>
                    <a:pt x="1912" y="126"/>
                  </a:lnTo>
                  <a:lnTo>
                    <a:pt x="1912" y="126"/>
                  </a:lnTo>
                  <a:lnTo>
                    <a:pt x="1914" y="128"/>
                  </a:lnTo>
                  <a:lnTo>
                    <a:pt x="1916" y="130"/>
                  </a:lnTo>
                  <a:lnTo>
                    <a:pt x="1918" y="132"/>
                  </a:lnTo>
                  <a:lnTo>
                    <a:pt x="1922" y="134"/>
                  </a:lnTo>
                  <a:lnTo>
                    <a:pt x="1924" y="136"/>
                  </a:lnTo>
                  <a:lnTo>
                    <a:pt x="1932" y="140"/>
                  </a:lnTo>
                  <a:lnTo>
                    <a:pt x="1934" y="142"/>
                  </a:lnTo>
                  <a:lnTo>
                    <a:pt x="1936" y="144"/>
                  </a:lnTo>
                  <a:lnTo>
                    <a:pt x="1938" y="144"/>
                  </a:lnTo>
                  <a:lnTo>
                    <a:pt x="1938" y="144"/>
                  </a:lnTo>
                  <a:lnTo>
                    <a:pt x="1938" y="144"/>
                  </a:lnTo>
                  <a:lnTo>
                    <a:pt x="1940" y="146"/>
                  </a:lnTo>
                  <a:lnTo>
                    <a:pt x="1940" y="146"/>
                  </a:lnTo>
                  <a:lnTo>
                    <a:pt x="1940" y="146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2" y="148"/>
                  </a:lnTo>
                  <a:lnTo>
                    <a:pt x="1944" y="150"/>
                  </a:lnTo>
                  <a:lnTo>
                    <a:pt x="1944" y="150"/>
                  </a:lnTo>
                  <a:lnTo>
                    <a:pt x="1948" y="150"/>
                  </a:lnTo>
                  <a:lnTo>
                    <a:pt x="1950" y="150"/>
                  </a:lnTo>
                  <a:lnTo>
                    <a:pt x="1956" y="150"/>
                  </a:lnTo>
                  <a:lnTo>
                    <a:pt x="1960" y="150"/>
                  </a:lnTo>
                  <a:lnTo>
                    <a:pt x="1964" y="150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6" y="150"/>
                  </a:lnTo>
                  <a:lnTo>
                    <a:pt x="1968" y="150"/>
                  </a:lnTo>
                  <a:lnTo>
                    <a:pt x="1968" y="150"/>
                  </a:lnTo>
                  <a:lnTo>
                    <a:pt x="1970" y="148"/>
                  </a:lnTo>
                  <a:lnTo>
                    <a:pt x="1972" y="148"/>
                  </a:lnTo>
                  <a:lnTo>
                    <a:pt x="1972" y="148"/>
                  </a:lnTo>
                  <a:lnTo>
                    <a:pt x="1972" y="148"/>
                  </a:lnTo>
                  <a:lnTo>
                    <a:pt x="1972" y="146"/>
                  </a:lnTo>
                  <a:lnTo>
                    <a:pt x="1972" y="146"/>
                  </a:lnTo>
                  <a:lnTo>
                    <a:pt x="1972" y="144"/>
                  </a:lnTo>
                  <a:lnTo>
                    <a:pt x="1974" y="142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4" y="138"/>
                  </a:lnTo>
                  <a:lnTo>
                    <a:pt x="1976" y="136"/>
                  </a:lnTo>
                  <a:lnTo>
                    <a:pt x="1976" y="136"/>
                  </a:lnTo>
                  <a:lnTo>
                    <a:pt x="1982" y="136"/>
                  </a:lnTo>
                  <a:lnTo>
                    <a:pt x="1984" y="138"/>
                  </a:lnTo>
                  <a:lnTo>
                    <a:pt x="1986" y="138"/>
                  </a:lnTo>
                  <a:lnTo>
                    <a:pt x="1988" y="138"/>
                  </a:lnTo>
                  <a:lnTo>
                    <a:pt x="1988" y="138"/>
                  </a:lnTo>
                  <a:lnTo>
                    <a:pt x="1990" y="136"/>
                  </a:lnTo>
                  <a:lnTo>
                    <a:pt x="1990" y="136"/>
                  </a:lnTo>
                  <a:lnTo>
                    <a:pt x="1990" y="136"/>
                  </a:lnTo>
                  <a:lnTo>
                    <a:pt x="1990" y="132"/>
                  </a:lnTo>
                  <a:lnTo>
                    <a:pt x="1990" y="132"/>
                  </a:lnTo>
                  <a:lnTo>
                    <a:pt x="1990" y="132"/>
                  </a:lnTo>
                  <a:lnTo>
                    <a:pt x="1990" y="130"/>
                  </a:lnTo>
                  <a:lnTo>
                    <a:pt x="1988" y="130"/>
                  </a:lnTo>
                  <a:lnTo>
                    <a:pt x="1986" y="128"/>
                  </a:lnTo>
                  <a:lnTo>
                    <a:pt x="1984" y="126"/>
                  </a:lnTo>
                  <a:lnTo>
                    <a:pt x="1978" y="122"/>
                  </a:lnTo>
                  <a:lnTo>
                    <a:pt x="1974" y="120"/>
                  </a:lnTo>
                  <a:lnTo>
                    <a:pt x="1972" y="118"/>
                  </a:lnTo>
                  <a:lnTo>
                    <a:pt x="1972" y="118"/>
                  </a:lnTo>
                  <a:lnTo>
                    <a:pt x="1972" y="118"/>
                  </a:lnTo>
                  <a:lnTo>
                    <a:pt x="1966" y="118"/>
                  </a:lnTo>
                  <a:lnTo>
                    <a:pt x="1962" y="118"/>
                  </a:lnTo>
                  <a:lnTo>
                    <a:pt x="1956" y="116"/>
                  </a:lnTo>
                  <a:lnTo>
                    <a:pt x="1956" y="116"/>
                  </a:lnTo>
                  <a:lnTo>
                    <a:pt x="1954" y="116"/>
                  </a:lnTo>
                  <a:lnTo>
                    <a:pt x="1954" y="116"/>
                  </a:lnTo>
                  <a:lnTo>
                    <a:pt x="1952" y="114"/>
                  </a:lnTo>
                  <a:lnTo>
                    <a:pt x="1952" y="112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50" y="108"/>
                  </a:lnTo>
                  <a:lnTo>
                    <a:pt x="1948" y="106"/>
                  </a:lnTo>
                  <a:lnTo>
                    <a:pt x="1948" y="106"/>
                  </a:lnTo>
                  <a:lnTo>
                    <a:pt x="1948" y="106"/>
                  </a:lnTo>
                  <a:lnTo>
                    <a:pt x="1946" y="104"/>
                  </a:lnTo>
                  <a:lnTo>
                    <a:pt x="1944" y="104"/>
                  </a:lnTo>
                  <a:lnTo>
                    <a:pt x="1944" y="104"/>
                  </a:lnTo>
                  <a:lnTo>
                    <a:pt x="1944" y="104"/>
                  </a:lnTo>
                  <a:lnTo>
                    <a:pt x="1940" y="104"/>
                  </a:lnTo>
                  <a:lnTo>
                    <a:pt x="1940" y="104"/>
                  </a:lnTo>
                  <a:lnTo>
                    <a:pt x="1936" y="104"/>
                  </a:lnTo>
                  <a:lnTo>
                    <a:pt x="1932" y="104"/>
                  </a:lnTo>
                  <a:lnTo>
                    <a:pt x="1932" y="104"/>
                  </a:lnTo>
                  <a:lnTo>
                    <a:pt x="1932" y="104"/>
                  </a:lnTo>
                  <a:lnTo>
                    <a:pt x="1932" y="106"/>
                  </a:lnTo>
                  <a:lnTo>
                    <a:pt x="1932" y="106"/>
                  </a:lnTo>
                  <a:lnTo>
                    <a:pt x="1930" y="106"/>
                  </a:lnTo>
                  <a:lnTo>
                    <a:pt x="1930" y="106"/>
                  </a:lnTo>
                  <a:lnTo>
                    <a:pt x="1928" y="108"/>
                  </a:lnTo>
                  <a:lnTo>
                    <a:pt x="1926" y="110"/>
                  </a:lnTo>
                  <a:lnTo>
                    <a:pt x="1926" y="110"/>
                  </a:lnTo>
                  <a:lnTo>
                    <a:pt x="1924" y="108"/>
                  </a:lnTo>
                  <a:lnTo>
                    <a:pt x="1924" y="106"/>
                  </a:lnTo>
                  <a:lnTo>
                    <a:pt x="1922" y="104"/>
                  </a:lnTo>
                  <a:lnTo>
                    <a:pt x="1922" y="104"/>
                  </a:lnTo>
                  <a:lnTo>
                    <a:pt x="1922" y="104"/>
                  </a:lnTo>
                  <a:lnTo>
                    <a:pt x="1922" y="102"/>
                  </a:lnTo>
                  <a:lnTo>
                    <a:pt x="1922" y="102"/>
                  </a:lnTo>
                  <a:lnTo>
                    <a:pt x="1920" y="102"/>
                  </a:lnTo>
                  <a:lnTo>
                    <a:pt x="1920" y="100"/>
                  </a:lnTo>
                  <a:lnTo>
                    <a:pt x="1920" y="100"/>
                  </a:lnTo>
                  <a:lnTo>
                    <a:pt x="1918" y="100"/>
                  </a:lnTo>
                  <a:lnTo>
                    <a:pt x="1916" y="102"/>
                  </a:lnTo>
                  <a:lnTo>
                    <a:pt x="1916" y="102"/>
                  </a:lnTo>
                  <a:lnTo>
                    <a:pt x="1916" y="102"/>
                  </a:lnTo>
                  <a:lnTo>
                    <a:pt x="1914" y="104"/>
                  </a:lnTo>
                  <a:lnTo>
                    <a:pt x="1914" y="104"/>
                  </a:lnTo>
                  <a:lnTo>
                    <a:pt x="1914" y="104"/>
                  </a:lnTo>
                  <a:lnTo>
                    <a:pt x="1914" y="106"/>
                  </a:lnTo>
                  <a:lnTo>
                    <a:pt x="1914" y="108"/>
                  </a:lnTo>
                  <a:lnTo>
                    <a:pt x="1912" y="112"/>
                  </a:lnTo>
                  <a:lnTo>
                    <a:pt x="1912" y="114"/>
                  </a:lnTo>
                  <a:lnTo>
                    <a:pt x="1912" y="116"/>
                  </a:lnTo>
                  <a:lnTo>
                    <a:pt x="1912" y="118"/>
                  </a:lnTo>
                  <a:lnTo>
                    <a:pt x="1912" y="120"/>
                  </a:lnTo>
                  <a:lnTo>
                    <a:pt x="1912" y="120"/>
                  </a:lnTo>
                  <a:lnTo>
                    <a:pt x="1912" y="122"/>
                  </a:lnTo>
                  <a:lnTo>
                    <a:pt x="1912" y="122"/>
                  </a:lnTo>
                  <a:lnTo>
                    <a:pt x="1912" y="124"/>
                  </a:lnTo>
                  <a:lnTo>
                    <a:pt x="1912" y="124"/>
                  </a:lnTo>
                  <a:lnTo>
                    <a:pt x="1912" y="124"/>
                  </a:lnTo>
                  <a:lnTo>
                    <a:pt x="1912" y="124"/>
                  </a:lnTo>
                  <a:close/>
                  <a:moveTo>
                    <a:pt x="1880" y="222"/>
                  </a:moveTo>
                  <a:lnTo>
                    <a:pt x="1878" y="218"/>
                  </a:lnTo>
                  <a:lnTo>
                    <a:pt x="1878" y="216"/>
                  </a:lnTo>
                  <a:lnTo>
                    <a:pt x="1874" y="210"/>
                  </a:lnTo>
                  <a:lnTo>
                    <a:pt x="1872" y="206"/>
                  </a:lnTo>
                  <a:lnTo>
                    <a:pt x="1872" y="204"/>
                  </a:lnTo>
                  <a:lnTo>
                    <a:pt x="1870" y="202"/>
                  </a:lnTo>
                  <a:lnTo>
                    <a:pt x="1870" y="202"/>
                  </a:lnTo>
                  <a:lnTo>
                    <a:pt x="1870" y="202"/>
                  </a:lnTo>
                  <a:lnTo>
                    <a:pt x="1868" y="198"/>
                  </a:lnTo>
                  <a:lnTo>
                    <a:pt x="1866" y="196"/>
                  </a:lnTo>
                  <a:lnTo>
                    <a:pt x="1864" y="194"/>
                  </a:lnTo>
                  <a:lnTo>
                    <a:pt x="1862" y="192"/>
                  </a:lnTo>
                  <a:lnTo>
                    <a:pt x="1860" y="190"/>
                  </a:lnTo>
                  <a:lnTo>
                    <a:pt x="1858" y="190"/>
                  </a:lnTo>
                  <a:lnTo>
                    <a:pt x="1858" y="190"/>
                  </a:lnTo>
                  <a:lnTo>
                    <a:pt x="1856" y="188"/>
                  </a:lnTo>
                  <a:lnTo>
                    <a:pt x="1856" y="188"/>
                  </a:lnTo>
                  <a:lnTo>
                    <a:pt x="1856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4" y="188"/>
                  </a:lnTo>
                  <a:lnTo>
                    <a:pt x="1852" y="188"/>
                  </a:lnTo>
                  <a:lnTo>
                    <a:pt x="1850" y="188"/>
                  </a:lnTo>
                  <a:lnTo>
                    <a:pt x="1846" y="190"/>
                  </a:lnTo>
                  <a:lnTo>
                    <a:pt x="1846" y="190"/>
                  </a:lnTo>
                  <a:lnTo>
                    <a:pt x="1844" y="190"/>
                  </a:lnTo>
                  <a:lnTo>
                    <a:pt x="1840" y="192"/>
                  </a:lnTo>
                  <a:lnTo>
                    <a:pt x="1840" y="192"/>
                  </a:lnTo>
                  <a:lnTo>
                    <a:pt x="1840" y="192"/>
                  </a:lnTo>
                  <a:lnTo>
                    <a:pt x="1838" y="192"/>
                  </a:lnTo>
                  <a:lnTo>
                    <a:pt x="1838" y="192"/>
                  </a:lnTo>
                  <a:lnTo>
                    <a:pt x="1838" y="194"/>
                  </a:lnTo>
                  <a:lnTo>
                    <a:pt x="1836" y="194"/>
                  </a:lnTo>
                  <a:lnTo>
                    <a:pt x="1836" y="194"/>
                  </a:lnTo>
                  <a:lnTo>
                    <a:pt x="1836" y="196"/>
                  </a:lnTo>
                  <a:lnTo>
                    <a:pt x="1834" y="198"/>
                  </a:lnTo>
                  <a:lnTo>
                    <a:pt x="1834" y="198"/>
                  </a:lnTo>
                  <a:lnTo>
                    <a:pt x="1834" y="198"/>
                  </a:lnTo>
                  <a:lnTo>
                    <a:pt x="1834" y="200"/>
                  </a:lnTo>
                  <a:lnTo>
                    <a:pt x="1834" y="200"/>
                  </a:lnTo>
                  <a:lnTo>
                    <a:pt x="1834" y="200"/>
                  </a:lnTo>
                  <a:lnTo>
                    <a:pt x="1834" y="206"/>
                  </a:lnTo>
                  <a:lnTo>
                    <a:pt x="1834" y="210"/>
                  </a:lnTo>
                  <a:lnTo>
                    <a:pt x="1834" y="212"/>
                  </a:lnTo>
                  <a:lnTo>
                    <a:pt x="1834" y="212"/>
                  </a:lnTo>
                  <a:lnTo>
                    <a:pt x="1832" y="212"/>
                  </a:lnTo>
                  <a:lnTo>
                    <a:pt x="1830" y="212"/>
                  </a:lnTo>
                  <a:lnTo>
                    <a:pt x="1826" y="214"/>
                  </a:lnTo>
                  <a:lnTo>
                    <a:pt x="1824" y="214"/>
                  </a:lnTo>
                  <a:lnTo>
                    <a:pt x="1822" y="214"/>
                  </a:lnTo>
                  <a:lnTo>
                    <a:pt x="1820" y="214"/>
                  </a:lnTo>
                  <a:lnTo>
                    <a:pt x="1820" y="214"/>
                  </a:lnTo>
                  <a:lnTo>
                    <a:pt x="1818" y="216"/>
                  </a:lnTo>
                  <a:lnTo>
                    <a:pt x="1818" y="216"/>
                  </a:lnTo>
                  <a:lnTo>
                    <a:pt x="1818" y="216"/>
                  </a:lnTo>
                  <a:lnTo>
                    <a:pt x="1818" y="218"/>
                  </a:lnTo>
                  <a:lnTo>
                    <a:pt x="1818" y="218"/>
                  </a:lnTo>
                  <a:lnTo>
                    <a:pt x="1820" y="220"/>
                  </a:lnTo>
                  <a:lnTo>
                    <a:pt x="1820" y="220"/>
                  </a:lnTo>
                  <a:lnTo>
                    <a:pt x="1820" y="220"/>
                  </a:lnTo>
                  <a:lnTo>
                    <a:pt x="1822" y="220"/>
                  </a:lnTo>
                  <a:lnTo>
                    <a:pt x="1824" y="220"/>
                  </a:lnTo>
                  <a:lnTo>
                    <a:pt x="1826" y="220"/>
                  </a:lnTo>
                  <a:lnTo>
                    <a:pt x="1828" y="220"/>
                  </a:lnTo>
                  <a:lnTo>
                    <a:pt x="1834" y="222"/>
                  </a:lnTo>
                  <a:lnTo>
                    <a:pt x="1836" y="222"/>
                  </a:lnTo>
                  <a:lnTo>
                    <a:pt x="1838" y="222"/>
                  </a:lnTo>
                  <a:lnTo>
                    <a:pt x="1840" y="224"/>
                  </a:lnTo>
                  <a:lnTo>
                    <a:pt x="1842" y="224"/>
                  </a:lnTo>
                  <a:lnTo>
                    <a:pt x="1844" y="228"/>
                  </a:lnTo>
                  <a:lnTo>
                    <a:pt x="1848" y="230"/>
                  </a:lnTo>
                  <a:lnTo>
                    <a:pt x="1848" y="230"/>
                  </a:lnTo>
                  <a:lnTo>
                    <a:pt x="1848" y="230"/>
                  </a:lnTo>
                  <a:lnTo>
                    <a:pt x="1850" y="232"/>
                  </a:lnTo>
                  <a:lnTo>
                    <a:pt x="1850" y="232"/>
                  </a:lnTo>
                  <a:lnTo>
                    <a:pt x="1852" y="232"/>
                  </a:lnTo>
                  <a:lnTo>
                    <a:pt x="1854" y="232"/>
                  </a:lnTo>
                  <a:lnTo>
                    <a:pt x="1854" y="232"/>
                  </a:lnTo>
                  <a:lnTo>
                    <a:pt x="1854" y="232"/>
                  </a:lnTo>
                  <a:lnTo>
                    <a:pt x="1856" y="234"/>
                  </a:lnTo>
                  <a:lnTo>
                    <a:pt x="1860" y="234"/>
                  </a:lnTo>
                  <a:lnTo>
                    <a:pt x="1868" y="234"/>
                  </a:lnTo>
                  <a:lnTo>
                    <a:pt x="1872" y="232"/>
                  </a:lnTo>
                  <a:lnTo>
                    <a:pt x="1874" y="232"/>
                  </a:lnTo>
                  <a:lnTo>
                    <a:pt x="1874" y="232"/>
                  </a:lnTo>
                  <a:lnTo>
                    <a:pt x="1876" y="232"/>
                  </a:lnTo>
                  <a:lnTo>
                    <a:pt x="1878" y="232"/>
                  </a:lnTo>
                  <a:lnTo>
                    <a:pt x="1878" y="232"/>
                  </a:lnTo>
                  <a:lnTo>
                    <a:pt x="1878" y="230"/>
                  </a:lnTo>
                  <a:lnTo>
                    <a:pt x="1880" y="230"/>
                  </a:lnTo>
                  <a:lnTo>
                    <a:pt x="1880" y="230"/>
                  </a:lnTo>
                  <a:lnTo>
                    <a:pt x="1880" y="228"/>
                  </a:lnTo>
                  <a:lnTo>
                    <a:pt x="1880" y="226"/>
                  </a:lnTo>
                  <a:lnTo>
                    <a:pt x="1880" y="226"/>
                  </a:lnTo>
                  <a:lnTo>
                    <a:pt x="1880" y="224"/>
                  </a:lnTo>
                  <a:lnTo>
                    <a:pt x="1880" y="222"/>
                  </a:lnTo>
                  <a:lnTo>
                    <a:pt x="1880" y="222"/>
                  </a:lnTo>
                  <a:lnTo>
                    <a:pt x="1880" y="222"/>
                  </a:lnTo>
                  <a:lnTo>
                    <a:pt x="1880" y="222"/>
                  </a:lnTo>
                  <a:close/>
                  <a:moveTo>
                    <a:pt x="2236" y="868"/>
                  </a:moveTo>
                  <a:lnTo>
                    <a:pt x="2236" y="868"/>
                  </a:lnTo>
                  <a:lnTo>
                    <a:pt x="2236" y="868"/>
                  </a:lnTo>
                  <a:lnTo>
                    <a:pt x="2234" y="866"/>
                  </a:lnTo>
                  <a:lnTo>
                    <a:pt x="2234" y="866"/>
                  </a:lnTo>
                  <a:lnTo>
                    <a:pt x="2232" y="864"/>
                  </a:lnTo>
                  <a:lnTo>
                    <a:pt x="2228" y="862"/>
                  </a:lnTo>
                  <a:lnTo>
                    <a:pt x="2226" y="860"/>
                  </a:lnTo>
                  <a:lnTo>
                    <a:pt x="2222" y="860"/>
                  </a:lnTo>
                  <a:lnTo>
                    <a:pt x="2218" y="858"/>
                  </a:lnTo>
                  <a:lnTo>
                    <a:pt x="2214" y="856"/>
                  </a:lnTo>
                  <a:lnTo>
                    <a:pt x="2208" y="856"/>
                  </a:lnTo>
                  <a:lnTo>
                    <a:pt x="2208" y="856"/>
                  </a:lnTo>
                  <a:lnTo>
                    <a:pt x="2206" y="856"/>
                  </a:lnTo>
                  <a:lnTo>
                    <a:pt x="2206" y="856"/>
                  </a:lnTo>
                  <a:lnTo>
                    <a:pt x="2204" y="858"/>
                  </a:lnTo>
                  <a:lnTo>
                    <a:pt x="2204" y="862"/>
                  </a:lnTo>
                  <a:lnTo>
                    <a:pt x="2204" y="864"/>
                  </a:lnTo>
                  <a:lnTo>
                    <a:pt x="2204" y="868"/>
                  </a:lnTo>
                  <a:lnTo>
                    <a:pt x="2204" y="870"/>
                  </a:lnTo>
                  <a:lnTo>
                    <a:pt x="2204" y="872"/>
                  </a:lnTo>
                  <a:lnTo>
                    <a:pt x="2204" y="874"/>
                  </a:lnTo>
                  <a:lnTo>
                    <a:pt x="2204" y="874"/>
                  </a:lnTo>
                  <a:lnTo>
                    <a:pt x="2204" y="876"/>
                  </a:lnTo>
                  <a:lnTo>
                    <a:pt x="2206" y="878"/>
                  </a:lnTo>
                  <a:lnTo>
                    <a:pt x="2206" y="878"/>
                  </a:lnTo>
                  <a:lnTo>
                    <a:pt x="2206" y="878"/>
                  </a:lnTo>
                  <a:lnTo>
                    <a:pt x="2206" y="880"/>
                  </a:lnTo>
                  <a:lnTo>
                    <a:pt x="2208" y="880"/>
                  </a:lnTo>
                  <a:lnTo>
                    <a:pt x="2210" y="882"/>
                  </a:lnTo>
                  <a:lnTo>
                    <a:pt x="2212" y="884"/>
                  </a:lnTo>
                  <a:lnTo>
                    <a:pt x="2212" y="888"/>
                  </a:lnTo>
                  <a:lnTo>
                    <a:pt x="2216" y="892"/>
                  </a:lnTo>
                  <a:lnTo>
                    <a:pt x="2216" y="892"/>
                  </a:lnTo>
                  <a:lnTo>
                    <a:pt x="2218" y="892"/>
                  </a:lnTo>
                  <a:lnTo>
                    <a:pt x="2218" y="892"/>
                  </a:lnTo>
                  <a:lnTo>
                    <a:pt x="2220" y="892"/>
                  </a:lnTo>
                  <a:lnTo>
                    <a:pt x="2224" y="888"/>
                  </a:lnTo>
                  <a:lnTo>
                    <a:pt x="2228" y="886"/>
                  </a:lnTo>
                  <a:lnTo>
                    <a:pt x="2232" y="882"/>
                  </a:lnTo>
                  <a:lnTo>
                    <a:pt x="2234" y="880"/>
                  </a:lnTo>
                  <a:lnTo>
                    <a:pt x="2234" y="880"/>
                  </a:lnTo>
                  <a:lnTo>
                    <a:pt x="2236" y="878"/>
                  </a:lnTo>
                  <a:lnTo>
                    <a:pt x="2236" y="878"/>
                  </a:lnTo>
                  <a:lnTo>
                    <a:pt x="2236" y="876"/>
                  </a:lnTo>
                  <a:lnTo>
                    <a:pt x="2236" y="874"/>
                  </a:lnTo>
                  <a:lnTo>
                    <a:pt x="2236" y="874"/>
                  </a:lnTo>
                  <a:lnTo>
                    <a:pt x="2236" y="874"/>
                  </a:lnTo>
                  <a:lnTo>
                    <a:pt x="2236" y="872"/>
                  </a:lnTo>
                  <a:lnTo>
                    <a:pt x="2236" y="872"/>
                  </a:lnTo>
                  <a:lnTo>
                    <a:pt x="2236" y="870"/>
                  </a:lnTo>
                  <a:lnTo>
                    <a:pt x="2236" y="868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5" name="Freeform 171"/>
            <p:cNvSpPr>
              <a:spLocks/>
            </p:cNvSpPr>
            <p:nvPr>
              <p:custDataLst>
                <p:tags r:id="rId167"/>
              </p:custDataLst>
            </p:nvPr>
          </p:nvSpPr>
          <p:spPr bwMode="gray">
            <a:xfrm>
              <a:off x="4311207" y="2851562"/>
              <a:ext cx="336774" cy="330211"/>
            </a:xfrm>
            <a:custGeom>
              <a:avLst/>
              <a:gdLst/>
              <a:ahLst/>
              <a:cxnLst/>
              <a:rect l="l" t="t" r="r" b="b"/>
              <a:pathLst>
                <a:path w="330050" h="323637">
                  <a:moveTo>
                    <a:pt x="318742" y="280797"/>
                  </a:moveTo>
                  <a:cubicBezTo>
                    <a:pt x="322512" y="280018"/>
                    <a:pt x="327275" y="280404"/>
                    <a:pt x="328069" y="281954"/>
                  </a:cubicBezTo>
                  <a:cubicBezTo>
                    <a:pt x="331241" y="292853"/>
                    <a:pt x="329653" y="303747"/>
                    <a:pt x="329653" y="314646"/>
                  </a:cubicBezTo>
                  <a:cubicBezTo>
                    <a:pt x="325154" y="323205"/>
                    <a:pt x="310605" y="326083"/>
                    <a:pt x="308223" y="321408"/>
                  </a:cubicBezTo>
                  <a:cubicBezTo>
                    <a:pt x="330450" y="318299"/>
                    <a:pt x="312195" y="305301"/>
                    <a:pt x="315368" y="286629"/>
                  </a:cubicBezTo>
                  <a:cubicBezTo>
                    <a:pt x="312194" y="283520"/>
                    <a:pt x="314972" y="281576"/>
                    <a:pt x="318742" y="280797"/>
                  </a:cubicBezTo>
                  <a:close/>
                  <a:moveTo>
                    <a:pt x="177056" y="323"/>
                  </a:moveTo>
                  <a:cubicBezTo>
                    <a:pt x="181620" y="-260"/>
                    <a:pt x="185986" y="-260"/>
                    <a:pt x="189954" y="2071"/>
                  </a:cubicBezTo>
                  <a:cubicBezTo>
                    <a:pt x="205829" y="12950"/>
                    <a:pt x="232817" y="44031"/>
                    <a:pt x="243929" y="61126"/>
                  </a:cubicBezTo>
                  <a:cubicBezTo>
                    <a:pt x="264567" y="73559"/>
                    <a:pt x="293142" y="61126"/>
                    <a:pt x="296317" y="81329"/>
                  </a:cubicBezTo>
                  <a:cubicBezTo>
                    <a:pt x="302667" y="89100"/>
                    <a:pt x="283617" y="98424"/>
                    <a:pt x="282029" y="104640"/>
                  </a:cubicBezTo>
                  <a:cubicBezTo>
                    <a:pt x="280442" y="110857"/>
                    <a:pt x="291554" y="112411"/>
                    <a:pt x="285204" y="123289"/>
                  </a:cubicBezTo>
                  <a:cubicBezTo>
                    <a:pt x="270917" y="127952"/>
                    <a:pt x="239167" y="143492"/>
                    <a:pt x="253454" y="160587"/>
                  </a:cubicBezTo>
                  <a:cubicBezTo>
                    <a:pt x="283617" y="177682"/>
                    <a:pt x="275679" y="168358"/>
                    <a:pt x="277267" y="219642"/>
                  </a:cubicBezTo>
                  <a:cubicBezTo>
                    <a:pt x="302667" y="267819"/>
                    <a:pt x="261392" y="256940"/>
                    <a:pt x="215354" y="258494"/>
                  </a:cubicBezTo>
                  <a:cubicBezTo>
                    <a:pt x="199479" y="256940"/>
                    <a:pt x="193129" y="252278"/>
                    <a:pt x="189954" y="267819"/>
                  </a:cubicBezTo>
                  <a:cubicBezTo>
                    <a:pt x="186779" y="275589"/>
                    <a:pt x="182017" y="281806"/>
                    <a:pt x="177254" y="289576"/>
                  </a:cubicBezTo>
                  <a:cubicBezTo>
                    <a:pt x="172492" y="292684"/>
                    <a:pt x="162967" y="289576"/>
                    <a:pt x="158204" y="286468"/>
                  </a:cubicBezTo>
                  <a:cubicBezTo>
                    <a:pt x="153442" y="283360"/>
                    <a:pt x="156617" y="275589"/>
                    <a:pt x="143917" y="272481"/>
                  </a:cubicBezTo>
                  <a:cubicBezTo>
                    <a:pt x="112167" y="270927"/>
                    <a:pt x="105817" y="274035"/>
                    <a:pt x="85179" y="258494"/>
                  </a:cubicBezTo>
                  <a:cubicBezTo>
                    <a:pt x="66129" y="255386"/>
                    <a:pt x="77242" y="230521"/>
                    <a:pt x="77242" y="214980"/>
                  </a:cubicBezTo>
                  <a:cubicBezTo>
                    <a:pt x="86767" y="210318"/>
                    <a:pt x="89942" y="208764"/>
                    <a:pt x="91529" y="197885"/>
                  </a:cubicBezTo>
                  <a:cubicBezTo>
                    <a:pt x="85179" y="188561"/>
                    <a:pt x="77242" y="183898"/>
                    <a:pt x="72479" y="173020"/>
                  </a:cubicBezTo>
                  <a:cubicBezTo>
                    <a:pt x="64542" y="155925"/>
                    <a:pt x="72479" y="138830"/>
                    <a:pt x="56604" y="127952"/>
                  </a:cubicBezTo>
                  <a:cubicBezTo>
                    <a:pt x="45492" y="126397"/>
                    <a:pt x="32792" y="123289"/>
                    <a:pt x="23267" y="117073"/>
                  </a:cubicBezTo>
                  <a:cubicBezTo>
                    <a:pt x="1042" y="112411"/>
                    <a:pt x="-2133" y="107748"/>
                    <a:pt x="1042" y="84437"/>
                  </a:cubicBezTo>
                  <a:cubicBezTo>
                    <a:pt x="31204" y="79775"/>
                    <a:pt x="28029" y="76667"/>
                    <a:pt x="48667" y="90654"/>
                  </a:cubicBezTo>
                  <a:cubicBezTo>
                    <a:pt x="61367" y="87545"/>
                    <a:pt x="70892" y="87545"/>
                    <a:pt x="75654" y="75113"/>
                  </a:cubicBezTo>
                  <a:cubicBezTo>
                    <a:pt x="70892" y="67342"/>
                    <a:pt x="66129" y="62680"/>
                    <a:pt x="56604" y="58018"/>
                  </a:cubicBezTo>
                  <a:cubicBezTo>
                    <a:pt x="45492" y="56464"/>
                    <a:pt x="43507" y="54133"/>
                    <a:pt x="45492" y="51413"/>
                  </a:cubicBezTo>
                  <a:lnTo>
                    <a:pt x="58192" y="42477"/>
                  </a:lnTo>
                  <a:cubicBezTo>
                    <a:pt x="69304" y="48693"/>
                    <a:pt x="75654" y="56464"/>
                    <a:pt x="85179" y="62680"/>
                  </a:cubicBezTo>
                  <a:cubicBezTo>
                    <a:pt x="148679" y="67342"/>
                    <a:pt x="110579" y="72005"/>
                    <a:pt x="129629" y="47139"/>
                  </a:cubicBezTo>
                  <a:cubicBezTo>
                    <a:pt x="155029" y="33153"/>
                    <a:pt x="132804" y="8287"/>
                    <a:pt x="162967" y="2071"/>
                  </a:cubicBezTo>
                  <a:cubicBezTo>
                    <a:pt x="167729" y="2071"/>
                    <a:pt x="172492" y="906"/>
                    <a:pt x="177056" y="323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6" name="Freeform 172"/>
            <p:cNvSpPr>
              <a:spLocks/>
            </p:cNvSpPr>
            <p:nvPr>
              <p:custDataLst>
                <p:tags r:id="rId168"/>
              </p:custDataLst>
            </p:nvPr>
          </p:nvSpPr>
          <p:spPr bwMode="gray">
            <a:xfrm>
              <a:off x="4593495" y="3007910"/>
              <a:ext cx="283742" cy="317336"/>
            </a:xfrm>
            <a:custGeom>
              <a:avLst/>
              <a:gdLst/>
              <a:ahLst/>
              <a:cxnLst/>
              <a:rect l="l" t="t" r="r" b="b"/>
              <a:pathLst>
                <a:path w="278077" h="311019">
                  <a:moveTo>
                    <a:pt x="42763" y="185722"/>
                  </a:moveTo>
                  <a:cubicBezTo>
                    <a:pt x="50272" y="185101"/>
                    <a:pt x="58295" y="185679"/>
                    <a:pt x="61734" y="188662"/>
                  </a:cubicBezTo>
                  <a:cubicBezTo>
                    <a:pt x="68612" y="194629"/>
                    <a:pt x="66025" y="217687"/>
                    <a:pt x="68150" y="225777"/>
                  </a:cubicBezTo>
                  <a:cubicBezTo>
                    <a:pt x="61802" y="233553"/>
                    <a:pt x="58626" y="239786"/>
                    <a:pt x="55450" y="249118"/>
                  </a:cubicBezTo>
                  <a:cubicBezTo>
                    <a:pt x="48441" y="248550"/>
                    <a:pt x="30843" y="232229"/>
                    <a:pt x="26081" y="222364"/>
                  </a:cubicBezTo>
                  <a:cubicBezTo>
                    <a:pt x="21323" y="212524"/>
                    <a:pt x="21980" y="198485"/>
                    <a:pt x="26874" y="189981"/>
                  </a:cubicBezTo>
                  <a:cubicBezTo>
                    <a:pt x="28258" y="188165"/>
                    <a:pt x="35254" y="186344"/>
                    <a:pt x="42763" y="185722"/>
                  </a:cubicBezTo>
                  <a:close/>
                  <a:moveTo>
                    <a:pt x="34737" y="93844"/>
                  </a:moveTo>
                  <a:lnTo>
                    <a:pt x="12511" y="103195"/>
                  </a:lnTo>
                  <a:lnTo>
                    <a:pt x="22869" y="96731"/>
                  </a:lnTo>
                  <a:cubicBezTo>
                    <a:pt x="27546" y="96686"/>
                    <a:pt x="32592" y="93844"/>
                    <a:pt x="34737" y="93844"/>
                  </a:cubicBezTo>
                  <a:close/>
                  <a:moveTo>
                    <a:pt x="104795" y="94"/>
                  </a:moveTo>
                  <a:cubicBezTo>
                    <a:pt x="113330" y="-297"/>
                    <a:pt x="121268" y="477"/>
                    <a:pt x="126817" y="3589"/>
                  </a:cubicBezTo>
                  <a:cubicBezTo>
                    <a:pt x="145868" y="6716"/>
                    <a:pt x="149043" y="26934"/>
                    <a:pt x="141120" y="42509"/>
                  </a:cubicBezTo>
                  <a:cubicBezTo>
                    <a:pt x="118893" y="50280"/>
                    <a:pt x="125244" y="51828"/>
                    <a:pt x="122069" y="79850"/>
                  </a:cubicBezTo>
                  <a:lnTo>
                    <a:pt x="141120" y="107871"/>
                  </a:lnTo>
                  <a:cubicBezTo>
                    <a:pt x="153820" y="115642"/>
                    <a:pt x="161744" y="128089"/>
                    <a:pt x="168094" y="140536"/>
                  </a:cubicBezTo>
                  <a:cubicBezTo>
                    <a:pt x="176046" y="145212"/>
                    <a:pt x="179222" y="151435"/>
                    <a:pt x="183970" y="159207"/>
                  </a:cubicBezTo>
                  <a:cubicBezTo>
                    <a:pt x="183970" y="159207"/>
                    <a:pt x="203021" y="160755"/>
                    <a:pt x="212547" y="163882"/>
                  </a:cubicBezTo>
                  <a:cubicBezTo>
                    <a:pt x="217324" y="165430"/>
                    <a:pt x="217324" y="173233"/>
                    <a:pt x="222072" y="176329"/>
                  </a:cubicBezTo>
                  <a:cubicBezTo>
                    <a:pt x="234773" y="179457"/>
                    <a:pt x="249075" y="188776"/>
                    <a:pt x="255426" y="199675"/>
                  </a:cubicBezTo>
                  <a:cubicBezTo>
                    <a:pt x="255426" y="199675"/>
                    <a:pt x="274477" y="207446"/>
                    <a:pt x="277652" y="215249"/>
                  </a:cubicBezTo>
                  <a:cubicBezTo>
                    <a:pt x="279225" y="218345"/>
                    <a:pt x="276050" y="219893"/>
                    <a:pt x="274477" y="223021"/>
                  </a:cubicBezTo>
                  <a:cubicBezTo>
                    <a:pt x="256999" y="226117"/>
                    <a:pt x="255426" y="227696"/>
                    <a:pt x="250649" y="209026"/>
                  </a:cubicBezTo>
                  <a:cubicBezTo>
                    <a:pt x="241123" y="204350"/>
                    <a:pt x="236375" y="207446"/>
                    <a:pt x="234773" y="218345"/>
                  </a:cubicBezTo>
                  <a:cubicBezTo>
                    <a:pt x="230024" y="229244"/>
                    <a:pt x="237948" y="230792"/>
                    <a:pt x="244298" y="238564"/>
                  </a:cubicBezTo>
                  <a:cubicBezTo>
                    <a:pt x="239550" y="246367"/>
                    <a:pt x="234773" y="252590"/>
                    <a:pt x="230024" y="260362"/>
                  </a:cubicBezTo>
                  <a:cubicBezTo>
                    <a:pt x="206196" y="274356"/>
                    <a:pt x="214148" y="286835"/>
                    <a:pt x="203021" y="308601"/>
                  </a:cubicBezTo>
                  <a:cubicBezTo>
                    <a:pt x="183970" y="311729"/>
                    <a:pt x="182397" y="313277"/>
                    <a:pt x="168094" y="303926"/>
                  </a:cubicBezTo>
                  <a:cubicBezTo>
                    <a:pt x="158569" y="302378"/>
                    <a:pt x="152219" y="299282"/>
                    <a:pt x="144295" y="294606"/>
                  </a:cubicBezTo>
                  <a:cubicBezTo>
                    <a:pt x="129992" y="291479"/>
                    <a:pt x="129992" y="291479"/>
                    <a:pt x="126817" y="275936"/>
                  </a:cubicBezTo>
                  <a:cubicBezTo>
                    <a:pt x="180795" y="271260"/>
                    <a:pt x="209372" y="289931"/>
                    <a:pt x="212547" y="237016"/>
                  </a:cubicBezTo>
                  <a:cubicBezTo>
                    <a:pt x="210973" y="227696"/>
                    <a:pt x="206196" y="223021"/>
                    <a:pt x="201448" y="215249"/>
                  </a:cubicBezTo>
                  <a:cubicBezTo>
                    <a:pt x="190321" y="213670"/>
                    <a:pt x="193496" y="209026"/>
                    <a:pt x="187145" y="199675"/>
                  </a:cubicBezTo>
                  <a:cubicBezTo>
                    <a:pt x="176046" y="193451"/>
                    <a:pt x="174445" y="182552"/>
                    <a:pt x="163346" y="177877"/>
                  </a:cubicBezTo>
                  <a:cubicBezTo>
                    <a:pt x="147470" y="174781"/>
                    <a:pt x="123642" y="159207"/>
                    <a:pt x="117292" y="145212"/>
                  </a:cubicBezTo>
                  <a:cubicBezTo>
                    <a:pt x="107766" y="137409"/>
                    <a:pt x="106193" y="128089"/>
                    <a:pt x="96667" y="121866"/>
                  </a:cubicBezTo>
                  <a:cubicBezTo>
                    <a:pt x="82365" y="118738"/>
                    <a:pt x="83967" y="112515"/>
                    <a:pt x="82365" y="98520"/>
                  </a:cubicBezTo>
                  <a:cubicBezTo>
                    <a:pt x="76015" y="84525"/>
                    <a:pt x="56964" y="89169"/>
                    <a:pt x="44263" y="87621"/>
                  </a:cubicBezTo>
                  <a:cubicBezTo>
                    <a:pt x="35798" y="88653"/>
                    <a:pt x="29454" y="92463"/>
                    <a:pt x="22869" y="96731"/>
                  </a:cubicBezTo>
                  <a:lnTo>
                    <a:pt x="17288" y="96972"/>
                  </a:lnTo>
                  <a:cubicBezTo>
                    <a:pt x="12511" y="93844"/>
                    <a:pt x="4587" y="82946"/>
                    <a:pt x="1412" y="75174"/>
                  </a:cubicBezTo>
                  <a:cubicBezTo>
                    <a:pt x="-1763" y="67403"/>
                    <a:pt x="1412" y="58052"/>
                    <a:pt x="1412" y="50280"/>
                  </a:cubicBezTo>
                  <a:cubicBezTo>
                    <a:pt x="2986" y="42509"/>
                    <a:pt x="6161" y="36285"/>
                    <a:pt x="7763" y="28482"/>
                  </a:cubicBezTo>
                  <a:cubicBezTo>
                    <a:pt x="17288" y="26934"/>
                    <a:pt x="26814" y="28482"/>
                    <a:pt x="34737" y="22259"/>
                  </a:cubicBezTo>
                  <a:cubicBezTo>
                    <a:pt x="45865" y="17583"/>
                    <a:pt x="63314" y="6716"/>
                    <a:pt x="79190" y="3589"/>
                  </a:cubicBezTo>
                  <a:cubicBezTo>
                    <a:pt x="87128" y="2041"/>
                    <a:pt x="96260" y="485"/>
                    <a:pt x="104795" y="94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7" name="Freeform 56"/>
            <p:cNvSpPr>
              <a:spLocks noEditPoints="1"/>
            </p:cNvSpPr>
            <p:nvPr/>
          </p:nvSpPr>
          <p:spPr bwMode="auto">
            <a:xfrm>
              <a:off x="6767694" y="4143308"/>
              <a:ext cx="1137128" cy="408176"/>
            </a:xfrm>
            <a:custGeom>
              <a:avLst/>
              <a:gdLst>
                <a:gd name="T0" fmla="*/ 628 w 702"/>
                <a:gd name="T1" fmla="*/ 114 h 252"/>
                <a:gd name="T2" fmla="*/ 576 w 702"/>
                <a:gd name="T3" fmla="*/ 84 h 252"/>
                <a:gd name="T4" fmla="*/ 542 w 702"/>
                <a:gd name="T5" fmla="*/ 106 h 252"/>
                <a:gd name="T6" fmla="*/ 564 w 702"/>
                <a:gd name="T7" fmla="*/ 122 h 252"/>
                <a:gd name="T8" fmla="*/ 574 w 702"/>
                <a:gd name="T9" fmla="*/ 146 h 252"/>
                <a:gd name="T10" fmla="*/ 646 w 702"/>
                <a:gd name="T11" fmla="*/ 212 h 252"/>
                <a:gd name="T12" fmla="*/ 702 w 702"/>
                <a:gd name="T13" fmla="*/ 218 h 252"/>
                <a:gd name="T14" fmla="*/ 32 w 702"/>
                <a:gd name="T15" fmla="*/ 56 h 252"/>
                <a:gd name="T16" fmla="*/ 50 w 702"/>
                <a:gd name="T17" fmla="*/ 80 h 252"/>
                <a:gd name="T18" fmla="*/ 50 w 702"/>
                <a:gd name="T19" fmla="*/ 100 h 252"/>
                <a:gd name="T20" fmla="*/ 74 w 702"/>
                <a:gd name="T21" fmla="*/ 96 h 252"/>
                <a:gd name="T22" fmla="*/ 530 w 702"/>
                <a:gd name="T23" fmla="*/ 222 h 252"/>
                <a:gd name="T24" fmla="*/ 556 w 702"/>
                <a:gd name="T25" fmla="*/ 200 h 252"/>
                <a:gd name="T26" fmla="*/ 274 w 702"/>
                <a:gd name="T27" fmla="*/ 198 h 252"/>
                <a:gd name="T28" fmla="*/ 232 w 702"/>
                <a:gd name="T29" fmla="*/ 182 h 252"/>
                <a:gd name="T30" fmla="*/ 170 w 702"/>
                <a:gd name="T31" fmla="*/ 168 h 252"/>
                <a:gd name="T32" fmla="*/ 196 w 702"/>
                <a:gd name="T33" fmla="*/ 204 h 252"/>
                <a:gd name="T34" fmla="*/ 296 w 702"/>
                <a:gd name="T35" fmla="*/ 208 h 252"/>
                <a:gd name="T36" fmla="*/ 612 w 702"/>
                <a:gd name="T37" fmla="*/ 172 h 252"/>
                <a:gd name="T38" fmla="*/ 206 w 702"/>
                <a:gd name="T39" fmla="*/ 144 h 252"/>
                <a:gd name="T40" fmla="*/ 188 w 702"/>
                <a:gd name="T41" fmla="*/ 122 h 252"/>
                <a:gd name="T42" fmla="*/ 382 w 702"/>
                <a:gd name="T43" fmla="*/ 228 h 252"/>
                <a:gd name="T44" fmla="*/ 388 w 702"/>
                <a:gd name="T45" fmla="*/ 252 h 252"/>
                <a:gd name="T46" fmla="*/ 458 w 702"/>
                <a:gd name="T47" fmla="*/ 208 h 252"/>
                <a:gd name="T48" fmla="*/ 450 w 702"/>
                <a:gd name="T49" fmla="*/ 244 h 252"/>
                <a:gd name="T50" fmla="*/ 224 w 702"/>
                <a:gd name="T51" fmla="*/ 106 h 252"/>
                <a:gd name="T52" fmla="*/ 254 w 702"/>
                <a:gd name="T53" fmla="*/ 138 h 252"/>
                <a:gd name="T54" fmla="*/ 326 w 702"/>
                <a:gd name="T55" fmla="*/ 136 h 252"/>
                <a:gd name="T56" fmla="*/ 352 w 702"/>
                <a:gd name="T57" fmla="*/ 80 h 252"/>
                <a:gd name="T58" fmla="*/ 352 w 702"/>
                <a:gd name="T59" fmla="*/ 54 h 252"/>
                <a:gd name="T60" fmla="*/ 350 w 702"/>
                <a:gd name="T61" fmla="*/ 20 h 252"/>
                <a:gd name="T62" fmla="*/ 262 w 702"/>
                <a:gd name="T63" fmla="*/ 56 h 252"/>
                <a:gd name="T64" fmla="*/ 204 w 702"/>
                <a:gd name="T65" fmla="*/ 66 h 252"/>
                <a:gd name="T66" fmla="*/ 172 w 702"/>
                <a:gd name="T67" fmla="*/ 134 h 252"/>
                <a:gd name="T68" fmla="*/ 182 w 702"/>
                <a:gd name="T69" fmla="*/ 124 h 252"/>
                <a:gd name="T70" fmla="*/ 152 w 702"/>
                <a:gd name="T71" fmla="*/ 114 h 252"/>
                <a:gd name="T72" fmla="*/ 124 w 702"/>
                <a:gd name="T73" fmla="*/ 76 h 252"/>
                <a:gd name="T74" fmla="*/ 34 w 702"/>
                <a:gd name="T75" fmla="*/ 8 h 252"/>
                <a:gd name="T76" fmla="*/ 2 w 702"/>
                <a:gd name="T77" fmla="*/ 14 h 252"/>
                <a:gd name="T78" fmla="*/ 60 w 702"/>
                <a:gd name="T79" fmla="*/ 80 h 252"/>
                <a:gd name="T80" fmla="*/ 158 w 702"/>
                <a:gd name="T81" fmla="*/ 174 h 252"/>
                <a:gd name="T82" fmla="*/ 324 w 702"/>
                <a:gd name="T83" fmla="*/ 208 h 252"/>
                <a:gd name="T84" fmla="*/ 334 w 702"/>
                <a:gd name="T85" fmla="*/ 232 h 252"/>
                <a:gd name="T86" fmla="*/ 442 w 702"/>
                <a:gd name="T87" fmla="*/ 210 h 252"/>
                <a:gd name="T88" fmla="*/ 368 w 702"/>
                <a:gd name="T89" fmla="*/ 138 h 252"/>
                <a:gd name="T90" fmla="*/ 382 w 702"/>
                <a:gd name="T91" fmla="*/ 164 h 252"/>
                <a:gd name="T92" fmla="*/ 388 w 702"/>
                <a:gd name="T93" fmla="*/ 138 h 252"/>
                <a:gd name="T94" fmla="*/ 416 w 702"/>
                <a:gd name="T95" fmla="*/ 172 h 252"/>
                <a:gd name="T96" fmla="*/ 430 w 702"/>
                <a:gd name="T97" fmla="*/ 154 h 252"/>
                <a:gd name="T98" fmla="*/ 404 w 702"/>
                <a:gd name="T99" fmla="*/ 116 h 252"/>
                <a:gd name="T100" fmla="*/ 426 w 702"/>
                <a:gd name="T101" fmla="*/ 96 h 252"/>
                <a:gd name="T102" fmla="*/ 390 w 702"/>
                <a:gd name="T103" fmla="*/ 82 h 252"/>
                <a:gd name="T104" fmla="*/ 454 w 702"/>
                <a:gd name="T105" fmla="*/ 56 h 252"/>
                <a:gd name="T106" fmla="*/ 386 w 702"/>
                <a:gd name="T107" fmla="*/ 76 h 252"/>
                <a:gd name="T108" fmla="*/ 494 w 702"/>
                <a:gd name="T109" fmla="*/ 90 h 252"/>
                <a:gd name="T110" fmla="*/ 508 w 702"/>
                <a:gd name="T111" fmla="*/ 98 h 252"/>
                <a:gd name="T112" fmla="*/ 508 w 702"/>
                <a:gd name="T113" fmla="*/ 58 h 252"/>
                <a:gd name="T114" fmla="*/ 496 w 702"/>
                <a:gd name="T115" fmla="*/ 48 h 252"/>
                <a:gd name="T116" fmla="*/ 494 w 702"/>
                <a:gd name="T117" fmla="*/ 90 h 252"/>
                <a:gd name="T118" fmla="*/ 488 w 702"/>
                <a:gd name="T119" fmla="*/ 156 h 252"/>
                <a:gd name="T120" fmla="*/ 544 w 702"/>
                <a:gd name="T121" fmla="*/ 146 h 252"/>
                <a:gd name="T122" fmla="*/ 528 w 702"/>
                <a:gd name="T123" fmla="*/ 122 h 252"/>
                <a:gd name="T124" fmla="*/ 544 w 702"/>
                <a:gd name="T125" fmla="*/ 146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2" h="252">
                  <a:moveTo>
                    <a:pt x="700" y="124"/>
                  </a:moveTo>
                  <a:lnTo>
                    <a:pt x="698" y="124"/>
                  </a:lnTo>
                  <a:lnTo>
                    <a:pt x="700" y="122"/>
                  </a:lnTo>
                  <a:lnTo>
                    <a:pt x="650" y="104"/>
                  </a:lnTo>
                  <a:lnTo>
                    <a:pt x="650" y="104"/>
                  </a:lnTo>
                  <a:lnTo>
                    <a:pt x="648" y="10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28" y="114"/>
                  </a:lnTo>
                  <a:lnTo>
                    <a:pt x="612" y="130"/>
                  </a:lnTo>
                  <a:lnTo>
                    <a:pt x="594" y="114"/>
                  </a:lnTo>
                  <a:lnTo>
                    <a:pt x="594" y="98"/>
                  </a:lnTo>
                  <a:lnTo>
                    <a:pt x="594" y="98"/>
                  </a:lnTo>
                  <a:lnTo>
                    <a:pt x="594" y="96"/>
                  </a:lnTo>
                  <a:lnTo>
                    <a:pt x="576" y="84"/>
                  </a:lnTo>
                  <a:lnTo>
                    <a:pt x="576" y="84"/>
                  </a:lnTo>
                  <a:lnTo>
                    <a:pt x="574" y="84"/>
                  </a:lnTo>
                  <a:lnTo>
                    <a:pt x="564" y="84"/>
                  </a:lnTo>
                  <a:lnTo>
                    <a:pt x="564" y="84"/>
                  </a:lnTo>
                  <a:lnTo>
                    <a:pt x="562" y="86"/>
                  </a:lnTo>
                  <a:lnTo>
                    <a:pt x="542" y="104"/>
                  </a:lnTo>
                  <a:lnTo>
                    <a:pt x="542" y="104"/>
                  </a:lnTo>
                  <a:lnTo>
                    <a:pt x="542" y="106"/>
                  </a:lnTo>
                  <a:lnTo>
                    <a:pt x="542" y="106"/>
                  </a:lnTo>
                  <a:lnTo>
                    <a:pt x="544" y="108"/>
                  </a:lnTo>
                  <a:lnTo>
                    <a:pt x="550" y="108"/>
                  </a:lnTo>
                  <a:lnTo>
                    <a:pt x="562" y="118"/>
                  </a:lnTo>
                  <a:lnTo>
                    <a:pt x="562" y="118"/>
                  </a:lnTo>
                  <a:lnTo>
                    <a:pt x="564" y="120"/>
                  </a:lnTo>
                  <a:lnTo>
                    <a:pt x="584" y="120"/>
                  </a:lnTo>
                  <a:lnTo>
                    <a:pt x="580" y="122"/>
                  </a:lnTo>
                  <a:lnTo>
                    <a:pt x="564" y="122"/>
                  </a:lnTo>
                  <a:lnTo>
                    <a:pt x="564" y="122"/>
                  </a:lnTo>
                  <a:lnTo>
                    <a:pt x="560" y="124"/>
                  </a:lnTo>
                  <a:lnTo>
                    <a:pt x="560" y="124"/>
                  </a:lnTo>
                  <a:lnTo>
                    <a:pt x="562" y="126"/>
                  </a:lnTo>
                  <a:lnTo>
                    <a:pt x="572" y="136"/>
                  </a:lnTo>
                  <a:lnTo>
                    <a:pt x="572" y="144"/>
                  </a:lnTo>
                  <a:lnTo>
                    <a:pt x="572" y="144"/>
                  </a:lnTo>
                  <a:lnTo>
                    <a:pt x="574" y="146"/>
                  </a:lnTo>
                  <a:lnTo>
                    <a:pt x="574" y="146"/>
                  </a:lnTo>
                  <a:lnTo>
                    <a:pt x="576" y="146"/>
                  </a:lnTo>
                  <a:lnTo>
                    <a:pt x="582" y="138"/>
                  </a:lnTo>
                  <a:lnTo>
                    <a:pt x="646" y="172"/>
                  </a:lnTo>
                  <a:lnTo>
                    <a:pt x="656" y="190"/>
                  </a:lnTo>
                  <a:lnTo>
                    <a:pt x="646" y="210"/>
                  </a:lnTo>
                  <a:lnTo>
                    <a:pt x="646" y="210"/>
                  </a:lnTo>
                  <a:lnTo>
                    <a:pt x="646" y="212"/>
                  </a:lnTo>
                  <a:lnTo>
                    <a:pt x="646" y="212"/>
                  </a:lnTo>
                  <a:lnTo>
                    <a:pt x="650" y="214"/>
                  </a:lnTo>
                  <a:lnTo>
                    <a:pt x="678" y="204"/>
                  </a:lnTo>
                  <a:lnTo>
                    <a:pt x="698" y="220"/>
                  </a:lnTo>
                  <a:lnTo>
                    <a:pt x="698" y="220"/>
                  </a:lnTo>
                  <a:lnTo>
                    <a:pt x="700" y="220"/>
                  </a:lnTo>
                  <a:lnTo>
                    <a:pt x="700" y="220"/>
                  </a:lnTo>
                  <a:lnTo>
                    <a:pt x="702" y="218"/>
                  </a:lnTo>
                  <a:lnTo>
                    <a:pt x="702" y="124"/>
                  </a:lnTo>
                  <a:lnTo>
                    <a:pt x="700" y="124"/>
                  </a:lnTo>
                  <a:close/>
                  <a:moveTo>
                    <a:pt x="54" y="80"/>
                  </a:moveTo>
                  <a:lnTo>
                    <a:pt x="54" y="80"/>
                  </a:lnTo>
                  <a:lnTo>
                    <a:pt x="54" y="78"/>
                  </a:lnTo>
                  <a:lnTo>
                    <a:pt x="52" y="7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0" y="56"/>
                  </a:lnTo>
                  <a:lnTo>
                    <a:pt x="30" y="56"/>
                  </a:lnTo>
                  <a:lnTo>
                    <a:pt x="28" y="58"/>
                  </a:lnTo>
                  <a:lnTo>
                    <a:pt x="28" y="68"/>
                  </a:lnTo>
                  <a:lnTo>
                    <a:pt x="30" y="68"/>
                  </a:lnTo>
                  <a:lnTo>
                    <a:pt x="30" y="68"/>
                  </a:lnTo>
                  <a:lnTo>
                    <a:pt x="30" y="72"/>
                  </a:lnTo>
                  <a:lnTo>
                    <a:pt x="50" y="80"/>
                  </a:lnTo>
                  <a:lnTo>
                    <a:pt x="50" y="80"/>
                  </a:lnTo>
                  <a:lnTo>
                    <a:pt x="52" y="80"/>
                  </a:lnTo>
                  <a:lnTo>
                    <a:pt x="54" y="80"/>
                  </a:lnTo>
                  <a:lnTo>
                    <a:pt x="54" y="80"/>
                  </a:lnTo>
                  <a:close/>
                  <a:moveTo>
                    <a:pt x="72" y="96"/>
                  </a:moveTo>
                  <a:lnTo>
                    <a:pt x="52" y="96"/>
                  </a:lnTo>
                  <a:lnTo>
                    <a:pt x="52" y="98"/>
                  </a:lnTo>
                  <a:lnTo>
                    <a:pt x="50" y="100"/>
                  </a:lnTo>
                  <a:lnTo>
                    <a:pt x="70" y="118"/>
                  </a:lnTo>
                  <a:lnTo>
                    <a:pt x="70" y="118"/>
                  </a:lnTo>
                  <a:lnTo>
                    <a:pt x="74" y="118"/>
                  </a:lnTo>
                  <a:lnTo>
                    <a:pt x="74" y="118"/>
                  </a:lnTo>
                  <a:lnTo>
                    <a:pt x="74" y="114"/>
                  </a:lnTo>
                  <a:lnTo>
                    <a:pt x="74" y="98"/>
                  </a:lnTo>
                  <a:lnTo>
                    <a:pt x="74" y="98"/>
                  </a:lnTo>
                  <a:lnTo>
                    <a:pt x="74" y="96"/>
                  </a:lnTo>
                  <a:lnTo>
                    <a:pt x="72" y="96"/>
                  </a:lnTo>
                  <a:lnTo>
                    <a:pt x="72" y="96"/>
                  </a:lnTo>
                  <a:close/>
                  <a:moveTo>
                    <a:pt x="552" y="200"/>
                  </a:moveTo>
                  <a:lnTo>
                    <a:pt x="534" y="200"/>
                  </a:lnTo>
                  <a:lnTo>
                    <a:pt x="534" y="200"/>
                  </a:lnTo>
                  <a:lnTo>
                    <a:pt x="532" y="200"/>
                  </a:lnTo>
                  <a:lnTo>
                    <a:pt x="530" y="202"/>
                  </a:lnTo>
                  <a:lnTo>
                    <a:pt x="530" y="222"/>
                  </a:lnTo>
                  <a:lnTo>
                    <a:pt x="534" y="222"/>
                  </a:lnTo>
                  <a:lnTo>
                    <a:pt x="534" y="224"/>
                  </a:lnTo>
                  <a:lnTo>
                    <a:pt x="544" y="224"/>
                  </a:lnTo>
                  <a:lnTo>
                    <a:pt x="544" y="224"/>
                  </a:lnTo>
                  <a:lnTo>
                    <a:pt x="546" y="222"/>
                  </a:lnTo>
                  <a:lnTo>
                    <a:pt x="556" y="204"/>
                  </a:lnTo>
                  <a:lnTo>
                    <a:pt x="556" y="204"/>
                  </a:lnTo>
                  <a:lnTo>
                    <a:pt x="556" y="200"/>
                  </a:lnTo>
                  <a:lnTo>
                    <a:pt x="556" y="200"/>
                  </a:lnTo>
                  <a:lnTo>
                    <a:pt x="552" y="200"/>
                  </a:lnTo>
                  <a:lnTo>
                    <a:pt x="552" y="200"/>
                  </a:lnTo>
                  <a:close/>
                  <a:moveTo>
                    <a:pt x="296" y="200"/>
                  </a:moveTo>
                  <a:lnTo>
                    <a:pt x="296" y="200"/>
                  </a:lnTo>
                  <a:lnTo>
                    <a:pt x="296" y="198"/>
                  </a:lnTo>
                  <a:lnTo>
                    <a:pt x="294" y="198"/>
                  </a:lnTo>
                  <a:lnTo>
                    <a:pt x="274" y="198"/>
                  </a:lnTo>
                  <a:lnTo>
                    <a:pt x="266" y="190"/>
                  </a:lnTo>
                  <a:lnTo>
                    <a:pt x="266" y="190"/>
                  </a:lnTo>
                  <a:lnTo>
                    <a:pt x="266" y="188"/>
                  </a:lnTo>
                  <a:lnTo>
                    <a:pt x="236" y="180"/>
                  </a:lnTo>
                  <a:lnTo>
                    <a:pt x="236" y="180"/>
                  </a:lnTo>
                  <a:lnTo>
                    <a:pt x="234" y="180"/>
                  </a:lnTo>
                  <a:lnTo>
                    <a:pt x="234" y="180"/>
                  </a:lnTo>
                  <a:lnTo>
                    <a:pt x="232" y="182"/>
                  </a:lnTo>
                  <a:lnTo>
                    <a:pt x="232" y="186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218" y="180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88" y="168"/>
                  </a:lnTo>
                  <a:lnTo>
                    <a:pt x="170" y="168"/>
                  </a:lnTo>
                  <a:lnTo>
                    <a:pt x="170" y="168"/>
                  </a:lnTo>
                  <a:lnTo>
                    <a:pt x="168" y="170"/>
                  </a:lnTo>
                  <a:lnTo>
                    <a:pt x="156" y="180"/>
                  </a:lnTo>
                  <a:lnTo>
                    <a:pt x="158" y="182"/>
                  </a:lnTo>
                  <a:lnTo>
                    <a:pt x="158" y="18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196" y="204"/>
                  </a:lnTo>
                  <a:lnTo>
                    <a:pt x="294" y="214"/>
                  </a:lnTo>
                  <a:lnTo>
                    <a:pt x="294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296" y="214"/>
                  </a:lnTo>
                  <a:lnTo>
                    <a:pt x="318" y="214"/>
                  </a:lnTo>
                  <a:lnTo>
                    <a:pt x="318" y="208"/>
                  </a:lnTo>
                  <a:lnTo>
                    <a:pt x="296" y="208"/>
                  </a:lnTo>
                  <a:lnTo>
                    <a:pt x="296" y="200"/>
                  </a:lnTo>
                  <a:close/>
                  <a:moveTo>
                    <a:pt x="612" y="160"/>
                  </a:moveTo>
                  <a:lnTo>
                    <a:pt x="612" y="160"/>
                  </a:lnTo>
                  <a:lnTo>
                    <a:pt x="608" y="162"/>
                  </a:lnTo>
                  <a:lnTo>
                    <a:pt x="590" y="188"/>
                  </a:lnTo>
                  <a:lnTo>
                    <a:pt x="592" y="190"/>
                  </a:lnTo>
                  <a:lnTo>
                    <a:pt x="594" y="192"/>
                  </a:lnTo>
                  <a:lnTo>
                    <a:pt x="612" y="172"/>
                  </a:lnTo>
                  <a:lnTo>
                    <a:pt x="612" y="172"/>
                  </a:lnTo>
                  <a:lnTo>
                    <a:pt x="614" y="170"/>
                  </a:lnTo>
                  <a:lnTo>
                    <a:pt x="614" y="162"/>
                  </a:lnTo>
                  <a:lnTo>
                    <a:pt x="614" y="162"/>
                  </a:lnTo>
                  <a:lnTo>
                    <a:pt x="612" y="160"/>
                  </a:lnTo>
                  <a:lnTo>
                    <a:pt x="612" y="160"/>
                  </a:lnTo>
                  <a:close/>
                  <a:moveTo>
                    <a:pt x="188" y="144"/>
                  </a:moveTo>
                  <a:lnTo>
                    <a:pt x="206" y="144"/>
                  </a:lnTo>
                  <a:lnTo>
                    <a:pt x="206" y="144"/>
                  </a:lnTo>
                  <a:lnTo>
                    <a:pt x="208" y="144"/>
                  </a:lnTo>
                  <a:lnTo>
                    <a:pt x="210" y="142"/>
                  </a:lnTo>
                  <a:lnTo>
                    <a:pt x="210" y="124"/>
                  </a:lnTo>
                  <a:lnTo>
                    <a:pt x="210" y="124"/>
                  </a:lnTo>
                  <a:lnTo>
                    <a:pt x="208" y="122"/>
                  </a:lnTo>
                  <a:lnTo>
                    <a:pt x="206" y="122"/>
                  </a:lnTo>
                  <a:lnTo>
                    <a:pt x="188" y="122"/>
                  </a:lnTo>
                  <a:lnTo>
                    <a:pt x="188" y="122"/>
                  </a:lnTo>
                  <a:lnTo>
                    <a:pt x="186" y="122"/>
                  </a:lnTo>
                  <a:lnTo>
                    <a:pt x="184" y="124"/>
                  </a:lnTo>
                  <a:lnTo>
                    <a:pt x="184" y="142"/>
                  </a:lnTo>
                  <a:lnTo>
                    <a:pt x="188" y="142"/>
                  </a:lnTo>
                  <a:lnTo>
                    <a:pt x="188" y="144"/>
                  </a:lnTo>
                  <a:close/>
                  <a:moveTo>
                    <a:pt x="382" y="228"/>
                  </a:moveTo>
                  <a:lnTo>
                    <a:pt x="382" y="228"/>
                  </a:lnTo>
                  <a:lnTo>
                    <a:pt x="380" y="228"/>
                  </a:lnTo>
                  <a:lnTo>
                    <a:pt x="360" y="228"/>
                  </a:lnTo>
                  <a:lnTo>
                    <a:pt x="360" y="230"/>
                  </a:lnTo>
                  <a:lnTo>
                    <a:pt x="358" y="232"/>
                  </a:lnTo>
                  <a:lnTo>
                    <a:pt x="378" y="252"/>
                  </a:lnTo>
                  <a:lnTo>
                    <a:pt x="378" y="252"/>
                  </a:lnTo>
                  <a:lnTo>
                    <a:pt x="380" y="252"/>
                  </a:lnTo>
                  <a:lnTo>
                    <a:pt x="388" y="252"/>
                  </a:lnTo>
                  <a:lnTo>
                    <a:pt x="388" y="252"/>
                  </a:lnTo>
                  <a:lnTo>
                    <a:pt x="392" y="250"/>
                  </a:lnTo>
                  <a:lnTo>
                    <a:pt x="392" y="250"/>
                  </a:lnTo>
                  <a:lnTo>
                    <a:pt x="392" y="248"/>
                  </a:lnTo>
                  <a:lnTo>
                    <a:pt x="382" y="228"/>
                  </a:lnTo>
                  <a:close/>
                  <a:moveTo>
                    <a:pt x="486" y="208"/>
                  </a:moveTo>
                  <a:lnTo>
                    <a:pt x="458" y="208"/>
                  </a:lnTo>
                  <a:lnTo>
                    <a:pt x="458" y="208"/>
                  </a:lnTo>
                  <a:lnTo>
                    <a:pt x="454" y="208"/>
                  </a:lnTo>
                  <a:lnTo>
                    <a:pt x="436" y="228"/>
                  </a:lnTo>
                  <a:lnTo>
                    <a:pt x="426" y="240"/>
                  </a:lnTo>
                  <a:lnTo>
                    <a:pt x="428" y="242"/>
                  </a:lnTo>
                  <a:lnTo>
                    <a:pt x="428" y="244"/>
                  </a:lnTo>
                  <a:lnTo>
                    <a:pt x="448" y="244"/>
                  </a:lnTo>
                  <a:lnTo>
                    <a:pt x="448" y="244"/>
                  </a:lnTo>
                  <a:lnTo>
                    <a:pt x="450" y="244"/>
                  </a:lnTo>
                  <a:lnTo>
                    <a:pt x="488" y="214"/>
                  </a:lnTo>
                  <a:lnTo>
                    <a:pt x="488" y="214"/>
                  </a:lnTo>
                  <a:lnTo>
                    <a:pt x="490" y="210"/>
                  </a:lnTo>
                  <a:lnTo>
                    <a:pt x="490" y="210"/>
                  </a:lnTo>
                  <a:lnTo>
                    <a:pt x="486" y="208"/>
                  </a:lnTo>
                  <a:lnTo>
                    <a:pt x="486" y="208"/>
                  </a:lnTo>
                  <a:close/>
                  <a:moveTo>
                    <a:pt x="214" y="88"/>
                  </a:moveTo>
                  <a:lnTo>
                    <a:pt x="224" y="106"/>
                  </a:lnTo>
                  <a:lnTo>
                    <a:pt x="232" y="126"/>
                  </a:lnTo>
                  <a:lnTo>
                    <a:pt x="232" y="126"/>
                  </a:lnTo>
                  <a:lnTo>
                    <a:pt x="236" y="126"/>
                  </a:lnTo>
                  <a:lnTo>
                    <a:pt x="252" y="126"/>
                  </a:lnTo>
                  <a:lnTo>
                    <a:pt x="252" y="134"/>
                  </a:lnTo>
                  <a:lnTo>
                    <a:pt x="252" y="134"/>
                  </a:lnTo>
                  <a:lnTo>
                    <a:pt x="252" y="136"/>
                  </a:lnTo>
                  <a:lnTo>
                    <a:pt x="254" y="138"/>
                  </a:lnTo>
                  <a:lnTo>
                    <a:pt x="294" y="138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0" y="146"/>
                  </a:lnTo>
                  <a:lnTo>
                    <a:pt x="302" y="146"/>
                  </a:lnTo>
                  <a:lnTo>
                    <a:pt x="324" y="136"/>
                  </a:lnTo>
                  <a:lnTo>
                    <a:pt x="324" y="136"/>
                  </a:lnTo>
                  <a:lnTo>
                    <a:pt x="326" y="136"/>
                  </a:lnTo>
                  <a:lnTo>
                    <a:pt x="334" y="116"/>
                  </a:lnTo>
                  <a:lnTo>
                    <a:pt x="334" y="116"/>
                  </a:lnTo>
                  <a:lnTo>
                    <a:pt x="334" y="114"/>
                  </a:lnTo>
                  <a:lnTo>
                    <a:pt x="334" y="114"/>
                  </a:lnTo>
                  <a:lnTo>
                    <a:pt x="332" y="112"/>
                  </a:lnTo>
                  <a:lnTo>
                    <a:pt x="328" y="112"/>
                  </a:lnTo>
                  <a:lnTo>
                    <a:pt x="334" y="98"/>
                  </a:lnTo>
                  <a:lnTo>
                    <a:pt x="352" y="80"/>
                  </a:lnTo>
                  <a:lnTo>
                    <a:pt x="362" y="70"/>
                  </a:lnTo>
                  <a:lnTo>
                    <a:pt x="362" y="70"/>
                  </a:lnTo>
                  <a:lnTo>
                    <a:pt x="362" y="68"/>
                  </a:lnTo>
                  <a:lnTo>
                    <a:pt x="362" y="68"/>
                  </a:lnTo>
                  <a:lnTo>
                    <a:pt x="362" y="66"/>
                  </a:lnTo>
                  <a:lnTo>
                    <a:pt x="348" y="58"/>
                  </a:lnTo>
                  <a:lnTo>
                    <a:pt x="352" y="54"/>
                  </a:lnTo>
                  <a:lnTo>
                    <a:pt x="352" y="54"/>
                  </a:lnTo>
                  <a:lnTo>
                    <a:pt x="354" y="52"/>
                  </a:lnTo>
                  <a:lnTo>
                    <a:pt x="352" y="50"/>
                  </a:lnTo>
                  <a:lnTo>
                    <a:pt x="346" y="40"/>
                  </a:lnTo>
                  <a:lnTo>
                    <a:pt x="354" y="24"/>
                  </a:lnTo>
                  <a:lnTo>
                    <a:pt x="354" y="24"/>
                  </a:lnTo>
                  <a:lnTo>
                    <a:pt x="352" y="20"/>
                  </a:lnTo>
                  <a:lnTo>
                    <a:pt x="352" y="20"/>
                  </a:lnTo>
                  <a:lnTo>
                    <a:pt x="350" y="20"/>
                  </a:lnTo>
                  <a:lnTo>
                    <a:pt x="324" y="20"/>
                  </a:lnTo>
                  <a:lnTo>
                    <a:pt x="324" y="20"/>
                  </a:lnTo>
                  <a:lnTo>
                    <a:pt x="320" y="20"/>
                  </a:lnTo>
                  <a:lnTo>
                    <a:pt x="292" y="56"/>
                  </a:lnTo>
                  <a:lnTo>
                    <a:pt x="284" y="64"/>
                  </a:lnTo>
                  <a:lnTo>
                    <a:pt x="266" y="56"/>
                  </a:lnTo>
                  <a:lnTo>
                    <a:pt x="266" y="56"/>
                  </a:lnTo>
                  <a:lnTo>
                    <a:pt x="262" y="56"/>
                  </a:lnTo>
                  <a:lnTo>
                    <a:pt x="252" y="66"/>
                  </a:lnTo>
                  <a:lnTo>
                    <a:pt x="236" y="66"/>
                  </a:lnTo>
                  <a:lnTo>
                    <a:pt x="218" y="56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8" y="58"/>
                  </a:lnTo>
                  <a:lnTo>
                    <a:pt x="216" y="56"/>
                  </a:lnTo>
                  <a:lnTo>
                    <a:pt x="204" y="66"/>
                  </a:lnTo>
                  <a:lnTo>
                    <a:pt x="204" y="66"/>
                  </a:lnTo>
                  <a:lnTo>
                    <a:pt x="204" y="68"/>
                  </a:lnTo>
                  <a:lnTo>
                    <a:pt x="204" y="70"/>
                  </a:lnTo>
                  <a:lnTo>
                    <a:pt x="214" y="88"/>
                  </a:lnTo>
                  <a:close/>
                  <a:moveTo>
                    <a:pt x="160" y="172"/>
                  </a:moveTo>
                  <a:lnTo>
                    <a:pt x="172" y="136"/>
                  </a:lnTo>
                  <a:lnTo>
                    <a:pt x="172" y="136"/>
                  </a:lnTo>
                  <a:lnTo>
                    <a:pt x="172" y="134"/>
                  </a:lnTo>
                  <a:lnTo>
                    <a:pt x="168" y="128"/>
                  </a:lnTo>
                  <a:lnTo>
                    <a:pt x="176" y="136"/>
                  </a:lnTo>
                  <a:lnTo>
                    <a:pt x="176" y="136"/>
                  </a:lnTo>
                  <a:lnTo>
                    <a:pt x="180" y="138"/>
                  </a:lnTo>
                  <a:lnTo>
                    <a:pt x="180" y="138"/>
                  </a:lnTo>
                  <a:lnTo>
                    <a:pt x="182" y="134"/>
                  </a:lnTo>
                  <a:lnTo>
                    <a:pt x="182" y="124"/>
                  </a:lnTo>
                  <a:lnTo>
                    <a:pt x="182" y="124"/>
                  </a:lnTo>
                  <a:lnTo>
                    <a:pt x="182" y="122"/>
                  </a:lnTo>
                  <a:lnTo>
                    <a:pt x="172" y="104"/>
                  </a:lnTo>
                  <a:lnTo>
                    <a:pt x="172" y="104"/>
                  </a:lnTo>
                  <a:lnTo>
                    <a:pt x="168" y="102"/>
                  </a:lnTo>
                  <a:lnTo>
                    <a:pt x="168" y="102"/>
                  </a:lnTo>
                  <a:lnTo>
                    <a:pt x="166" y="104"/>
                  </a:lnTo>
                  <a:lnTo>
                    <a:pt x="156" y="114"/>
                  </a:lnTo>
                  <a:lnTo>
                    <a:pt x="152" y="114"/>
                  </a:lnTo>
                  <a:lnTo>
                    <a:pt x="142" y="96"/>
                  </a:lnTo>
                  <a:lnTo>
                    <a:pt x="142" y="96"/>
                  </a:lnTo>
                  <a:lnTo>
                    <a:pt x="140" y="94"/>
                  </a:lnTo>
                  <a:lnTo>
                    <a:pt x="134" y="94"/>
                  </a:lnTo>
                  <a:lnTo>
                    <a:pt x="134" y="88"/>
                  </a:lnTo>
                  <a:lnTo>
                    <a:pt x="134" y="88"/>
                  </a:lnTo>
                  <a:lnTo>
                    <a:pt x="134" y="84"/>
                  </a:lnTo>
                  <a:lnTo>
                    <a:pt x="124" y="76"/>
                  </a:lnTo>
                  <a:lnTo>
                    <a:pt x="124" y="68"/>
                  </a:lnTo>
                  <a:lnTo>
                    <a:pt x="124" y="68"/>
                  </a:lnTo>
                  <a:lnTo>
                    <a:pt x="122" y="66"/>
                  </a:lnTo>
                  <a:lnTo>
                    <a:pt x="94" y="48"/>
                  </a:lnTo>
                  <a:lnTo>
                    <a:pt x="94" y="48"/>
                  </a:lnTo>
                  <a:lnTo>
                    <a:pt x="92" y="48"/>
                  </a:lnTo>
                  <a:lnTo>
                    <a:pt x="82" y="4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34" y="8"/>
                  </a:lnTo>
                  <a:lnTo>
                    <a:pt x="4" y="0"/>
                  </a:lnTo>
                  <a:lnTo>
                    <a:pt x="4" y="2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2" y="14"/>
                  </a:lnTo>
                  <a:lnTo>
                    <a:pt x="24" y="3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2" y="54"/>
                  </a:lnTo>
                  <a:lnTo>
                    <a:pt x="52" y="60"/>
                  </a:lnTo>
                  <a:lnTo>
                    <a:pt x="60" y="78"/>
                  </a:lnTo>
                  <a:lnTo>
                    <a:pt x="60" y="78"/>
                  </a:lnTo>
                  <a:lnTo>
                    <a:pt x="60" y="80"/>
                  </a:lnTo>
                  <a:lnTo>
                    <a:pt x="78" y="100"/>
                  </a:lnTo>
                  <a:lnTo>
                    <a:pt x="100" y="136"/>
                  </a:lnTo>
                  <a:lnTo>
                    <a:pt x="100" y="136"/>
                  </a:lnTo>
                  <a:lnTo>
                    <a:pt x="100" y="138"/>
                  </a:lnTo>
                  <a:lnTo>
                    <a:pt x="138" y="174"/>
                  </a:lnTo>
                  <a:lnTo>
                    <a:pt x="138" y="174"/>
                  </a:lnTo>
                  <a:lnTo>
                    <a:pt x="140" y="174"/>
                  </a:lnTo>
                  <a:lnTo>
                    <a:pt x="158" y="174"/>
                  </a:lnTo>
                  <a:lnTo>
                    <a:pt x="158" y="174"/>
                  </a:lnTo>
                  <a:lnTo>
                    <a:pt x="160" y="172"/>
                  </a:lnTo>
                  <a:lnTo>
                    <a:pt x="160" y="172"/>
                  </a:lnTo>
                  <a:close/>
                  <a:moveTo>
                    <a:pt x="442" y="210"/>
                  </a:moveTo>
                  <a:lnTo>
                    <a:pt x="442" y="210"/>
                  </a:lnTo>
                  <a:lnTo>
                    <a:pt x="440" y="208"/>
                  </a:lnTo>
                  <a:lnTo>
                    <a:pt x="324" y="208"/>
                  </a:lnTo>
                  <a:lnTo>
                    <a:pt x="324" y="208"/>
                  </a:lnTo>
                  <a:lnTo>
                    <a:pt x="322" y="208"/>
                  </a:lnTo>
                  <a:lnTo>
                    <a:pt x="320" y="210"/>
                  </a:lnTo>
                  <a:lnTo>
                    <a:pt x="320" y="230"/>
                  </a:lnTo>
                  <a:lnTo>
                    <a:pt x="324" y="230"/>
                  </a:lnTo>
                  <a:lnTo>
                    <a:pt x="324" y="232"/>
                  </a:lnTo>
                  <a:lnTo>
                    <a:pt x="332" y="232"/>
                  </a:lnTo>
                  <a:lnTo>
                    <a:pt x="332" y="232"/>
                  </a:lnTo>
                  <a:lnTo>
                    <a:pt x="334" y="232"/>
                  </a:lnTo>
                  <a:lnTo>
                    <a:pt x="372" y="214"/>
                  </a:lnTo>
                  <a:lnTo>
                    <a:pt x="410" y="232"/>
                  </a:lnTo>
                  <a:lnTo>
                    <a:pt x="410" y="232"/>
                  </a:lnTo>
                  <a:lnTo>
                    <a:pt x="412" y="232"/>
                  </a:lnTo>
                  <a:lnTo>
                    <a:pt x="442" y="214"/>
                  </a:lnTo>
                  <a:lnTo>
                    <a:pt x="442" y="214"/>
                  </a:lnTo>
                  <a:lnTo>
                    <a:pt x="442" y="210"/>
                  </a:lnTo>
                  <a:lnTo>
                    <a:pt x="442" y="210"/>
                  </a:lnTo>
                  <a:close/>
                  <a:moveTo>
                    <a:pt x="360" y="124"/>
                  </a:moveTo>
                  <a:lnTo>
                    <a:pt x="360" y="124"/>
                  </a:lnTo>
                  <a:lnTo>
                    <a:pt x="358" y="124"/>
                  </a:lnTo>
                  <a:lnTo>
                    <a:pt x="358" y="136"/>
                  </a:lnTo>
                  <a:lnTo>
                    <a:pt x="358" y="136"/>
                  </a:lnTo>
                  <a:lnTo>
                    <a:pt x="358" y="138"/>
                  </a:lnTo>
                  <a:lnTo>
                    <a:pt x="360" y="138"/>
                  </a:lnTo>
                  <a:lnTo>
                    <a:pt x="368" y="138"/>
                  </a:lnTo>
                  <a:lnTo>
                    <a:pt x="368" y="172"/>
                  </a:lnTo>
                  <a:lnTo>
                    <a:pt x="368" y="172"/>
                  </a:lnTo>
                  <a:lnTo>
                    <a:pt x="370" y="174"/>
                  </a:lnTo>
                  <a:lnTo>
                    <a:pt x="370" y="174"/>
                  </a:lnTo>
                  <a:lnTo>
                    <a:pt x="374" y="174"/>
                  </a:lnTo>
                  <a:lnTo>
                    <a:pt x="382" y="166"/>
                  </a:lnTo>
                  <a:lnTo>
                    <a:pt x="382" y="166"/>
                  </a:lnTo>
                  <a:lnTo>
                    <a:pt x="382" y="164"/>
                  </a:lnTo>
                  <a:lnTo>
                    <a:pt x="382" y="136"/>
                  </a:lnTo>
                  <a:lnTo>
                    <a:pt x="390" y="128"/>
                  </a:lnTo>
                  <a:lnTo>
                    <a:pt x="392" y="128"/>
                  </a:lnTo>
                  <a:lnTo>
                    <a:pt x="388" y="134"/>
                  </a:lnTo>
                  <a:lnTo>
                    <a:pt x="388" y="134"/>
                  </a:lnTo>
                  <a:lnTo>
                    <a:pt x="386" y="136"/>
                  </a:lnTo>
                  <a:lnTo>
                    <a:pt x="386" y="136"/>
                  </a:lnTo>
                  <a:lnTo>
                    <a:pt x="388" y="138"/>
                  </a:lnTo>
                  <a:lnTo>
                    <a:pt x="398" y="146"/>
                  </a:lnTo>
                  <a:lnTo>
                    <a:pt x="398" y="154"/>
                  </a:lnTo>
                  <a:lnTo>
                    <a:pt x="398" y="154"/>
                  </a:lnTo>
                  <a:lnTo>
                    <a:pt x="398" y="156"/>
                  </a:lnTo>
                  <a:lnTo>
                    <a:pt x="400" y="156"/>
                  </a:lnTo>
                  <a:lnTo>
                    <a:pt x="416" y="156"/>
                  </a:lnTo>
                  <a:lnTo>
                    <a:pt x="416" y="172"/>
                  </a:lnTo>
                  <a:lnTo>
                    <a:pt x="416" y="172"/>
                  </a:lnTo>
                  <a:lnTo>
                    <a:pt x="418" y="174"/>
                  </a:lnTo>
                  <a:lnTo>
                    <a:pt x="418" y="174"/>
                  </a:lnTo>
                  <a:lnTo>
                    <a:pt x="420" y="174"/>
                  </a:lnTo>
                  <a:lnTo>
                    <a:pt x="428" y="166"/>
                  </a:lnTo>
                  <a:lnTo>
                    <a:pt x="428" y="166"/>
                  </a:lnTo>
                  <a:lnTo>
                    <a:pt x="430" y="164"/>
                  </a:lnTo>
                  <a:lnTo>
                    <a:pt x="430" y="154"/>
                  </a:lnTo>
                  <a:lnTo>
                    <a:pt x="430" y="154"/>
                  </a:lnTo>
                  <a:lnTo>
                    <a:pt x="428" y="152"/>
                  </a:lnTo>
                  <a:lnTo>
                    <a:pt x="416" y="138"/>
                  </a:lnTo>
                  <a:lnTo>
                    <a:pt x="418" y="138"/>
                  </a:lnTo>
                  <a:lnTo>
                    <a:pt x="418" y="138"/>
                  </a:lnTo>
                  <a:lnTo>
                    <a:pt x="422" y="136"/>
                  </a:lnTo>
                  <a:lnTo>
                    <a:pt x="422" y="136"/>
                  </a:lnTo>
                  <a:lnTo>
                    <a:pt x="420" y="134"/>
                  </a:lnTo>
                  <a:lnTo>
                    <a:pt x="404" y="116"/>
                  </a:lnTo>
                  <a:lnTo>
                    <a:pt x="418" y="102"/>
                  </a:lnTo>
                  <a:lnTo>
                    <a:pt x="428" y="100"/>
                  </a:lnTo>
                  <a:lnTo>
                    <a:pt x="428" y="100"/>
                  </a:lnTo>
                  <a:lnTo>
                    <a:pt x="430" y="100"/>
                  </a:lnTo>
                  <a:lnTo>
                    <a:pt x="430" y="98"/>
                  </a:lnTo>
                  <a:lnTo>
                    <a:pt x="430" y="98"/>
                  </a:lnTo>
                  <a:lnTo>
                    <a:pt x="428" y="96"/>
                  </a:lnTo>
                  <a:lnTo>
                    <a:pt x="426" y="96"/>
                  </a:lnTo>
                  <a:lnTo>
                    <a:pt x="418" y="96"/>
                  </a:lnTo>
                  <a:lnTo>
                    <a:pt x="418" y="96"/>
                  </a:lnTo>
                  <a:lnTo>
                    <a:pt x="416" y="96"/>
                  </a:lnTo>
                  <a:lnTo>
                    <a:pt x="414" y="98"/>
                  </a:lnTo>
                  <a:lnTo>
                    <a:pt x="390" y="104"/>
                  </a:lnTo>
                  <a:lnTo>
                    <a:pt x="382" y="96"/>
                  </a:lnTo>
                  <a:lnTo>
                    <a:pt x="382" y="88"/>
                  </a:lnTo>
                  <a:lnTo>
                    <a:pt x="390" y="82"/>
                  </a:lnTo>
                  <a:lnTo>
                    <a:pt x="448" y="82"/>
                  </a:lnTo>
                  <a:lnTo>
                    <a:pt x="448" y="82"/>
                  </a:lnTo>
                  <a:lnTo>
                    <a:pt x="450" y="80"/>
                  </a:lnTo>
                  <a:lnTo>
                    <a:pt x="458" y="60"/>
                  </a:lnTo>
                  <a:lnTo>
                    <a:pt x="458" y="60"/>
                  </a:lnTo>
                  <a:lnTo>
                    <a:pt x="458" y="56"/>
                  </a:lnTo>
                  <a:lnTo>
                    <a:pt x="458" y="56"/>
                  </a:lnTo>
                  <a:lnTo>
                    <a:pt x="454" y="56"/>
                  </a:lnTo>
                  <a:lnTo>
                    <a:pt x="436" y="66"/>
                  </a:lnTo>
                  <a:lnTo>
                    <a:pt x="418" y="76"/>
                  </a:lnTo>
                  <a:lnTo>
                    <a:pt x="390" y="66"/>
                  </a:lnTo>
                  <a:lnTo>
                    <a:pt x="390" y="66"/>
                  </a:lnTo>
                  <a:lnTo>
                    <a:pt x="388" y="66"/>
                  </a:lnTo>
                  <a:lnTo>
                    <a:pt x="388" y="66"/>
                  </a:lnTo>
                  <a:lnTo>
                    <a:pt x="386" y="68"/>
                  </a:lnTo>
                  <a:lnTo>
                    <a:pt x="386" y="76"/>
                  </a:lnTo>
                  <a:lnTo>
                    <a:pt x="380" y="76"/>
                  </a:lnTo>
                  <a:lnTo>
                    <a:pt x="380" y="76"/>
                  </a:lnTo>
                  <a:lnTo>
                    <a:pt x="378" y="76"/>
                  </a:lnTo>
                  <a:lnTo>
                    <a:pt x="378" y="78"/>
                  </a:lnTo>
                  <a:lnTo>
                    <a:pt x="378" y="98"/>
                  </a:lnTo>
                  <a:lnTo>
                    <a:pt x="358" y="124"/>
                  </a:lnTo>
                  <a:lnTo>
                    <a:pt x="360" y="124"/>
                  </a:lnTo>
                  <a:close/>
                  <a:moveTo>
                    <a:pt x="494" y="90"/>
                  </a:moveTo>
                  <a:lnTo>
                    <a:pt x="494" y="90"/>
                  </a:lnTo>
                  <a:lnTo>
                    <a:pt x="494" y="90"/>
                  </a:lnTo>
                  <a:lnTo>
                    <a:pt x="504" y="100"/>
                  </a:lnTo>
                  <a:lnTo>
                    <a:pt x="504" y="100"/>
                  </a:lnTo>
                  <a:lnTo>
                    <a:pt x="506" y="102"/>
                  </a:lnTo>
                  <a:lnTo>
                    <a:pt x="508" y="100"/>
                  </a:lnTo>
                  <a:lnTo>
                    <a:pt x="508" y="100"/>
                  </a:lnTo>
                  <a:lnTo>
                    <a:pt x="508" y="98"/>
                  </a:lnTo>
                  <a:lnTo>
                    <a:pt x="508" y="96"/>
                  </a:lnTo>
                  <a:lnTo>
                    <a:pt x="500" y="86"/>
                  </a:lnTo>
                  <a:lnTo>
                    <a:pt x="500" y="82"/>
                  </a:lnTo>
                  <a:lnTo>
                    <a:pt x="506" y="82"/>
                  </a:lnTo>
                  <a:lnTo>
                    <a:pt x="506" y="82"/>
                  </a:lnTo>
                  <a:lnTo>
                    <a:pt x="508" y="80"/>
                  </a:lnTo>
                  <a:lnTo>
                    <a:pt x="508" y="78"/>
                  </a:lnTo>
                  <a:lnTo>
                    <a:pt x="508" y="58"/>
                  </a:lnTo>
                  <a:lnTo>
                    <a:pt x="508" y="58"/>
                  </a:lnTo>
                  <a:lnTo>
                    <a:pt x="508" y="56"/>
                  </a:lnTo>
                  <a:lnTo>
                    <a:pt x="506" y="56"/>
                  </a:lnTo>
                  <a:lnTo>
                    <a:pt x="504" y="56"/>
                  </a:lnTo>
                  <a:lnTo>
                    <a:pt x="504" y="58"/>
                  </a:lnTo>
                  <a:lnTo>
                    <a:pt x="498" y="50"/>
                  </a:lnTo>
                  <a:lnTo>
                    <a:pt x="498" y="50"/>
                  </a:lnTo>
                  <a:lnTo>
                    <a:pt x="496" y="48"/>
                  </a:lnTo>
                  <a:lnTo>
                    <a:pt x="496" y="48"/>
                  </a:lnTo>
                  <a:lnTo>
                    <a:pt x="494" y="50"/>
                  </a:lnTo>
                  <a:lnTo>
                    <a:pt x="484" y="68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6" y="70"/>
                  </a:lnTo>
                  <a:lnTo>
                    <a:pt x="484" y="70"/>
                  </a:lnTo>
                  <a:lnTo>
                    <a:pt x="494" y="90"/>
                  </a:lnTo>
                  <a:close/>
                  <a:moveTo>
                    <a:pt x="486" y="132"/>
                  </a:moveTo>
                  <a:lnTo>
                    <a:pt x="468" y="132"/>
                  </a:lnTo>
                  <a:lnTo>
                    <a:pt x="468" y="136"/>
                  </a:lnTo>
                  <a:lnTo>
                    <a:pt x="466" y="138"/>
                  </a:lnTo>
                  <a:lnTo>
                    <a:pt x="484" y="156"/>
                  </a:lnTo>
                  <a:lnTo>
                    <a:pt x="484" y="156"/>
                  </a:lnTo>
                  <a:lnTo>
                    <a:pt x="488" y="156"/>
                  </a:lnTo>
                  <a:lnTo>
                    <a:pt x="488" y="156"/>
                  </a:lnTo>
                  <a:lnTo>
                    <a:pt x="490" y="154"/>
                  </a:lnTo>
                  <a:lnTo>
                    <a:pt x="490" y="136"/>
                  </a:lnTo>
                  <a:lnTo>
                    <a:pt x="490" y="136"/>
                  </a:lnTo>
                  <a:lnTo>
                    <a:pt x="488" y="134"/>
                  </a:lnTo>
                  <a:lnTo>
                    <a:pt x="486" y="132"/>
                  </a:lnTo>
                  <a:lnTo>
                    <a:pt x="486" y="132"/>
                  </a:lnTo>
                  <a:close/>
                  <a:moveTo>
                    <a:pt x="544" y="146"/>
                  </a:moveTo>
                  <a:lnTo>
                    <a:pt x="544" y="146"/>
                  </a:lnTo>
                  <a:lnTo>
                    <a:pt x="546" y="146"/>
                  </a:lnTo>
                  <a:lnTo>
                    <a:pt x="546" y="144"/>
                  </a:lnTo>
                  <a:lnTo>
                    <a:pt x="546" y="144"/>
                  </a:lnTo>
                  <a:lnTo>
                    <a:pt x="548" y="142"/>
                  </a:lnTo>
                  <a:lnTo>
                    <a:pt x="546" y="142"/>
                  </a:lnTo>
                  <a:lnTo>
                    <a:pt x="536" y="132"/>
                  </a:lnTo>
                  <a:lnTo>
                    <a:pt x="528" y="122"/>
                  </a:lnTo>
                  <a:lnTo>
                    <a:pt x="528" y="122"/>
                  </a:lnTo>
                  <a:lnTo>
                    <a:pt x="524" y="122"/>
                  </a:lnTo>
                  <a:lnTo>
                    <a:pt x="504" y="122"/>
                  </a:lnTo>
                  <a:lnTo>
                    <a:pt x="504" y="122"/>
                  </a:lnTo>
                  <a:lnTo>
                    <a:pt x="500" y="122"/>
                  </a:lnTo>
                  <a:lnTo>
                    <a:pt x="492" y="132"/>
                  </a:lnTo>
                  <a:lnTo>
                    <a:pt x="494" y="134"/>
                  </a:lnTo>
                  <a:lnTo>
                    <a:pt x="494" y="138"/>
                  </a:lnTo>
                  <a:lnTo>
                    <a:pt x="544" y="146"/>
                  </a:ln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68" name="Freeform 367"/>
            <p:cNvSpPr/>
            <p:nvPr/>
          </p:nvSpPr>
          <p:spPr>
            <a:xfrm>
              <a:off x="4246396" y="2348630"/>
              <a:ext cx="31604" cy="50478"/>
            </a:xfrm>
            <a:custGeom>
              <a:avLst/>
              <a:gdLst>
                <a:gd name="connsiteX0" fmla="*/ 0 w 45244"/>
                <a:gd name="connsiteY0" fmla="*/ 23812 h 23812"/>
                <a:gd name="connsiteX1" fmla="*/ 45244 w 45244"/>
                <a:gd name="connsiteY1" fmla="*/ 0 h 23812"/>
                <a:gd name="connsiteX2" fmla="*/ 0 w 45244"/>
                <a:gd name="connsiteY2" fmla="*/ 23812 h 23812"/>
                <a:gd name="connsiteX0" fmla="*/ 0 w 23813"/>
                <a:gd name="connsiteY0" fmla="*/ 0 h 33338"/>
                <a:gd name="connsiteX1" fmla="*/ 23813 w 23813"/>
                <a:gd name="connsiteY1" fmla="*/ 33338 h 33338"/>
                <a:gd name="connsiteX2" fmla="*/ 0 w 23813"/>
                <a:gd name="connsiteY2" fmla="*/ 0 h 33338"/>
                <a:gd name="connsiteX0" fmla="*/ 0 w 35942"/>
                <a:gd name="connsiteY0" fmla="*/ 1209 h 55714"/>
                <a:gd name="connsiteX1" fmla="*/ 23813 w 35942"/>
                <a:gd name="connsiteY1" fmla="*/ 34547 h 55714"/>
                <a:gd name="connsiteX2" fmla="*/ 0 w 35942"/>
                <a:gd name="connsiteY2" fmla="*/ 1209 h 55714"/>
                <a:gd name="connsiteX0" fmla="*/ 262 w 24331"/>
                <a:gd name="connsiteY0" fmla="*/ 11 h 35874"/>
                <a:gd name="connsiteX1" fmla="*/ 24075 w 24331"/>
                <a:gd name="connsiteY1" fmla="*/ 33349 h 35874"/>
                <a:gd name="connsiteX2" fmla="*/ 12116 w 24331"/>
                <a:gd name="connsiteY2" fmla="*/ 29784 h 35874"/>
                <a:gd name="connsiteX3" fmla="*/ 262 w 24331"/>
                <a:gd name="connsiteY3" fmla="*/ 11 h 35874"/>
                <a:gd name="connsiteX0" fmla="*/ 639 w 34065"/>
                <a:gd name="connsiteY0" fmla="*/ 1389 h 36767"/>
                <a:gd name="connsiteX1" fmla="*/ 33087 w 34065"/>
                <a:gd name="connsiteY1" fmla="*/ 7946 h 36767"/>
                <a:gd name="connsiteX2" fmla="*/ 24452 w 34065"/>
                <a:gd name="connsiteY2" fmla="*/ 34727 h 36767"/>
                <a:gd name="connsiteX3" fmla="*/ 12493 w 34065"/>
                <a:gd name="connsiteY3" fmla="*/ 31162 h 36767"/>
                <a:gd name="connsiteX4" fmla="*/ 639 w 34065"/>
                <a:gd name="connsiteY4" fmla="*/ 1389 h 36767"/>
                <a:gd name="connsiteX0" fmla="*/ 639 w 35387"/>
                <a:gd name="connsiteY0" fmla="*/ 1389 h 44263"/>
                <a:gd name="connsiteX1" fmla="*/ 33087 w 35387"/>
                <a:gd name="connsiteY1" fmla="*/ 7946 h 44263"/>
                <a:gd name="connsiteX2" fmla="*/ 31940 w 35387"/>
                <a:gd name="connsiteY2" fmla="*/ 43432 h 44263"/>
                <a:gd name="connsiteX3" fmla="*/ 12493 w 35387"/>
                <a:gd name="connsiteY3" fmla="*/ 31162 h 44263"/>
                <a:gd name="connsiteX4" fmla="*/ 639 w 35387"/>
                <a:gd name="connsiteY4" fmla="*/ 1389 h 44263"/>
                <a:gd name="connsiteX0" fmla="*/ 639 w 35118"/>
                <a:gd name="connsiteY0" fmla="*/ 1389 h 60290"/>
                <a:gd name="connsiteX1" fmla="*/ 33087 w 35118"/>
                <a:gd name="connsiteY1" fmla="*/ 7946 h 60290"/>
                <a:gd name="connsiteX2" fmla="*/ 31940 w 35118"/>
                <a:gd name="connsiteY2" fmla="*/ 43432 h 60290"/>
                <a:gd name="connsiteX3" fmla="*/ 18293 w 35118"/>
                <a:gd name="connsiteY3" fmla="*/ 60021 h 60290"/>
                <a:gd name="connsiteX4" fmla="*/ 12493 w 35118"/>
                <a:gd name="connsiteY4" fmla="*/ 31162 h 60290"/>
                <a:gd name="connsiteX5" fmla="*/ 639 w 35118"/>
                <a:gd name="connsiteY5" fmla="*/ 1389 h 60290"/>
                <a:gd name="connsiteX0" fmla="*/ 6372 w 24002"/>
                <a:gd name="connsiteY0" fmla="*/ 12252 h 53744"/>
                <a:gd name="connsiteX1" fmla="*/ 21971 w 24002"/>
                <a:gd name="connsiteY1" fmla="*/ 1398 h 53744"/>
                <a:gd name="connsiteX2" fmla="*/ 20824 w 24002"/>
                <a:gd name="connsiteY2" fmla="*/ 36884 h 53744"/>
                <a:gd name="connsiteX3" fmla="*/ 7177 w 24002"/>
                <a:gd name="connsiteY3" fmla="*/ 53473 h 53744"/>
                <a:gd name="connsiteX4" fmla="*/ 1377 w 24002"/>
                <a:gd name="connsiteY4" fmla="*/ 24614 h 53744"/>
                <a:gd name="connsiteX5" fmla="*/ 6372 w 24002"/>
                <a:gd name="connsiteY5" fmla="*/ 12252 h 53744"/>
                <a:gd name="connsiteX0" fmla="*/ 4848 w 24350"/>
                <a:gd name="connsiteY0" fmla="*/ 1388 h 60289"/>
                <a:gd name="connsiteX1" fmla="*/ 22319 w 24350"/>
                <a:gd name="connsiteY1" fmla="*/ 7944 h 60289"/>
                <a:gd name="connsiteX2" fmla="*/ 21172 w 24350"/>
                <a:gd name="connsiteY2" fmla="*/ 43430 h 60289"/>
                <a:gd name="connsiteX3" fmla="*/ 7525 w 24350"/>
                <a:gd name="connsiteY3" fmla="*/ 60019 h 60289"/>
                <a:gd name="connsiteX4" fmla="*/ 1725 w 24350"/>
                <a:gd name="connsiteY4" fmla="*/ 31160 h 60289"/>
                <a:gd name="connsiteX5" fmla="*/ 4848 w 24350"/>
                <a:gd name="connsiteY5" fmla="*/ 1388 h 602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4350" h="60289">
                  <a:moveTo>
                    <a:pt x="4848" y="1388"/>
                  </a:moveTo>
                  <a:cubicBezTo>
                    <a:pt x="8280" y="-2481"/>
                    <a:pt x="18350" y="2388"/>
                    <a:pt x="22319" y="7944"/>
                  </a:cubicBezTo>
                  <a:cubicBezTo>
                    <a:pt x="26288" y="13500"/>
                    <a:pt x="23638" y="34751"/>
                    <a:pt x="21172" y="43430"/>
                  </a:cubicBezTo>
                  <a:cubicBezTo>
                    <a:pt x="18706" y="52109"/>
                    <a:pt x="10766" y="62064"/>
                    <a:pt x="7525" y="60019"/>
                  </a:cubicBezTo>
                  <a:cubicBezTo>
                    <a:pt x="4284" y="57974"/>
                    <a:pt x="4667" y="38030"/>
                    <a:pt x="1725" y="31160"/>
                  </a:cubicBezTo>
                  <a:cubicBezTo>
                    <a:pt x="-2244" y="25604"/>
                    <a:pt x="1416" y="5257"/>
                    <a:pt x="4848" y="1388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kern="0">
                <a:solidFill>
                  <a:srgbClr val="000000"/>
                </a:solidFill>
                <a:ea typeface="ＭＳ Ｐゴシック"/>
                <a:cs typeface="+mn-cs"/>
              </a:endParaRPr>
            </a:p>
          </p:txBody>
        </p:sp>
        <p:sp>
          <p:nvSpPr>
            <p:cNvPr id="369" name="Freeform 244"/>
            <p:cNvSpPr>
              <a:spLocks/>
            </p:cNvSpPr>
            <p:nvPr>
              <p:custDataLst>
                <p:tags r:id="rId169"/>
              </p:custDataLst>
            </p:nvPr>
          </p:nvSpPr>
          <p:spPr bwMode="gray">
            <a:xfrm>
              <a:off x="4205107" y="2425290"/>
              <a:ext cx="252695" cy="465523"/>
            </a:xfrm>
            <a:custGeom>
              <a:avLst/>
              <a:gdLst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52388 w 247650"/>
                <a:gd name="connsiteY61" fmla="*/ 37322 h 526236"/>
                <a:gd name="connsiteX62" fmla="*/ 36513 w 247650"/>
                <a:gd name="connsiteY62" fmla="*/ 23326 h 526236"/>
                <a:gd name="connsiteX63" fmla="*/ 46038 w 247650"/>
                <a:gd name="connsiteY63" fmla="*/ 0 h 526236"/>
                <a:gd name="connsiteX0" fmla="*/ 23812 w 247650"/>
                <a:gd name="connsiteY0" fmla="*/ 317472 h 526236"/>
                <a:gd name="connsiteX1" fmla="*/ 60325 w 247650"/>
                <a:gd name="connsiteY1" fmla="*/ 336156 h 526236"/>
                <a:gd name="connsiteX2" fmla="*/ 66675 w 247650"/>
                <a:gd name="connsiteY2" fmla="*/ 350169 h 526236"/>
                <a:gd name="connsiteX3" fmla="*/ 77787 w 247650"/>
                <a:gd name="connsiteY3" fmla="*/ 384422 h 526236"/>
                <a:gd name="connsiteX4" fmla="*/ 52387 w 247650"/>
                <a:gd name="connsiteY4" fmla="*/ 395321 h 526236"/>
                <a:gd name="connsiteX5" fmla="*/ 20637 w 247650"/>
                <a:gd name="connsiteY5" fmla="*/ 389093 h 526236"/>
                <a:gd name="connsiteX6" fmla="*/ 0 w 247650"/>
                <a:gd name="connsiteY6" fmla="*/ 370409 h 526236"/>
                <a:gd name="connsiteX7" fmla="*/ 4762 w 247650"/>
                <a:gd name="connsiteY7" fmla="*/ 351726 h 526236"/>
                <a:gd name="connsiteX8" fmla="*/ 23812 w 247650"/>
                <a:gd name="connsiteY8" fmla="*/ 317472 h 526236"/>
                <a:gd name="connsiteX9" fmla="*/ 147637 w 247650"/>
                <a:gd name="connsiteY9" fmla="*/ 143069 h 526236"/>
                <a:gd name="connsiteX10" fmla="*/ 150812 w 247650"/>
                <a:gd name="connsiteY10" fmla="*/ 181947 h 526236"/>
                <a:gd name="connsiteX11" fmla="*/ 122237 w 247650"/>
                <a:gd name="connsiteY11" fmla="*/ 219269 h 526236"/>
                <a:gd name="connsiteX12" fmla="*/ 174625 w 247650"/>
                <a:gd name="connsiteY12" fmla="*/ 228600 h 526236"/>
                <a:gd name="connsiteX13" fmla="*/ 152400 w 247650"/>
                <a:gd name="connsiteY13" fmla="*/ 275253 h 526236"/>
                <a:gd name="connsiteX14" fmla="*/ 161925 w 247650"/>
                <a:gd name="connsiteY14" fmla="*/ 298580 h 526236"/>
                <a:gd name="connsiteX15" fmla="*/ 174625 w 247650"/>
                <a:gd name="connsiteY15" fmla="*/ 320351 h 526236"/>
                <a:gd name="connsiteX16" fmla="*/ 185738 w 247650"/>
                <a:gd name="connsiteY16" fmla="*/ 345233 h 526236"/>
                <a:gd name="connsiteX17" fmla="*/ 214313 w 247650"/>
                <a:gd name="connsiteY17" fmla="*/ 377890 h 526236"/>
                <a:gd name="connsiteX18" fmla="*/ 223838 w 247650"/>
                <a:gd name="connsiteY18" fmla="*/ 405882 h 526236"/>
                <a:gd name="connsiteX19" fmla="*/ 247650 w 247650"/>
                <a:gd name="connsiteY19" fmla="*/ 450980 h 526236"/>
                <a:gd name="connsiteX20" fmla="*/ 219075 w 247650"/>
                <a:gd name="connsiteY20" fmla="*/ 469641 h 526236"/>
                <a:gd name="connsiteX21" fmla="*/ 236538 w 247650"/>
                <a:gd name="connsiteY21" fmla="*/ 492968 h 526236"/>
                <a:gd name="connsiteX22" fmla="*/ 204788 w 247650"/>
                <a:gd name="connsiteY22" fmla="*/ 499188 h 526236"/>
                <a:gd name="connsiteX23" fmla="*/ 150812 w 247650"/>
                <a:gd name="connsiteY23" fmla="*/ 502298 h 526236"/>
                <a:gd name="connsiteX24" fmla="*/ 127000 w 247650"/>
                <a:gd name="connsiteY24" fmla="*/ 513184 h 526236"/>
                <a:gd name="connsiteX25" fmla="*/ 98425 w 247650"/>
                <a:gd name="connsiteY25" fmla="*/ 520959 h 526236"/>
                <a:gd name="connsiteX26" fmla="*/ 76200 w 247650"/>
                <a:gd name="connsiteY26" fmla="*/ 522515 h 526236"/>
                <a:gd name="connsiteX27" fmla="*/ 61912 w 247650"/>
                <a:gd name="connsiteY27" fmla="*/ 520959 h 526236"/>
                <a:gd name="connsiteX28" fmla="*/ 69850 w 247650"/>
                <a:gd name="connsiteY28" fmla="*/ 517849 h 526236"/>
                <a:gd name="connsiteX29" fmla="*/ 98425 w 247650"/>
                <a:gd name="connsiteY29" fmla="*/ 494523 h 526236"/>
                <a:gd name="connsiteX30" fmla="*/ 112712 w 247650"/>
                <a:gd name="connsiteY30" fmla="*/ 466531 h 526236"/>
                <a:gd name="connsiteX31" fmla="*/ 93662 w 247650"/>
                <a:gd name="connsiteY31" fmla="*/ 446314 h 526236"/>
                <a:gd name="connsiteX32" fmla="*/ 107950 w 247650"/>
                <a:gd name="connsiteY32" fmla="*/ 413657 h 526236"/>
                <a:gd name="connsiteX33" fmla="*/ 104824 w 247650"/>
                <a:gd name="connsiteY33" fmla="*/ 405857 h 526236"/>
                <a:gd name="connsiteX34" fmla="*/ 136525 w 247650"/>
                <a:gd name="connsiteY34" fmla="*/ 404327 h 526236"/>
                <a:gd name="connsiteX35" fmla="*/ 138112 w 247650"/>
                <a:gd name="connsiteY35" fmla="*/ 371669 h 526236"/>
                <a:gd name="connsiteX36" fmla="*/ 127000 w 247650"/>
                <a:gd name="connsiteY36" fmla="*/ 348343 h 526236"/>
                <a:gd name="connsiteX37" fmla="*/ 128587 w 247650"/>
                <a:gd name="connsiteY37" fmla="*/ 335902 h 526236"/>
                <a:gd name="connsiteX38" fmla="*/ 90487 w 247650"/>
                <a:gd name="connsiteY38" fmla="*/ 329682 h 526236"/>
                <a:gd name="connsiteX39" fmla="*/ 60325 w 247650"/>
                <a:gd name="connsiteY39" fmla="*/ 284584 h 526236"/>
                <a:gd name="connsiteX40" fmla="*/ 61912 w 247650"/>
                <a:gd name="connsiteY40" fmla="*/ 259702 h 526236"/>
                <a:gd name="connsiteX41" fmla="*/ 36512 w 247650"/>
                <a:gd name="connsiteY41" fmla="*/ 241041 h 526236"/>
                <a:gd name="connsiteX42" fmla="*/ 38100 w 247650"/>
                <a:gd name="connsiteY42" fmla="*/ 200608 h 526236"/>
                <a:gd name="connsiteX43" fmla="*/ 61912 w 247650"/>
                <a:gd name="connsiteY43" fmla="*/ 186612 h 526236"/>
                <a:gd name="connsiteX44" fmla="*/ 74191 w 247650"/>
                <a:gd name="connsiteY44" fmla="*/ 210230 h 526236"/>
                <a:gd name="connsiteX45" fmla="*/ 76200 w 247650"/>
                <a:gd name="connsiteY45" fmla="*/ 203718 h 526236"/>
                <a:gd name="connsiteX46" fmla="*/ 104775 w 247650"/>
                <a:gd name="connsiteY46" fmla="*/ 180392 h 526236"/>
                <a:gd name="connsiteX47" fmla="*/ 128587 w 247650"/>
                <a:gd name="connsiteY47" fmla="*/ 161730 h 526236"/>
                <a:gd name="connsiteX48" fmla="*/ 147637 w 247650"/>
                <a:gd name="connsiteY48" fmla="*/ 143069 h 526236"/>
                <a:gd name="connsiteX49" fmla="*/ 195263 w 247650"/>
                <a:gd name="connsiteY49" fmla="*/ 69980 h 526236"/>
                <a:gd name="connsiteX50" fmla="*/ 204788 w 247650"/>
                <a:gd name="connsiteY50" fmla="*/ 88641 h 526236"/>
                <a:gd name="connsiteX51" fmla="*/ 193676 w 247650"/>
                <a:gd name="connsiteY51" fmla="*/ 119743 h 526236"/>
                <a:gd name="connsiteX52" fmla="*/ 179388 w 247650"/>
                <a:gd name="connsiteY52" fmla="*/ 139960 h 526236"/>
                <a:gd name="connsiteX53" fmla="*/ 174625 w 247650"/>
                <a:gd name="connsiteY53" fmla="*/ 147735 h 526236"/>
                <a:gd name="connsiteX54" fmla="*/ 176213 w 247650"/>
                <a:gd name="connsiteY54" fmla="*/ 138404 h 526236"/>
                <a:gd name="connsiteX55" fmla="*/ 179388 w 247650"/>
                <a:gd name="connsiteY55" fmla="*/ 111968 h 526236"/>
                <a:gd name="connsiteX56" fmla="*/ 176213 w 247650"/>
                <a:gd name="connsiteY56" fmla="*/ 83976 h 526236"/>
                <a:gd name="connsiteX57" fmla="*/ 195263 w 247650"/>
                <a:gd name="connsiteY57" fmla="*/ 69980 h 526236"/>
                <a:gd name="connsiteX58" fmla="*/ 46038 w 247650"/>
                <a:gd name="connsiteY58" fmla="*/ 0 h 526236"/>
                <a:gd name="connsiteX59" fmla="*/ 50800 w 247650"/>
                <a:gd name="connsiteY59" fmla="*/ 51318 h 526236"/>
                <a:gd name="connsiteX60" fmla="*/ 44798 w 247650"/>
                <a:gd name="connsiteY60" fmla="*/ 49350 h 526236"/>
                <a:gd name="connsiteX61" fmla="*/ 36513 w 247650"/>
                <a:gd name="connsiteY61" fmla="*/ 23326 h 526236"/>
                <a:gd name="connsiteX62" fmla="*/ 46038 w 247650"/>
                <a:gd name="connsiteY62" fmla="*/ 0 h 526236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44798 w 247650"/>
                <a:gd name="connsiteY60" fmla="*/ 26024 h 502910"/>
                <a:gd name="connsiteX61" fmla="*/ 36513 w 247650"/>
                <a:gd name="connsiteY61" fmla="*/ 0 h 502910"/>
                <a:gd name="connsiteX0" fmla="*/ 23812 w 247650"/>
                <a:gd name="connsiteY0" fmla="*/ 294146 h 502910"/>
                <a:gd name="connsiteX1" fmla="*/ 60325 w 247650"/>
                <a:gd name="connsiteY1" fmla="*/ 312830 h 502910"/>
                <a:gd name="connsiteX2" fmla="*/ 66675 w 247650"/>
                <a:gd name="connsiteY2" fmla="*/ 326843 h 502910"/>
                <a:gd name="connsiteX3" fmla="*/ 77787 w 247650"/>
                <a:gd name="connsiteY3" fmla="*/ 361096 h 502910"/>
                <a:gd name="connsiteX4" fmla="*/ 52387 w 247650"/>
                <a:gd name="connsiteY4" fmla="*/ 371995 h 502910"/>
                <a:gd name="connsiteX5" fmla="*/ 20637 w 247650"/>
                <a:gd name="connsiteY5" fmla="*/ 365767 h 502910"/>
                <a:gd name="connsiteX6" fmla="*/ 0 w 247650"/>
                <a:gd name="connsiteY6" fmla="*/ 347083 h 502910"/>
                <a:gd name="connsiteX7" fmla="*/ 4762 w 247650"/>
                <a:gd name="connsiteY7" fmla="*/ 328400 h 502910"/>
                <a:gd name="connsiteX8" fmla="*/ 23812 w 247650"/>
                <a:gd name="connsiteY8" fmla="*/ 294146 h 502910"/>
                <a:gd name="connsiteX9" fmla="*/ 147637 w 247650"/>
                <a:gd name="connsiteY9" fmla="*/ 119743 h 502910"/>
                <a:gd name="connsiteX10" fmla="*/ 150812 w 247650"/>
                <a:gd name="connsiteY10" fmla="*/ 158621 h 502910"/>
                <a:gd name="connsiteX11" fmla="*/ 122237 w 247650"/>
                <a:gd name="connsiteY11" fmla="*/ 195943 h 502910"/>
                <a:gd name="connsiteX12" fmla="*/ 174625 w 247650"/>
                <a:gd name="connsiteY12" fmla="*/ 205274 h 502910"/>
                <a:gd name="connsiteX13" fmla="*/ 152400 w 247650"/>
                <a:gd name="connsiteY13" fmla="*/ 251927 h 502910"/>
                <a:gd name="connsiteX14" fmla="*/ 161925 w 247650"/>
                <a:gd name="connsiteY14" fmla="*/ 275254 h 502910"/>
                <a:gd name="connsiteX15" fmla="*/ 174625 w 247650"/>
                <a:gd name="connsiteY15" fmla="*/ 297025 h 502910"/>
                <a:gd name="connsiteX16" fmla="*/ 185738 w 247650"/>
                <a:gd name="connsiteY16" fmla="*/ 321907 h 502910"/>
                <a:gd name="connsiteX17" fmla="*/ 214313 w 247650"/>
                <a:gd name="connsiteY17" fmla="*/ 354564 h 502910"/>
                <a:gd name="connsiteX18" fmla="*/ 223838 w 247650"/>
                <a:gd name="connsiteY18" fmla="*/ 382556 h 502910"/>
                <a:gd name="connsiteX19" fmla="*/ 247650 w 247650"/>
                <a:gd name="connsiteY19" fmla="*/ 427654 h 502910"/>
                <a:gd name="connsiteX20" fmla="*/ 219075 w 247650"/>
                <a:gd name="connsiteY20" fmla="*/ 446315 h 502910"/>
                <a:gd name="connsiteX21" fmla="*/ 236538 w 247650"/>
                <a:gd name="connsiteY21" fmla="*/ 469642 h 502910"/>
                <a:gd name="connsiteX22" fmla="*/ 204788 w 247650"/>
                <a:gd name="connsiteY22" fmla="*/ 475862 h 502910"/>
                <a:gd name="connsiteX23" fmla="*/ 150812 w 247650"/>
                <a:gd name="connsiteY23" fmla="*/ 478972 h 502910"/>
                <a:gd name="connsiteX24" fmla="*/ 127000 w 247650"/>
                <a:gd name="connsiteY24" fmla="*/ 489858 h 502910"/>
                <a:gd name="connsiteX25" fmla="*/ 98425 w 247650"/>
                <a:gd name="connsiteY25" fmla="*/ 497633 h 502910"/>
                <a:gd name="connsiteX26" fmla="*/ 76200 w 247650"/>
                <a:gd name="connsiteY26" fmla="*/ 499189 h 502910"/>
                <a:gd name="connsiteX27" fmla="*/ 61912 w 247650"/>
                <a:gd name="connsiteY27" fmla="*/ 497633 h 502910"/>
                <a:gd name="connsiteX28" fmla="*/ 69850 w 247650"/>
                <a:gd name="connsiteY28" fmla="*/ 494523 h 502910"/>
                <a:gd name="connsiteX29" fmla="*/ 98425 w 247650"/>
                <a:gd name="connsiteY29" fmla="*/ 471197 h 502910"/>
                <a:gd name="connsiteX30" fmla="*/ 112712 w 247650"/>
                <a:gd name="connsiteY30" fmla="*/ 443205 h 502910"/>
                <a:gd name="connsiteX31" fmla="*/ 93662 w 247650"/>
                <a:gd name="connsiteY31" fmla="*/ 422988 h 502910"/>
                <a:gd name="connsiteX32" fmla="*/ 107950 w 247650"/>
                <a:gd name="connsiteY32" fmla="*/ 390331 h 502910"/>
                <a:gd name="connsiteX33" fmla="*/ 104824 w 247650"/>
                <a:gd name="connsiteY33" fmla="*/ 382531 h 502910"/>
                <a:gd name="connsiteX34" fmla="*/ 136525 w 247650"/>
                <a:gd name="connsiteY34" fmla="*/ 381001 h 502910"/>
                <a:gd name="connsiteX35" fmla="*/ 138112 w 247650"/>
                <a:gd name="connsiteY35" fmla="*/ 348343 h 502910"/>
                <a:gd name="connsiteX36" fmla="*/ 127000 w 247650"/>
                <a:gd name="connsiteY36" fmla="*/ 325017 h 502910"/>
                <a:gd name="connsiteX37" fmla="*/ 128587 w 247650"/>
                <a:gd name="connsiteY37" fmla="*/ 312576 h 502910"/>
                <a:gd name="connsiteX38" fmla="*/ 90487 w 247650"/>
                <a:gd name="connsiteY38" fmla="*/ 306356 h 502910"/>
                <a:gd name="connsiteX39" fmla="*/ 60325 w 247650"/>
                <a:gd name="connsiteY39" fmla="*/ 261258 h 502910"/>
                <a:gd name="connsiteX40" fmla="*/ 61912 w 247650"/>
                <a:gd name="connsiteY40" fmla="*/ 236376 h 502910"/>
                <a:gd name="connsiteX41" fmla="*/ 36512 w 247650"/>
                <a:gd name="connsiteY41" fmla="*/ 217715 h 502910"/>
                <a:gd name="connsiteX42" fmla="*/ 38100 w 247650"/>
                <a:gd name="connsiteY42" fmla="*/ 177282 h 502910"/>
                <a:gd name="connsiteX43" fmla="*/ 61912 w 247650"/>
                <a:gd name="connsiteY43" fmla="*/ 163286 h 502910"/>
                <a:gd name="connsiteX44" fmla="*/ 74191 w 247650"/>
                <a:gd name="connsiteY44" fmla="*/ 186904 h 502910"/>
                <a:gd name="connsiteX45" fmla="*/ 76200 w 247650"/>
                <a:gd name="connsiteY45" fmla="*/ 180392 h 502910"/>
                <a:gd name="connsiteX46" fmla="*/ 104775 w 247650"/>
                <a:gd name="connsiteY46" fmla="*/ 157066 h 502910"/>
                <a:gd name="connsiteX47" fmla="*/ 128587 w 247650"/>
                <a:gd name="connsiteY47" fmla="*/ 138404 h 502910"/>
                <a:gd name="connsiteX48" fmla="*/ 147637 w 247650"/>
                <a:gd name="connsiteY48" fmla="*/ 119743 h 502910"/>
                <a:gd name="connsiteX49" fmla="*/ 195263 w 247650"/>
                <a:gd name="connsiteY49" fmla="*/ 46654 h 502910"/>
                <a:gd name="connsiteX50" fmla="*/ 204788 w 247650"/>
                <a:gd name="connsiteY50" fmla="*/ 65315 h 502910"/>
                <a:gd name="connsiteX51" fmla="*/ 193676 w 247650"/>
                <a:gd name="connsiteY51" fmla="*/ 96417 h 502910"/>
                <a:gd name="connsiteX52" fmla="*/ 179388 w 247650"/>
                <a:gd name="connsiteY52" fmla="*/ 116634 h 502910"/>
                <a:gd name="connsiteX53" fmla="*/ 174625 w 247650"/>
                <a:gd name="connsiteY53" fmla="*/ 124409 h 502910"/>
                <a:gd name="connsiteX54" fmla="*/ 176213 w 247650"/>
                <a:gd name="connsiteY54" fmla="*/ 115078 h 502910"/>
                <a:gd name="connsiteX55" fmla="*/ 179388 w 247650"/>
                <a:gd name="connsiteY55" fmla="*/ 88642 h 502910"/>
                <a:gd name="connsiteX56" fmla="*/ 176213 w 247650"/>
                <a:gd name="connsiteY56" fmla="*/ 60650 h 502910"/>
                <a:gd name="connsiteX57" fmla="*/ 195263 w 247650"/>
                <a:gd name="connsiteY57" fmla="*/ 46654 h 502910"/>
                <a:gd name="connsiteX58" fmla="*/ 36513 w 247650"/>
                <a:gd name="connsiteY58" fmla="*/ 0 h 502910"/>
                <a:gd name="connsiteX59" fmla="*/ 50800 w 247650"/>
                <a:gd name="connsiteY59" fmla="*/ 27992 h 502910"/>
                <a:gd name="connsiteX60" fmla="*/ 36513 w 247650"/>
                <a:gd name="connsiteY60" fmla="*/ 0 h 502910"/>
                <a:gd name="connsiteX0" fmla="*/ 23812 w 247650"/>
                <a:gd name="connsiteY0" fmla="*/ 247492 h 456256"/>
                <a:gd name="connsiteX1" fmla="*/ 60325 w 247650"/>
                <a:gd name="connsiteY1" fmla="*/ 266176 h 456256"/>
                <a:gd name="connsiteX2" fmla="*/ 66675 w 247650"/>
                <a:gd name="connsiteY2" fmla="*/ 280189 h 456256"/>
                <a:gd name="connsiteX3" fmla="*/ 77787 w 247650"/>
                <a:gd name="connsiteY3" fmla="*/ 314442 h 456256"/>
                <a:gd name="connsiteX4" fmla="*/ 52387 w 247650"/>
                <a:gd name="connsiteY4" fmla="*/ 325341 h 456256"/>
                <a:gd name="connsiteX5" fmla="*/ 20637 w 247650"/>
                <a:gd name="connsiteY5" fmla="*/ 319113 h 456256"/>
                <a:gd name="connsiteX6" fmla="*/ 0 w 247650"/>
                <a:gd name="connsiteY6" fmla="*/ 300429 h 456256"/>
                <a:gd name="connsiteX7" fmla="*/ 4762 w 247650"/>
                <a:gd name="connsiteY7" fmla="*/ 281746 h 456256"/>
                <a:gd name="connsiteX8" fmla="*/ 23812 w 247650"/>
                <a:gd name="connsiteY8" fmla="*/ 247492 h 456256"/>
                <a:gd name="connsiteX9" fmla="*/ 147637 w 247650"/>
                <a:gd name="connsiteY9" fmla="*/ 73089 h 456256"/>
                <a:gd name="connsiteX10" fmla="*/ 150812 w 247650"/>
                <a:gd name="connsiteY10" fmla="*/ 111967 h 456256"/>
                <a:gd name="connsiteX11" fmla="*/ 122237 w 247650"/>
                <a:gd name="connsiteY11" fmla="*/ 149289 h 456256"/>
                <a:gd name="connsiteX12" fmla="*/ 174625 w 247650"/>
                <a:gd name="connsiteY12" fmla="*/ 158620 h 456256"/>
                <a:gd name="connsiteX13" fmla="*/ 152400 w 247650"/>
                <a:gd name="connsiteY13" fmla="*/ 205273 h 456256"/>
                <a:gd name="connsiteX14" fmla="*/ 161925 w 247650"/>
                <a:gd name="connsiteY14" fmla="*/ 228600 h 456256"/>
                <a:gd name="connsiteX15" fmla="*/ 174625 w 247650"/>
                <a:gd name="connsiteY15" fmla="*/ 250371 h 456256"/>
                <a:gd name="connsiteX16" fmla="*/ 185738 w 247650"/>
                <a:gd name="connsiteY16" fmla="*/ 275253 h 456256"/>
                <a:gd name="connsiteX17" fmla="*/ 214313 w 247650"/>
                <a:gd name="connsiteY17" fmla="*/ 307910 h 456256"/>
                <a:gd name="connsiteX18" fmla="*/ 223838 w 247650"/>
                <a:gd name="connsiteY18" fmla="*/ 335902 h 456256"/>
                <a:gd name="connsiteX19" fmla="*/ 247650 w 247650"/>
                <a:gd name="connsiteY19" fmla="*/ 381000 h 456256"/>
                <a:gd name="connsiteX20" fmla="*/ 219075 w 247650"/>
                <a:gd name="connsiteY20" fmla="*/ 399661 h 456256"/>
                <a:gd name="connsiteX21" fmla="*/ 236538 w 247650"/>
                <a:gd name="connsiteY21" fmla="*/ 422988 h 456256"/>
                <a:gd name="connsiteX22" fmla="*/ 204788 w 247650"/>
                <a:gd name="connsiteY22" fmla="*/ 429208 h 456256"/>
                <a:gd name="connsiteX23" fmla="*/ 150812 w 247650"/>
                <a:gd name="connsiteY23" fmla="*/ 432318 h 456256"/>
                <a:gd name="connsiteX24" fmla="*/ 127000 w 247650"/>
                <a:gd name="connsiteY24" fmla="*/ 443204 h 456256"/>
                <a:gd name="connsiteX25" fmla="*/ 98425 w 247650"/>
                <a:gd name="connsiteY25" fmla="*/ 450979 h 456256"/>
                <a:gd name="connsiteX26" fmla="*/ 76200 w 247650"/>
                <a:gd name="connsiteY26" fmla="*/ 452535 h 456256"/>
                <a:gd name="connsiteX27" fmla="*/ 61912 w 247650"/>
                <a:gd name="connsiteY27" fmla="*/ 450979 h 456256"/>
                <a:gd name="connsiteX28" fmla="*/ 69850 w 247650"/>
                <a:gd name="connsiteY28" fmla="*/ 447869 h 456256"/>
                <a:gd name="connsiteX29" fmla="*/ 98425 w 247650"/>
                <a:gd name="connsiteY29" fmla="*/ 424543 h 456256"/>
                <a:gd name="connsiteX30" fmla="*/ 112712 w 247650"/>
                <a:gd name="connsiteY30" fmla="*/ 396551 h 456256"/>
                <a:gd name="connsiteX31" fmla="*/ 93662 w 247650"/>
                <a:gd name="connsiteY31" fmla="*/ 376334 h 456256"/>
                <a:gd name="connsiteX32" fmla="*/ 107950 w 247650"/>
                <a:gd name="connsiteY32" fmla="*/ 343677 h 456256"/>
                <a:gd name="connsiteX33" fmla="*/ 104824 w 247650"/>
                <a:gd name="connsiteY33" fmla="*/ 335877 h 456256"/>
                <a:gd name="connsiteX34" fmla="*/ 136525 w 247650"/>
                <a:gd name="connsiteY34" fmla="*/ 334347 h 456256"/>
                <a:gd name="connsiteX35" fmla="*/ 138112 w 247650"/>
                <a:gd name="connsiteY35" fmla="*/ 301689 h 456256"/>
                <a:gd name="connsiteX36" fmla="*/ 127000 w 247650"/>
                <a:gd name="connsiteY36" fmla="*/ 278363 h 456256"/>
                <a:gd name="connsiteX37" fmla="*/ 128587 w 247650"/>
                <a:gd name="connsiteY37" fmla="*/ 265922 h 456256"/>
                <a:gd name="connsiteX38" fmla="*/ 90487 w 247650"/>
                <a:gd name="connsiteY38" fmla="*/ 259702 h 456256"/>
                <a:gd name="connsiteX39" fmla="*/ 60325 w 247650"/>
                <a:gd name="connsiteY39" fmla="*/ 214604 h 456256"/>
                <a:gd name="connsiteX40" fmla="*/ 61912 w 247650"/>
                <a:gd name="connsiteY40" fmla="*/ 189722 h 456256"/>
                <a:gd name="connsiteX41" fmla="*/ 36512 w 247650"/>
                <a:gd name="connsiteY41" fmla="*/ 171061 h 456256"/>
                <a:gd name="connsiteX42" fmla="*/ 38100 w 247650"/>
                <a:gd name="connsiteY42" fmla="*/ 130628 h 456256"/>
                <a:gd name="connsiteX43" fmla="*/ 61912 w 247650"/>
                <a:gd name="connsiteY43" fmla="*/ 116632 h 456256"/>
                <a:gd name="connsiteX44" fmla="*/ 74191 w 247650"/>
                <a:gd name="connsiteY44" fmla="*/ 140250 h 456256"/>
                <a:gd name="connsiteX45" fmla="*/ 76200 w 247650"/>
                <a:gd name="connsiteY45" fmla="*/ 133738 h 456256"/>
                <a:gd name="connsiteX46" fmla="*/ 104775 w 247650"/>
                <a:gd name="connsiteY46" fmla="*/ 110412 h 456256"/>
                <a:gd name="connsiteX47" fmla="*/ 128587 w 247650"/>
                <a:gd name="connsiteY47" fmla="*/ 91750 h 456256"/>
                <a:gd name="connsiteX48" fmla="*/ 147637 w 247650"/>
                <a:gd name="connsiteY48" fmla="*/ 73089 h 456256"/>
                <a:gd name="connsiteX49" fmla="*/ 195263 w 247650"/>
                <a:gd name="connsiteY49" fmla="*/ 0 h 456256"/>
                <a:gd name="connsiteX50" fmla="*/ 204788 w 247650"/>
                <a:gd name="connsiteY50" fmla="*/ 18661 h 456256"/>
                <a:gd name="connsiteX51" fmla="*/ 193676 w 247650"/>
                <a:gd name="connsiteY51" fmla="*/ 49763 h 456256"/>
                <a:gd name="connsiteX52" fmla="*/ 179388 w 247650"/>
                <a:gd name="connsiteY52" fmla="*/ 69980 h 456256"/>
                <a:gd name="connsiteX53" fmla="*/ 174625 w 247650"/>
                <a:gd name="connsiteY53" fmla="*/ 77755 h 456256"/>
                <a:gd name="connsiteX54" fmla="*/ 176213 w 247650"/>
                <a:gd name="connsiteY54" fmla="*/ 68424 h 456256"/>
                <a:gd name="connsiteX55" fmla="*/ 179388 w 247650"/>
                <a:gd name="connsiteY55" fmla="*/ 41988 h 456256"/>
                <a:gd name="connsiteX56" fmla="*/ 176213 w 247650"/>
                <a:gd name="connsiteY56" fmla="*/ 13996 h 456256"/>
                <a:gd name="connsiteX57" fmla="*/ 195263 w 247650"/>
                <a:gd name="connsiteY57" fmla="*/ 0 h 4562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</a:cxnLst>
              <a:rect l="l" t="t" r="r" b="b"/>
              <a:pathLst>
                <a:path w="247650" h="456256">
                  <a:moveTo>
                    <a:pt x="23812" y="247492"/>
                  </a:moveTo>
                  <a:cubicBezTo>
                    <a:pt x="33337" y="244378"/>
                    <a:pt x="53975" y="261505"/>
                    <a:pt x="60325" y="266176"/>
                  </a:cubicBezTo>
                  <a:cubicBezTo>
                    <a:pt x="66675" y="270847"/>
                    <a:pt x="61912" y="272404"/>
                    <a:pt x="66675" y="280189"/>
                  </a:cubicBezTo>
                  <a:cubicBezTo>
                    <a:pt x="69850" y="287974"/>
                    <a:pt x="79375" y="306657"/>
                    <a:pt x="77787" y="314442"/>
                  </a:cubicBezTo>
                  <a:lnTo>
                    <a:pt x="52387" y="325341"/>
                  </a:lnTo>
                  <a:lnTo>
                    <a:pt x="20637" y="319113"/>
                  </a:lnTo>
                  <a:lnTo>
                    <a:pt x="0" y="300429"/>
                  </a:lnTo>
                  <a:lnTo>
                    <a:pt x="4762" y="281746"/>
                  </a:lnTo>
                  <a:lnTo>
                    <a:pt x="23812" y="247492"/>
                  </a:lnTo>
                  <a:close/>
                  <a:moveTo>
                    <a:pt x="147637" y="73089"/>
                  </a:moveTo>
                  <a:cubicBezTo>
                    <a:pt x="161925" y="90195"/>
                    <a:pt x="155575" y="77754"/>
                    <a:pt x="150812" y="111967"/>
                  </a:cubicBezTo>
                  <a:cubicBezTo>
                    <a:pt x="133350" y="122852"/>
                    <a:pt x="133350" y="135293"/>
                    <a:pt x="122237" y="149289"/>
                  </a:cubicBezTo>
                  <a:cubicBezTo>
                    <a:pt x="139700" y="153955"/>
                    <a:pt x="158750" y="149289"/>
                    <a:pt x="174625" y="158620"/>
                  </a:cubicBezTo>
                  <a:cubicBezTo>
                    <a:pt x="169862" y="172616"/>
                    <a:pt x="160337" y="194387"/>
                    <a:pt x="152400" y="205273"/>
                  </a:cubicBezTo>
                  <a:cubicBezTo>
                    <a:pt x="157162" y="214604"/>
                    <a:pt x="160337" y="219269"/>
                    <a:pt x="161925" y="228600"/>
                  </a:cubicBezTo>
                  <a:cubicBezTo>
                    <a:pt x="165100" y="236375"/>
                    <a:pt x="169862" y="242595"/>
                    <a:pt x="174625" y="250371"/>
                  </a:cubicBezTo>
                  <a:cubicBezTo>
                    <a:pt x="187325" y="259702"/>
                    <a:pt x="177800" y="264367"/>
                    <a:pt x="185738" y="275253"/>
                  </a:cubicBezTo>
                  <a:cubicBezTo>
                    <a:pt x="203200" y="284583"/>
                    <a:pt x="211138" y="287693"/>
                    <a:pt x="214313" y="307910"/>
                  </a:cubicBezTo>
                  <a:cubicBezTo>
                    <a:pt x="219075" y="320351"/>
                    <a:pt x="222250" y="321906"/>
                    <a:pt x="223838" y="335902"/>
                  </a:cubicBezTo>
                  <a:cubicBezTo>
                    <a:pt x="228600" y="348343"/>
                    <a:pt x="247650" y="370114"/>
                    <a:pt x="247650" y="381000"/>
                  </a:cubicBezTo>
                  <a:cubicBezTo>
                    <a:pt x="247650" y="391885"/>
                    <a:pt x="219075" y="390330"/>
                    <a:pt x="219075" y="399661"/>
                  </a:cubicBezTo>
                  <a:cubicBezTo>
                    <a:pt x="207963" y="405881"/>
                    <a:pt x="242888" y="413657"/>
                    <a:pt x="236538" y="422988"/>
                  </a:cubicBezTo>
                  <a:cubicBezTo>
                    <a:pt x="222250" y="424543"/>
                    <a:pt x="217488" y="426098"/>
                    <a:pt x="204788" y="429208"/>
                  </a:cubicBezTo>
                  <a:cubicBezTo>
                    <a:pt x="187325" y="427653"/>
                    <a:pt x="168275" y="424543"/>
                    <a:pt x="150812" y="432318"/>
                  </a:cubicBezTo>
                  <a:cubicBezTo>
                    <a:pt x="138112" y="433873"/>
                    <a:pt x="134937" y="433873"/>
                    <a:pt x="127000" y="443204"/>
                  </a:cubicBezTo>
                  <a:cubicBezTo>
                    <a:pt x="117475" y="446314"/>
                    <a:pt x="107950" y="447869"/>
                    <a:pt x="98425" y="450979"/>
                  </a:cubicBezTo>
                  <a:cubicBezTo>
                    <a:pt x="90487" y="450979"/>
                    <a:pt x="84137" y="450979"/>
                    <a:pt x="76200" y="452535"/>
                  </a:cubicBezTo>
                  <a:cubicBezTo>
                    <a:pt x="74612" y="452535"/>
                    <a:pt x="61912" y="461865"/>
                    <a:pt x="61912" y="450979"/>
                  </a:cubicBezTo>
                  <a:cubicBezTo>
                    <a:pt x="61912" y="447869"/>
                    <a:pt x="66675" y="449424"/>
                    <a:pt x="69850" y="447869"/>
                  </a:cubicBezTo>
                  <a:cubicBezTo>
                    <a:pt x="90487" y="446314"/>
                    <a:pt x="93662" y="443204"/>
                    <a:pt x="98425" y="424543"/>
                  </a:cubicBezTo>
                  <a:cubicBezTo>
                    <a:pt x="107950" y="412102"/>
                    <a:pt x="109537" y="416767"/>
                    <a:pt x="112712" y="396551"/>
                  </a:cubicBezTo>
                  <a:cubicBezTo>
                    <a:pt x="96837" y="394996"/>
                    <a:pt x="84137" y="394996"/>
                    <a:pt x="93662" y="376334"/>
                  </a:cubicBezTo>
                  <a:cubicBezTo>
                    <a:pt x="115887" y="368559"/>
                    <a:pt x="111125" y="362338"/>
                    <a:pt x="107950" y="343677"/>
                  </a:cubicBezTo>
                  <a:lnTo>
                    <a:pt x="104824" y="335877"/>
                  </a:lnTo>
                  <a:cubicBezTo>
                    <a:pt x="105569" y="335804"/>
                    <a:pt x="117475" y="353008"/>
                    <a:pt x="136525" y="334347"/>
                  </a:cubicBezTo>
                  <a:cubicBezTo>
                    <a:pt x="144462" y="326571"/>
                    <a:pt x="138112" y="312575"/>
                    <a:pt x="138112" y="301689"/>
                  </a:cubicBezTo>
                  <a:cubicBezTo>
                    <a:pt x="136525" y="289249"/>
                    <a:pt x="128587" y="290804"/>
                    <a:pt x="127000" y="278363"/>
                  </a:cubicBezTo>
                  <a:cubicBezTo>
                    <a:pt x="125412" y="272142"/>
                    <a:pt x="134937" y="269032"/>
                    <a:pt x="128587" y="265922"/>
                  </a:cubicBezTo>
                  <a:cubicBezTo>
                    <a:pt x="122717" y="260789"/>
                    <a:pt x="81223" y="253219"/>
                    <a:pt x="90487" y="259702"/>
                  </a:cubicBezTo>
                  <a:cubicBezTo>
                    <a:pt x="109537" y="256591"/>
                    <a:pt x="58737" y="228600"/>
                    <a:pt x="60325" y="214604"/>
                  </a:cubicBezTo>
                  <a:cubicBezTo>
                    <a:pt x="46037" y="211493"/>
                    <a:pt x="57150" y="202163"/>
                    <a:pt x="61912" y="189722"/>
                  </a:cubicBezTo>
                  <a:cubicBezTo>
                    <a:pt x="53975" y="178836"/>
                    <a:pt x="38100" y="186612"/>
                    <a:pt x="36512" y="171061"/>
                  </a:cubicBezTo>
                  <a:cubicBezTo>
                    <a:pt x="38100" y="158620"/>
                    <a:pt x="34925" y="143069"/>
                    <a:pt x="38100" y="130628"/>
                  </a:cubicBezTo>
                  <a:cubicBezTo>
                    <a:pt x="49212" y="124408"/>
                    <a:pt x="49212" y="119742"/>
                    <a:pt x="61912" y="116632"/>
                  </a:cubicBezTo>
                  <a:cubicBezTo>
                    <a:pt x="70247" y="120131"/>
                    <a:pt x="72330" y="139376"/>
                    <a:pt x="74191" y="140250"/>
                  </a:cubicBezTo>
                  <a:lnTo>
                    <a:pt x="76200" y="133738"/>
                  </a:lnTo>
                  <a:cubicBezTo>
                    <a:pt x="90487" y="125963"/>
                    <a:pt x="84137" y="113522"/>
                    <a:pt x="104775" y="110412"/>
                  </a:cubicBezTo>
                  <a:cubicBezTo>
                    <a:pt x="125412" y="111967"/>
                    <a:pt x="127000" y="111967"/>
                    <a:pt x="128587" y="91750"/>
                  </a:cubicBezTo>
                  <a:cubicBezTo>
                    <a:pt x="133350" y="82420"/>
                    <a:pt x="139700" y="80865"/>
                    <a:pt x="147637" y="73089"/>
                  </a:cubicBezTo>
                  <a:close/>
                  <a:moveTo>
                    <a:pt x="195263" y="0"/>
                  </a:moveTo>
                  <a:cubicBezTo>
                    <a:pt x="195263" y="13996"/>
                    <a:pt x="201613" y="3110"/>
                    <a:pt x="204788" y="18661"/>
                  </a:cubicBezTo>
                  <a:cubicBezTo>
                    <a:pt x="201613" y="34212"/>
                    <a:pt x="195263" y="29547"/>
                    <a:pt x="193676" y="49763"/>
                  </a:cubicBezTo>
                  <a:cubicBezTo>
                    <a:pt x="182563" y="55984"/>
                    <a:pt x="180975" y="57539"/>
                    <a:pt x="179388" y="69980"/>
                  </a:cubicBezTo>
                  <a:cubicBezTo>
                    <a:pt x="177800" y="73090"/>
                    <a:pt x="177800" y="79310"/>
                    <a:pt x="174625" y="77755"/>
                  </a:cubicBezTo>
                  <a:cubicBezTo>
                    <a:pt x="171450" y="76200"/>
                    <a:pt x="176213" y="71535"/>
                    <a:pt x="176213" y="68424"/>
                  </a:cubicBezTo>
                  <a:cubicBezTo>
                    <a:pt x="177800" y="59094"/>
                    <a:pt x="177800" y="51318"/>
                    <a:pt x="179388" y="41988"/>
                  </a:cubicBezTo>
                  <a:cubicBezTo>
                    <a:pt x="174625" y="32657"/>
                    <a:pt x="174625" y="24882"/>
                    <a:pt x="176213" y="13996"/>
                  </a:cubicBezTo>
                  <a:cubicBezTo>
                    <a:pt x="188913" y="12441"/>
                    <a:pt x="185738" y="7776"/>
                    <a:pt x="195263" y="0"/>
                  </a:cubicBezTo>
                  <a:close/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3296" tIns="46648" rIns="93296" bIns="46648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CA" kern="0">
                <a:solidFill>
                  <a:srgbClr val="000000"/>
                </a:solidFill>
                <a:latin typeface="Arial"/>
                <a:ea typeface="ＭＳ Ｐゴシック"/>
                <a:cs typeface="+mn-cs"/>
              </a:endParaRPr>
            </a:p>
          </p:txBody>
        </p:sp>
      </p:grpSp>
      <p:sp>
        <p:nvSpPr>
          <p:cNvPr id="379" name="Rectangle 378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189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643589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our pale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 userDrawn="1">
            <p:extLst/>
          </p:nvPr>
        </p:nvGraphicFramePr>
        <p:xfrm>
          <a:off x="462430" y="914401"/>
          <a:ext cx="2081907" cy="4349262"/>
        </p:xfrm>
        <a:graphic>
          <a:graphicData uri="http://schemas.openxmlformats.org/drawingml/2006/table">
            <a:tbl>
              <a:tblPr firstRow="1" bandRow="1"/>
              <a:tblGrid>
                <a:gridCol w="20819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ext</a:t>
                      </a: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Tables</a:t>
                      </a: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4975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ＭＳ Ｐゴシック"/>
                        </a:defRPr>
                      </a:lvl9pPr>
                    </a:lstStyle>
                    <a:p>
                      <a:pPr algn="ctr"/>
                      <a:r>
                        <a:rPr lang="en-US" sz="1400" b="1" baseline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Charts</a:t>
                      </a:r>
                      <a:endParaRPr lang="en-US" sz="1400" b="1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303234" marR="303234" marT="46649" marB="46649" anchor="ctr">
                    <a:lnL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lumMod val="8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5" name="Rounded Rectangle 4"/>
          <p:cNvSpPr>
            <a:spLocks/>
          </p:cNvSpPr>
          <p:nvPr userDrawn="1">
            <p:custDataLst>
              <p:tags r:id="rId1"/>
            </p:custDataLst>
          </p:nvPr>
        </p:nvSpPr>
        <p:spPr>
          <a:xfrm>
            <a:off x="2928665" y="1137138"/>
            <a:ext cx="802949" cy="741184"/>
          </a:xfrm>
          <a:prstGeom prst="roundRect">
            <a:avLst/>
          </a:prstGeom>
          <a:solidFill>
            <a:srgbClr val="577586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68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84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6</a:t>
            </a:r>
          </a:p>
        </p:txBody>
      </p:sp>
      <p:sp>
        <p:nvSpPr>
          <p:cNvPr id="6" name="TextBox 5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2928666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Header</a:t>
            </a:r>
          </a:p>
        </p:txBody>
      </p:sp>
      <p:sp>
        <p:nvSpPr>
          <p:cNvPr id="7" name="Rounded Rectangle 6"/>
          <p:cNvSpPr>
            <a:spLocks/>
          </p:cNvSpPr>
          <p:nvPr userDrawn="1">
            <p:custDataLst>
              <p:tags r:id="rId3"/>
            </p:custDataLst>
          </p:nvPr>
        </p:nvSpPr>
        <p:spPr>
          <a:xfrm>
            <a:off x="3844592" y="1121898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8" name="TextBox 7"/>
          <p:cNvSpPr txBox="1">
            <a:spLocks/>
          </p:cNvSpPr>
          <p:nvPr userDrawn="1">
            <p:custDataLst>
              <p:tags r:id="rId4"/>
            </p:custDataLst>
          </p:nvPr>
        </p:nvSpPr>
        <p:spPr>
          <a:xfrm>
            <a:off x="3845449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9" name="TextBox 8"/>
          <p:cNvSpPr txBox="1">
            <a:spLocks/>
          </p:cNvSpPr>
          <p:nvPr userDrawn="1">
            <p:custDataLst>
              <p:tags r:id="rId5"/>
            </p:custDataLst>
          </p:nvPr>
        </p:nvSpPr>
        <p:spPr>
          <a:xfrm>
            <a:off x="4772146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Line</a:t>
            </a:r>
          </a:p>
        </p:txBody>
      </p:sp>
      <p:sp>
        <p:nvSpPr>
          <p:cNvPr id="10" name="Rounded Rectangle 9"/>
          <p:cNvSpPr>
            <a:spLocks/>
          </p:cNvSpPr>
          <p:nvPr userDrawn="1">
            <p:custDataLst>
              <p:tags r:id="rId6"/>
            </p:custDataLst>
          </p:nvPr>
        </p:nvSpPr>
        <p:spPr>
          <a:xfrm>
            <a:off x="2928665" y="2611491"/>
            <a:ext cx="802949" cy="741184"/>
          </a:xfrm>
          <a:prstGeom prst="roundRect">
            <a:avLst/>
          </a:prstGeom>
          <a:solidFill>
            <a:srgbClr val="FFFFFF">
              <a:lumMod val="85000"/>
            </a:srgbClr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217</a:t>
            </a:r>
          </a:p>
        </p:txBody>
      </p:sp>
      <p:sp>
        <p:nvSpPr>
          <p:cNvPr id="11" name="TextBox 10"/>
          <p:cNvSpPr txBox="1">
            <a:spLocks/>
          </p:cNvSpPr>
          <p:nvPr userDrawn="1">
            <p:custDataLst>
              <p:tags r:id="rId7"/>
            </p:custDataLst>
          </p:nvPr>
        </p:nvSpPr>
        <p:spPr>
          <a:xfrm>
            <a:off x="2928666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Fill</a:t>
            </a:r>
          </a:p>
        </p:txBody>
      </p:sp>
      <p:sp>
        <p:nvSpPr>
          <p:cNvPr id="12" name="Rounded Rectangle 11"/>
          <p:cNvSpPr>
            <a:spLocks/>
          </p:cNvSpPr>
          <p:nvPr userDrawn="1">
            <p:custDataLst>
              <p:tags r:id="rId8"/>
            </p:custDataLst>
          </p:nvPr>
        </p:nvSpPr>
        <p:spPr>
          <a:xfrm>
            <a:off x="3844592" y="2596251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13" name="TextBox 12"/>
          <p:cNvSpPr txBox="1">
            <a:spLocks/>
          </p:cNvSpPr>
          <p:nvPr userDrawn="1">
            <p:custDataLst>
              <p:tags r:id="rId9"/>
            </p:custDataLst>
          </p:nvPr>
        </p:nvSpPr>
        <p:spPr>
          <a:xfrm>
            <a:off x="3845449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4" name="TextBox 13"/>
          <p:cNvSpPr txBox="1">
            <a:spLocks/>
          </p:cNvSpPr>
          <p:nvPr userDrawn="1">
            <p:custDataLst>
              <p:tags r:id="rId10"/>
            </p:custDataLst>
          </p:nvPr>
        </p:nvSpPr>
        <p:spPr>
          <a:xfrm>
            <a:off x="4772146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Line</a:t>
            </a:r>
          </a:p>
        </p:txBody>
      </p:sp>
      <p:sp>
        <p:nvSpPr>
          <p:cNvPr id="15" name="Rounded Rectangle 14"/>
          <p:cNvSpPr>
            <a:spLocks/>
          </p:cNvSpPr>
          <p:nvPr userDrawn="1">
            <p:custDataLst>
              <p:tags r:id="rId11"/>
            </p:custDataLst>
          </p:nvPr>
        </p:nvSpPr>
        <p:spPr>
          <a:xfrm>
            <a:off x="5693478" y="1137138"/>
            <a:ext cx="802949" cy="741184"/>
          </a:xfrm>
          <a:prstGeom prst="roundRect">
            <a:avLst/>
          </a:prstGeom>
          <a:solidFill>
            <a:srgbClr val="00000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</p:txBody>
      </p:sp>
      <p:sp>
        <p:nvSpPr>
          <p:cNvPr id="16" name="TextBox 15"/>
          <p:cNvSpPr txBox="1">
            <a:spLocks/>
          </p:cNvSpPr>
          <p:nvPr userDrawn="1">
            <p:custDataLst>
              <p:tags r:id="rId12"/>
            </p:custDataLst>
          </p:nvPr>
        </p:nvSpPr>
        <p:spPr>
          <a:xfrm>
            <a:off x="5693478" y="1874416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7" name="Rounded Rectangle 16"/>
          <p:cNvSpPr>
            <a:spLocks/>
          </p:cNvSpPr>
          <p:nvPr userDrawn="1">
            <p:custDataLst>
              <p:tags r:id="rId13"/>
            </p:custDataLst>
          </p:nvPr>
        </p:nvSpPr>
        <p:spPr>
          <a:xfrm>
            <a:off x="5693478" y="2611491"/>
            <a:ext cx="802949" cy="741184"/>
          </a:xfrm>
          <a:prstGeom prst="roundRect">
            <a:avLst/>
          </a:prstGeom>
          <a:solidFill>
            <a:srgbClr val="000000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0</a:t>
            </a:r>
          </a:p>
        </p:txBody>
      </p:sp>
      <p:sp>
        <p:nvSpPr>
          <p:cNvPr id="18" name="TextBox 17"/>
          <p:cNvSpPr txBox="1">
            <a:spLocks/>
          </p:cNvSpPr>
          <p:nvPr userDrawn="1">
            <p:custDataLst>
              <p:tags r:id="rId14"/>
            </p:custDataLst>
          </p:nvPr>
        </p:nvSpPr>
        <p:spPr>
          <a:xfrm>
            <a:off x="5693478" y="3348769"/>
            <a:ext cx="816232" cy="200055"/>
          </a:xfrm>
          <a:prstGeom prst="rect">
            <a:avLst/>
          </a:prstGeom>
          <a:noFill/>
          <a:ln>
            <a:noFill/>
          </a:ln>
        </p:spPr>
        <p:txBody>
          <a:bodyPr vert="horz" lIns="0" rIns="0" bIns="0" rtlCol="0">
            <a:sp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  <a:cs typeface="+mn-cs"/>
              </a:rPr>
              <a:t>Body Text</a:t>
            </a:r>
          </a:p>
        </p:txBody>
      </p:sp>
      <p:sp>
        <p:nvSpPr>
          <p:cNvPr id="19" name="Rounded Rectangle 18"/>
          <p:cNvSpPr>
            <a:spLocks/>
          </p:cNvSpPr>
          <p:nvPr userDrawn="1">
            <p:custDataLst>
              <p:tags r:id="rId15"/>
            </p:custDataLst>
          </p:nvPr>
        </p:nvSpPr>
        <p:spPr>
          <a:xfrm>
            <a:off x="4776266" y="1121898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sp>
        <p:nvSpPr>
          <p:cNvPr id="20" name="Rounded Rectangle 19"/>
          <p:cNvSpPr>
            <a:spLocks/>
          </p:cNvSpPr>
          <p:nvPr userDrawn="1">
            <p:custDataLst>
              <p:tags r:id="rId16"/>
            </p:custDataLst>
          </p:nvPr>
        </p:nvSpPr>
        <p:spPr>
          <a:xfrm>
            <a:off x="4776266" y="2596251"/>
            <a:ext cx="802949" cy="741184"/>
          </a:xfrm>
          <a:prstGeom prst="roundRect">
            <a:avLst/>
          </a:prstGeom>
          <a:solidFill>
            <a:srgbClr val="646464"/>
          </a:solidFill>
          <a:ln w="6350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kern="0" dirty="0">
                <a:solidFill>
                  <a:srgbClr val="FFFFFF"/>
                </a:solidFill>
                <a:latin typeface="Arial"/>
                <a:ea typeface="ＭＳ Ｐゴシック"/>
                <a:cs typeface="+mn-cs"/>
              </a:rPr>
              <a:t>100</a:t>
            </a:r>
          </a:p>
        </p:txBody>
      </p:sp>
      <p:grpSp>
        <p:nvGrpSpPr>
          <p:cNvPr id="21" name="Group 20"/>
          <p:cNvGrpSpPr/>
          <p:nvPr userDrawn="1"/>
        </p:nvGrpSpPr>
        <p:grpSpPr>
          <a:xfrm>
            <a:off x="462431" y="5486400"/>
            <a:ext cx="8915400" cy="679946"/>
            <a:chOff x="609600" y="609600"/>
            <a:chExt cx="8970784" cy="741184"/>
          </a:xfrm>
        </p:grpSpPr>
        <p:sp>
          <p:nvSpPr>
            <p:cNvPr id="22" name="Rounded Rectangle 21"/>
            <p:cNvSpPr>
              <a:spLocks/>
            </p:cNvSpPr>
            <p:nvPr>
              <p:custDataLst>
                <p:tags r:id="rId26"/>
              </p:custDataLst>
            </p:nvPr>
          </p:nvSpPr>
          <p:spPr>
            <a:xfrm>
              <a:off x="5547360" y="609600"/>
              <a:ext cx="741184" cy="741184"/>
            </a:xfrm>
            <a:prstGeom prst="roundRect">
              <a:avLst/>
            </a:prstGeom>
            <a:solidFill>
              <a:srgbClr val="7D9AAA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8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34</a:t>
              </a:r>
            </a:p>
          </p:txBody>
        </p:sp>
        <p:sp>
          <p:nvSpPr>
            <p:cNvPr id="23" name="Rounded Rectangle 22"/>
            <p:cNvSpPr>
              <a:spLocks/>
            </p:cNvSpPr>
            <p:nvPr>
              <p:custDataLst>
                <p:tags r:id="rId27"/>
              </p:custDataLst>
            </p:nvPr>
          </p:nvSpPr>
          <p:spPr>
            <a:xfrm>
              <a:off x="3078480" y="609600"/>
              <a:ext cx="741184" cy="741184"/>
            </a:xfrm>
            <a:prstGeom prst="roundRect">
              <a:avLst/>
            </a:prstGeom>
            <a:solidFill>
              <a:srgbClr val="FF8600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55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34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</p:txBody>
        </p:sp>
        <p:sp>
          <p:nvSpPr>
            <p:cNvPr id="24" name="Rounded Rectangle 23"/>
            <p:cNvSpPr>
              <a:spLocks/>
            </p:cNvSpPr>
            <p:nvPr>
              <p:custDataLst>
                <p:tags r:id="rId28"/>
              </p:custDataLst>
            </p:nvPr>
          </p:nvSpPr>
          <p:spPr>
            <a:xfrm>
              <a:off x="225552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  <p:sp>
          <p:nvSpPr>
            <p:cNvPr id="25" name="Rounded Rectangle 24"/>
            <p:cNvSpPr>
              <a:spLocks/>
            </p:cNvSpPr>
            <p:nvPr>
              <p:custDataLst>
                <p:tags r:id="rId29"/>
              </p:custDataLst>
            </p:nvPr>
          </p:nvSpPr>
          <p:spPr>
            <a:xfrm>
              <a:off x="7193280" y="609600"/>
              <a:ext cx="741184" cy="741184"/>
            </a:xfrm>
            <a:prstGeom prst="roundRect">
              <a:avLst/>
            </a:prstGeom>
            <a:solidFill>
              <a:srgbClr val="99DEF9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7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84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93</a:t>
              </a:r>
            </a:p>
          </p:txBody>
        </p:sp>
        <p:sp>
          <p:nvSpPr>
            <p:cNvPr id="26" name="Rounded Rectangle 25"/>
            <p:cNvSpPr>
              <a:spLocks/>
            </p:cNvSpPr>
            <p:nvPr>
              <p:custDataLst>
                <p:tags r:id="rId30"/>
              </p:custDataLst>
            </p:nvPr>
          </p:nvSpPr>
          <p:spPr>
            <a:xfrm>
              <a:off x="6370320" y="609600"/>
              <a:ext cx="741184" cy="741184"/>
            </a:xfrm>
            <a:prstGeom prst="roundRect">
              <a:avLst/>
            </a:prstGeom>
            <a:solidFill>
              <a:srgbClr val="4CB8C1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53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22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49</a:t>
              </a:r>
            </a:p>
          </p:txBody>
        </p:sp>
        <p:sp>
          <p:nvSpPr>
            <p:cNvPr id="27" name="Rounded Rectangle 26"/>
            <p:cNvSpPr>
              <a:spLocks/>
            </p:cNvSpPr>
            <p:nvPr>
              <p:custDataLst>
                <p:tags r:id="rId31"/>
              </p:custDataLst>
            </p:nvPr>
          </p:nvSpPr>
          <p:spPr>
            <a:xfrm>
              <a:off x="3901440" y="609600"/>
              <a:ext cx="741184" cy="741184"/>
            </a:xfrm>
            <a:prstGeom prst="roundRect">
              <a:avLst/>
            </a:prstGeom>
            <a:solidFill>
              <a:srgbClr val="D9D9D9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217</a:t>
              </a:r>
            </a:p>
          </p:txBody>
        </p:sp>
        <p:sp>
          <p:nvSpPr>
            <p:cNvPr id="28" name="Rounded Rectangle 27"/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609600" y="609600"/>
              <a:ext cx="741184" cy="741184"/>
            </a:xfrm>
            <a:prstGeom prst="roundRect">
              <a:avLst/>
            </a:prstGeom>
            <a:solidFill>
              <a:srgbClr val="000000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0</a:t>
              </a:r>
            </a:p>
          </p:txBody>
        </p:sp>
        <p:sp>
          <p:nvSpPr>
            <p:cNvPr id="29" name="Rounded Rectangle 28"/>
            <p:cNvSpPr>
              <a:spLocks/>
            </p:cNvSpPr>
            <p:nvPr>
              <p:custDataLst>
                <p:tags r:id="rId33"/>
              </p:custDataLst>
            </p:nvPr>
          </p:nvSpPr>
          <p:spPr>
            <a:xfrm>
              <a:off x="8839200" y="609600"/>
              <a:ext cx="741184" cy="741184"/>
            </a:xfrm>
            <a:prstGeom prst="roundRect">
              <a:avLst/>
            </a:prstGeom>
            <a:solidFill>
              <a:srgbClr val="646464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FFFFFF"/>
                  </a:solidFill>
                  <a:latin typeface="Arial"/>
                  <a:ea typeface="ＭＳ Ｐゴシック"/>
                  <a:cs typeface="+mn-cs"/>
                </a:rPr>
                <a:t>100</a:t>
              </a:r>
            </a:p>
          </p:txBody>
        </p:sp>
        <p:sp>
          <p:nvSpPr>
            <p:cNvPr id="30" name="Rounded Rectangle 29"/>
            <p:cNvSpPr>
              <a:spLocks/>
            </p:cNvSpPr>
            <p:nvPr>
              <p:custDataLst>
                <p:tags r:id="rId34"/>
              </p:custDataLst>
            </p:nvPr>
          </p:nvSpPr>
          <p:spPr>
            <a:xfrm>
              <a:off x="1432560" y="609600"/>
              <a:ext cx="741184" cy="741184"/>
            </a:xfrm>
            <a:prstGeom prst="roundRect">
              <a:avLst/>
            </a:prstGeom>
            <a:solidFill>
              <a:srgbClr val="FFFFFF"/>
            </a:solidFill>
            <a:ln w="6350" cap="flat" cmpd="sng" algn="ctr">
              <a:solidFill>
                <a:srgbClr val="D9D9D9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white</a:t>
              </a:r>
            </a:p>
          </p:txBody>
        </p:sp>
        <p:sp>
          <p:nvSpPr>
            <p:cNvPr id="31" name="Rounded Rectangle 30"/>
            <p:cNvSpPr>
              <a:spLocks/>
            </p:cNvSpPr>
            <p:nvPr>
              <p:custDataLst>
                <p:tags r:id="rId35"/>
              </p:custDataLst>
            </p:nvPr>
          </p:nvSpPr>
          <p:spPr>
            <a:xfrm>
              <a:off x="472440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  <p:sp>
          <p:nvSpPr>
            <p:cNvPr id="32" name="Rounded Rectangle 31"/>
            <p:cNvSpPr>
              <a:spLocks/>
            </p:cNvSpPr>
            <p:nvPr>
              <p:custDataLst>
                <p:tags r:id="rId36"/>
              </p:custDataLst>
            </p:nvPr>
          </p:nvSpPr>
          <p:spPr>
            <a:xfrm>
              <a:off x="8016240" y="609600"/>
              <a:ext cx="741184" cy="741184"/>
            </a:xfrm>
            <a:prstGeom prst="roundRect">
              <a:avLst/>
            </a:prstGeom>
            <a:solidFill>
              <a:srgbClr val="A6A6A6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00" kern="0" dirty="0">
                  <a:solidFill>
                    <a:srgbClr val="000000"/>
                  </a:solidFill>
                  <a:latin typeface="Arial"/>
                  <a:ea typeface="ＭＳ Ｐゴシック"/>
                  <a:cs typeface="+mn-cs"/>
                </a:rPr>
                <a:t>166</a:t>
              </a:r>
            </a:p>
          </p:txBody>
        </p:sp>
      </p:grpSp>
      <p:sp>
        <p:nvSpPr>
          <p:cNvPr id="33" name="Rectangle 32"/>
          <p:cNvSpPr/>
          <p:nvPr userDrawn="1"/>
        </p:nvSpPr>
        <p:spPr>
          <a:xfrm>
            <a:off x="9337393" y="6505203"/>
            <a:ext cx="351378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100" smtClean="0">
                <a:solidFill>
                  <a:srgbClr val="000000"/>
                </a:solidFill>
                <a:latin typeface="Calibri"/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AU" sz="11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4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127342" y="204165"/>
            <a:ext cx="9400381" cy="397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kumimoji="0" lang="en-US" sz="2200" b="1" i="0" u="none" strike="noStrike" kern="0" cap="none" spc="0" normalizeH="0" baseline="0" noProof="0" dirty="0" smtClean="0">
                <a:ln>
                  <a:noFill/>
                </a:ln>
                <a:solidFill>
                  <a:srgbClr val="44546A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Rectangle 35"/>
          <p:cNvSpPr/>
          <p:nvPr userDrawn="1">
            <p:custDataLst>
              <p:tags r:id="rId17"/>
            </p:custDataLst>
          </p:nvPr>
        </p:nvSpPr>
        <p:spPr bwMode="auto">
          <a:xfrm>
            <a:off x="3619090" y="4301975"/>
            <a:ext cx="178858" cy="165100"/>
          </a:xfrm>
          <a:prstGeom prst="rect">
            <a:avLst/>
          </a:prstGeom>
          <a:solidFill>
            <a:srgbClr val="646464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7" name="Rectangle 36"/>
          <p:cNvSpPr/>
          <p:nvPr userDrawn="1">
            <p:custDataLst>
              <p:tags r:id="rId18"/>
            </p:custDataLst>
          </p:nvPr>
        </p:nvSpPr>
        <p:spPr bwMode="auto">
          <a:xfrm>
            <a:off x="2931174" y="4557562"/>
            <a:ext cx="178858" cy="165100"/>
          </a:xfrm>
          <a:prstGeom prst="rect">
            <a:avLst/>
          </a:prstGeom>
          <a:solidFill>
            <a:srgbClr val="A6A6A6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8" name="Rectangle 37"/>
          <p:cNvSpPr/>
          <p:nvPr userDrawn="1">
            <p:custDataLst>
              <p:tags r:id="rId19"/>
            </p:custDataLst>
          </p:nvPr>
        </p:nvSpPr>
        <p:spPr bwMode="auto">
          <a:xfrm>
            <a:off x="4336243" y="4296685"/>
            <a:ext cx="178858" cy="165100"/>
          </a:xfrm>
          <a:prstGeom prst="rect">
            <a:avLst/>
          </a:prstGeom>
          <a:solidFill>
            <a:srgbClr val="4CB8C1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39" name="Rectangle 38"/>
          <p:cNvSpPr/>
          <p:nvPr userDrawn="1">
            <p:custDataLst>
              <p:tags r:id="rId20"/>
            </p:custDataLst>
          </p:nvPr>
        </p:nvSpPr>
        <p:spPr bwMode="auto">
          <a:xfrm>
            <a:off x="4336243" y="4573437"/>
            <a:ext cx="178858" cy="165100"/>
          </a:xfrm>
          <a:prstGeom prst="rect">
            <a:avLst/>
          </a:prstGeom>
          <a:solidFill>
            <a:srgbClr val="009AA6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0" name="Rectangle 39"/>
          <p:cNvSpPr/>
          <p:nvPr userDrawn="1">
            <p:custDataLst>
              <p:tags r:id="rId21"/>
            </p:custDataLst>
          </p:nvPr>
        </p:nvSpPr>
        <p:spPr bwMode="auto">
          <a:xfrm>
            <a:off x="3619090" y="4573437"/>
            <a:ext cx="178858" cy="165100"/>
          </a:xfrm>
          <a:prstGeom prst="rect">
            <a:avLst/>
          </a:prstGeom>
          <a:solidFill>
            <a:srgbClr val="99DEF9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1" name="Rectangle 40"/>
          <p:cNvSpPr/>
          <p:nvPr userDrawn="1">
            <p:custDataLst>
              <p:tags r:id="rId22"/>
            </p:custDataLst>
          </p:nvPr>
        </p:nvSpPr>
        <p:spPr bwMode="auto">
          <a:xfrm>
            <a:off x="2931174" y="4286100"/>
            <a:ext cx="178858" cy="165100"/>
          </a:xfrm>
          <a:prstGeom prst="rect">
            <a:avLst/>
          </a:prstGeom>
          <a:solidFill>
            <a:srgbClr val="D9D9D9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kern="0">
              <a:solidFill>
                <a:srgbClr val="FFFFFF"/>
              </a:solidFill>
              <a:latin typeface="Arial"/>
              <a:ea typeface="ＭＳ Ｐゴシック"/>
              <a:cs typeface="+mn-cs"/>
            </a:endParaRPr>
          </a:p>
        </p:txBody>
      </p:sp>
      <p:sp>
        <p:nvSpPr>
          <p:cNvPr id="42" name="Text Placeholder 15"/>
          <p:cNvSpPr>
            <a:spLocks noGrp="1"/>
          </p:cNvSpPr>
          <p:nvPr userDrawn="1">
            <p:custDataLst>
              <p:tags r:id="rId23"/>
            </p:custDataLst>
          </p:nvPr>
        </p:nvSpPr>
        <p:spPr bwMode="auto">
          <a:xfrm>
            <a:off x="4515101" y="4555976"/>
            <a:ext cx="47638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3" name="Text Placeholder 8"/>
          <p:cNvSpPr>
            <a:spLocks noGrp="1"/>
          </p:cNvSpPr>
          <p:nvPr userDrawn="1">
            <p:custDataLst>
              <p:tags r:id="rId24"/>
            </p:custDataLst>
          </p:nvPr>
        </p:nvSpPr>
        <p:spPr bwMode="auto">
          <a:xfrm>
            <a:off x="4515102" y="4284513"/>
            <a:ext cx="54001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44" name="Text Placeholder 7"/>
          <p:cNvSpPr>
            <a:spLocks noGrp="1"/>
          </p:cNvSpPr>
          <p:nvPr userDrawn="1">
            <p:custDataLst>
              <p:tags r:id="rId25"/>
            </p:custDataLst>
          </p:nvPr>
        </p:nvSpPr>
        <p:spPr bwMode="auto">
          <a:xfrm>
            <a:off x="3220099" y="4555976"/>
            <a:ext cx="78594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endParaRPr lang="en-US" sz="1200" dirty="0">
              <a:solidFill>
                <a:srgbClr val="000000"/>
              </a:solidFill>
              <a:latin typeface="Arial"/>
              <a:ea typeface="ＭＳ Ｐゴシック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9175479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0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58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39"/>
            <a:ext cx="5455758" cy="1015663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700"/>
            <a:ext cx="5455758" cy="290079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1904662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FA3C8E-EDEA-41A4-BC04-5D135487B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049F249F-A121-4517-AB7C-A66EF1EE63F1}"/>
              </a:ext>
            </a:extLst>
          </p:cNvPr>
          <p:cNvSpPr txBox="1">
            <a:spLocks/>
          </p:cNvSpPr>
          <p:nvPr userDrawn="1"/>
        </p:nvSpPr>
        <p:spPr>
          <a:xfrm>
            <a:off x="9539282" y="6558948"/>
            <a:ext cx="155492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60981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36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1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865" y="2153915"/>
            <a:ext cx="3816103" cy="3815507"/>
          </a:xfrm>
        </p:spPr>
        <p:txBody>
          <a:bodyPr>
            <a:noAutofit/>
          </a:bodyPr>
          <a:lstStyle>
            <a:lvl1pP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905" y="2153915"/>
            <a:ext cx="3815984" cy="3815507"/>
          </a:xfrm>
        </p:spPr>
        <p:txBody>
          <a:bodyPr>
            <a:noAutofit/>
          </a:bodyPr>
          <a:lstStyle>
            <a:lvl1pPr>
              <a:defRPr sz="1400">
                <a:latin typeface="Arial"/>
                <a:cs typeface="Verdana"/>
              </a:defRPr>
            </a:lvl1pPr>
            <a:lvl2pPr>
              <a:defRPr sz="1400">
                <a:latin typeface="Arial"/>
                <a:cs typeface="Verdana"/>
              </a:defRPr>
            </a:lvl2pPr>
            <a:lvl3pPr>
              <a:defRPr sz="1400">
                <a:latin typeface="Arial"/>
                <a:cs typeface="Verdana"/>
              </a:defRPr>
            </a:lvl3pPr>
            <a:lvl4pPr>
              <a:defRPr sz="1400">
                <a:latin typeface="Arial"/>
                <a:cs typeface="Verdana"/>
              </a:defRPr>
            </a:lvl4pPr>
            <a:lvl5pPr>
              <a:defRPr sz="140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847279" y="1505843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5029200" y="1505843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147248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8B1AF8-C0D3-8E4E-9F9B-05ECCE0998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35325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918280" y="349866"/>
            <a:ext cx="1011495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171" y="37255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918279" y="508601"/>
            <a:ext cx="2978379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>
                <a:solidFill>
                  <a:srgbClr val="000000"/>
                </a:solidFill>
                <a:latin typeface="Arial"/>
                <a:ea typeface="+mn-ea"/>
                <a:cs typeface="+mn-cs"/>
              </a:rPr>
              <a:t>Last Modified 1/6/2016 10:20 PM SE Asia Standard Time</a:t>
            </a:r>
            <a:endParaRPr lang="en-US" sz="918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918325" y="668969"/>
            <a:ext cx="371897" cy="1412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18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Printed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0" y="19"/>
            <a:ext cx="990249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28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0"/>
              <a:ext cx="3226" cy="15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CONFIDENTIAL AND PROPRIETARY</a:t>
              </a:r>
            </a:p>
            <a:p>
              <a:pPr defTabSz="817642" eaLnBrk="0" fontAlgn="auto" hangingPunct="0">
                <a:spcBef>
                  <a:spcPts val="0"/>
                </a:spcBef>
                <a:spcAft>
                  <a:spcPts val="0"/>
                </a:spcAft>
              </a:pPr>
              <a:r>
                <a:rPr lang="en-US" sz="816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>
                <a:solidFill>
                  <a:srgbClr val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0085" y="6574588"/>
            <a:ext cx="1809226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8" y="217693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265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8" y="3945699"/>
            <a:ext cx="5455758" cy="219820"/>
          </a:xfrm>
        </p:spPr>
        <p:txBody>
          <a:bodyPr>
            <a:spAutoFit/>
          </a:bodyPr>
          <a:lstStyle>
            <a:lvl1pPr>
              <a:defRPr sz="1428" baseline="0">
                <a:latin typeface="+mn-lt"/>
                <a:ea typeface="+mn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834409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7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2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39283" y="6558948"/>
            <a:ext cx="158698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2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2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022480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5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5673" y="1990688"/>
            <a:ext cx="4755582" cy="12557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539282" y="6560487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  <a:ea typeface="+mn-ea"/>
                <a:cs typeface="+mn-cs"/>
              </a:rPr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43859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7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27342" y="204165"/>
            <a:ext cx="9400381" cy="292388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kumimoji="0" lang="en-US" sz="1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Add slide lead here</a:t>
            </a:r>
          </a:p>
        </p:txBody>
      </p:sp>
    </p:spTree>
    <p:extLst>
      <p:ext uri="{BB962C8B-B14F-4D97-AF65-F5344CB8AC3E}">
        <p14:creationId xmlns:p14="http://schemas.microsoft.com/office/powerpoint/2010/main" val="31897157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97894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848824" y="1558131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848824" y="2197894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477000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6477000" y="2197894"/>
            <a:ext cx="2520000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644F3-926F-554A-9906-0CC9A5509D2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24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936776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936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48544" y="1514152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 Bold"/>
                <a:cs typeface="Arial Bold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48544" y="2153915"/>
            <a:ext cx="2016224" cy="3815507"/>
          </a:xfrm>
        </p:spPr>
        <p:txBody>
          <a:bodyPr>
            <a:noAutofit/>
          </a:bodyPr>
          <a:lstStyle>
            <a:lvl1pPr marL="252000" indent="-194400">
              <a:defRPr sz="1000" b="0" i="0">
                <a:latin typeface="Arial"/>
                <a:cs typeface="Arial"/>
              </a:defRPr>
            </a:lvl1pPr>
            <a:lvl2pPr marL="471600" indent="-194400">
              <a:defRPr sz="1000" b="0" i="0">
                <a:latin typeface="Arial"/>
                <a:cs typeface="Arial"/>
              </a:defRPr>
            </a:lvl2pPr>
            <a:lvl3pPr marL="781200" indent="-194400">
              <a:defRPr sz="1000" b="0" i="0">
                <a:latin typeface="Arial"/>
                <a:cs typeface="Arial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buNone/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5025008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5025008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7127776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7127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82A58-4391-F940-B93D-AD89F6C387E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716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52643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52643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5003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5003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Verdana"/>
                <a:cs typeface="Verdana"/>
              </a:defRPr>
            </a:lvl2pPr>
            <a:lvl3pPr>
              <a:defRPr sz="1000" b="0" i="0">
                <a:latin typeface="Verdana"/>
                <a:cs typeface="Verdana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4232920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4232920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5997116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5997116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776131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0"/>
          </p:nvPr>
        </p:nvSpPr>
        <p:spPr>
          <a:xfrm>
            <a:off x="776131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0BCA9E-F8A0-B849-BF0D-0460F69BBBB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400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484313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1"/>
          </p:nvPr>
        </p:nvSpPr>
        <p:spPr>
          <a:xfrm>
            <a:off x="836712" y="1484313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2"/>
          </p:nvPr>
        </p:nvSpPr>
        <p:spPr>
          <a:xfrm>
            <a:off x="836712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6553200" y="1498984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4"/>
          </p:nvPr>
        </p:nvSpPr>
        <p:spPr>
          <a:xfrm>
            <a:off x="6553200" y="2147528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buNone/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5"/>
          </p:nvPr>
        </p:nvSpPr>
        <p:spPr>
          <a:xfrm>
            <a:off x="836712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6"/>
          </p:nvPr>
        </p:nvSpPr>
        <p:spPr>
          <a:xfrm>
            <a:off x="836712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7"/>
          </p:nvPr>
        </p:nvSpPr>
        <p:spPr>
          <a:xfrm>
            <a:off x="6553200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18"/>
          </p:nvPr>
        </p:nvSpPr>
        <p:spPr>
          <a:xfrm>
            <a:off x="6553200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9"/>
          </p:nvPr>
        </p:nvSpPr>
        <p:spPr>
          <a:xfrm>
            <a:off x="3728864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0"/>
          </p:nvPr>
        </p:nvSpPr>
        <p:spPr>
          <a:xfrm>
            <a:off x="3728864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3600B-923A-9E46-9E78-7C8498C6610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03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oleObject" Target="../embeddings/oleObject10.bin"/><Relationship Id="rId2" Type="http://schemas.openxmlformats.org/officeDocument/2006/relationships/slideLayout" Target="../slideLayouts/slideLayout21.xml"/><Relationship Id="rId16" Type="http://schemas.openxmlformats.org/officeDocument/2006/relationships/tags" Target="../tags/tag1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vmlDrawing" Target="../drawings/vmlDrawing10.vml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slideLayout" Target="../slideLayouts/slideLayout35.xml"/><Relationship Id="rId7" Type="http://schemas.openxmlformats.org/officeDocument/2006/relationships/tags" Target="../tags/tag23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13.v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0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image" Target="../media/image4.emf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oleObject" Target="../embeddings/oleObject17.bin"/><Relationship Id="rId2" Type="http://schemas.openxmlformats.org/officeDocument/2006/relationships/slideLayout" Target="../slideLayouts/slideLayout38.xml"/><Relationship Id="rId16" Type="http://schemas.openxmlformats.org/officeDocument/2006/relationships/tags" Target="../tags/tag2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vmlDrawing" Target="../drawings/vmlDrawing17.v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52.xml"/><Relationship Id="rId7" Type="http://schemas.openxmlformats.org/officeDocument/2006/relationships/tags" Target="../tags/tag462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vmlDrawing" Target="../drawings/vmlDrawing20.v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53.xml"/><Relationship Id="rId9" Type="http://schemas.openxmlformats.org/officeDocument/2006/relationships/image" Target="../media/image10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4" name="think-cell Slide" r:id="rId21" imgW="38100" imgH="38100" progId="">
                  <p:embed/>
                </p:oleObj>
              </mc:Choice>
              <mc:Fallback>
                <p:oleObj name="think-cell Slide" r:id="rId21" imgW="38100" imgH="3810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549400"/>
            <a:ext cx="8153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74175" y="6597650"/>
            <a:ext cx="584200" cy="304800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8A82C573-0AA5-AB49-8A94-06DECA67F65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29" name="Title Placeholder 8"/>
          <p:cNvSpPr>
            <a:spLocks noGrp="1"/>
          </p:cNvSpPr>
          <p:nvPr>
            <p:ph type="title"/>
          </p:nvPr>
        </p:nvSpPr>
        <p:spPr bwMode="auto">
          <a:xfrm>
            <a:off x="849313" y="476250"/>
            <a:ext cx="81534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32" name="Picture 8" descr="RGB_Logo.jpg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52" r:id="rId6"/>
    <p:sldLayoutId id="2147484653" r:id="rId7"/>
    <p:sldLayoutId id="2147484654" r:id="rId8"/>
    <p:sldLayoutId id="2147484655" r:id="rId9"/>
    <p:sldLayoutId id="2147484666" r:id="rId10"/>
    <p:sldLayoutId id="2147484667" r:id="rId11"/>
    <p:sldLayoutId id="2147484656" r:id="rId12"/>
    <p:sldLayoutId id="2147484657" r:id="rId13"/>
    <p:sldLayoutId id="2147484658" r:id="rId14"/>
    <p:sldLayoutId id="2147484668" r:id="rId15"/>
    <p:sldLayoutId id="2147484659" r:id="rId16"/>
    <p:sldLayoutId id="2147484660" r:id="rId17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9pPr>
    </p:titleStyle>
    <p:bodyStyle>
      <a:lvl1pPr marL="341313" indent="-284163" algn="l" defTabSz="912813" rtl="0" eaLnBrk="0" fontAlgn="base" hangingPunct="0">
        <a:spcBef>
          <a:spcPct val="0"/>
        </a:spcBef>
        <a:spcAft>
          <a:spcPct val="0"/>
        </a:spcAft>
        <a:buClr>
          <a:srgbClr val="E1202C"/>
        </a:buClr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1pPr>
      <a:lvl2pPr marL="74136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2pPr>
      <a:lvl3pPr marL="11414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3pPr>
      <a:lvl4pPr marL="15986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4pPr>
      <a:lvl5pPr marL="20558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»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194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B435525-45EE-9E43-9A58-5CC11AE439FC}" type="datetime1">
              <a:rPr lang="en-US"/>
              <a:pPr>
                <a:defRPr/>
              </a:pPr>
              <a:t>3/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-106" charset="0"/>
                <a:ea typeface="Arial" pitchFamily="-106" charset="0"/>
                <a:cs typeface="Arial" pitchFamily="-106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8755621-DC80-EA46-86D2-008447547A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82" r:id="rId2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8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93382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56063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4" r:id="rId1"/>
    <p:sldLayoutId id="2147484685" r:id="rId2"/>
    <p:sldLayoutId id="2147484686" r:id="rId3"/>
    <p:sldLayoutId id="2147484687" r:id="rId4"/>
    <p:sldLayoutId id="2147484688" r:id="rId5"/>
    <p:sldLayoutId id="2147484689" r:id="rId6"/>
    <p:sldLayoutId id="2147484690" r:id="rId7"/>
    <p:sldLayoutId id="2147484691" r:id="rId8"/>
    <p:sldLayoutId id="2147484692" r:id="rId9"/>
    <p:sldLayoutId id="2147484693" r:id="rId10"/>
    <p:sldLayoutId id="2147484694" r:id="rId11"/>
    <p:sldLayoutId id="2147484695" r:id="rId12"/>
    <p:sldLayoutId id="2147484696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0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93383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562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3" y="1990687"/>
            <a:ext cx="4755582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59" y="234864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3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58" y="542633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3" y="6198769"/>
            <a:ext cx="9449743" cy="526418"/>
            <a:chOff x="75" y="3827"/>
            <a:chExt cx="5385" cy="3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9279" indent="-619279" defTabSz="909562" fontAlgn="auto">
                <a:spcBef>
                  <a:spcPts val="0"/>
                </a:spcBef>
                <a:spcAft>
                  <a:spcPts val="0"/>
                </a:spcAft>
                <a:tabLst>
                  <a:tab pos="622501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9" y="1072271"/>
            <a:ext cx="4713466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b="1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Title</a:t>
              </a:r>
            </a:p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7493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98" r:id="rId1"/>
    <p:sldLayoutId id="2147484699" r:id="rId2"/>
    <p:sldLayoutId id="2147484700" r:id="rId3"/>
    <p:sldLayoutId id="2147484701" r:id="rId4"/>
  </p:sldLayoutIdLst>
  <p:hf hdr="0" ftr="0" dt="0"/>
  <p:txStyles>
    <p:titleStyle>
      <a:lvl1pPr algn="l" defTabSz="909562" rtl="0" eaLnBrk="1" fontAlgn="base" hangingPunct="1">
        <a:spcBef>
          <a:spcPct val="0"/>
        </a:spcBef>
        <a:spcAft>
          <a:spcPct val="0"/>
        </a:spcAft>
        <a:tabLst>
          <a:tab pos="274159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4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914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3377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78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6751" indent="-19514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4431" indent="-266097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4115" indent="-15805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4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3377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78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229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674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5120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5665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6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6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oc id"/>
          <p:cNvSpPr>
            <a:spLocks noChangeArrowheads="1"/>
          </p:cNvSpPr>
          <p:nvPr/>
        </p:nvSpPr>
        <p:spPr bwMode="auto">
          <a:xfrm>
            <a:off x="8933826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00" dirty="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8467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11" r:id="rId9"/>
    <p:sldLayoutId id="2147484712" r:id="rId10"/>
    <p:sldLayoutId id="2147484713" r:id="rId11"/>
    <p:sldLayoutId id="2147484714" r:id="rId12"/>
    <p:sldLayoutId id="2147484715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/>
          </p:nvPr>
        </p:nvGraphicFramePr>
        <p:xfrm>
          <a:off x="0" y="0"/>
          <a:ext cx="175483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75483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933834" y="37255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09562" fontAlgn="auto">
              <a:spcBef>
                <a:spcPts val="0"/>
              </a:spcBef>
              <a:spcAft>
                <a:spcPts val="0"/>
              </a:spcAft>
            </a:pPr>
            <a:endParaRPr lang="en-US" sz="816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5673" y="1990687"/>
            <a:ext cx="4755582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Text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1659" y="234864"/>
            <a:ext cx="9526956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1613" y="27537"/>
            <a:ext cx="876843" cy="219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658" y="542633"/>
            <a:ext cx="9526956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31613" y="6198769"/>
            <a:ext cx="9449743" cy="526418"/>
            <a:chOff x="75" y="3827"/>
            <a:chExt cx="5385" cy="325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19279" indent="-619279" defTabSz="909562" fontAlgn="auto">
                <a:spcBef>
                  <a:spcPts val="0"/>
                </a:spcBef>
                <a:spcAft>
                  <a:spcPts val="0"/>
                </a:spcAft>
                <a:tabLst>
                  <a:tab pos="622501" algn="l"/>
                </a:tabLst>
              </a:pPr>
              <a:r>
                <a:rPr lang="en-US" sz="1020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605679" y="1072271"/>
            <a:ext cx="4713466" cy="596066"/>
            <a:chOff x="915" y="662"/>
            <a:chExt cx="2686" cy="36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62"/>
              <a:ext cx="2686" cy="36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b="1" dirty="0">
                  <a:solidFill>
                    <a:srgbClr val="000000"/>
                  </a:solidFill>
                  <a:latin typeface="Arial"/>
                  <a:ea typeface="+mn-ea"/>
                  <a:cs typeface="+mn-cs"/>
                </a:rPr>
                <a:t>Title</a:t>
              </a:r>
            </a:p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r>
                <a:rPr lang="en-US" sz="1837" dirty="0">
                  <a:solidFill>
                    <a:srgbClr val="808080"/>
                  </a:solidFill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51761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17" r:id="rId1"/>
    <p:sldLayoutId id="2147484718" r:id="rId2"/>
    <p:sldLayoutId id="2147484719" r:id="rId3"/>
    <p:sldLayoutId id="2147484720" r:id="rId4"/>
  </p:sldLayoutIdLst>
  <p:hf hdr="0" ftr="0" dt="0"/>
  <p:txStyles>
    <p:titleStyle>
      <a:lvl1pPr algn="l" defTabSz="909562" rtl="0" eaLnBrk="1" fontAlgn="base" hangingPunct="1">
        <a:spcBef>
          <a:spcPct val="0"/>
        </a:spcBef>
        <a:spcAft>
          <a:spcPct val="0"/>
        </a:spcAft>
        <a:tabLst>
          <a:tab pos="274159" algn="l"/>
        </a:tabLst>
        <a:defRPr sz="1939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44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28914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3377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57831" algn="l" defTabSz="909562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6751" indent="-19514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4431" indent="-266097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4115" indent="-158050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1712" indent="-132241" algn="l" defTabSz="90956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44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28914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3377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57831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22290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8674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51206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15665" algn="l" defTabSz="928914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png"/><Relationship Id="rId4" Type="http://schemas.openxmlformats.org/officeDocument/2006/relationships/image" Target="../media/image13.jpg"/></Relationships>
</file>

<file path=ppt/slides/_rels/slide10.xml.rels><?xml version="1.0" encoding="UTF-8" standalone="yes"?>
<Relationships xmlns="http://schemas.openxmlformats.org/package/2006/relationships"><Relationship Id="rId117" Type="http://schemas.openxmlformats.org/officeDocument/2006/relationships/tags" Target="../tags/tag584.xml"/><Relationship Id="rId21" Type="http://schemas.openxmlformats.org/officeDocument/2006/relationships/tags" Target="../tags/tag488.xml"/><Relationship Id="rId42" Type="http://schemas.openxmlformats.org/officeDocument/2006/relationships/tags" Target="../tags/tag509.xml"/><Relationship Id="rId63" Type="http://schemas.openxmlformats.org/officeDocument/2006/relationships/tags" Target="../tags/tag530.xml"/><Relationship Id="rId84" Type="http://schemas.openxmlformats.org/officeDocument/2006/relationships/tags" Target="../tags/tag551.xml"/><Relationship Id="rId138" Type="http://schemas.openxmlformats.org/officeDocument/2006/relationships/tags" Target="../tags/tag605.xml"/><Relationship Id="rId159" Type="http://schemas.openxmlformats.org/officeDocument/2006/relationships/tags" Target="../tags/tag626.xml"/><Relationship Id="rId170" Type="http://schemas.openxmlformats.org/officeDocument/2006/relationships/tags" Target="../tags/tag637.xml"/><Relationship Id="rId191" Type="http://schemas.openxmlformats.org/officeDocument/2006/relationships/tags" Target="../tags/tag658.xml"/><Relationship Id="rId205" Type="http://schemas.openxmlformats.org/officeDocument/2006/relationships/image" Target="../media/image34.emf"/><Relationship Id="rId16" Type="http://schemas.openxmlformats.org/officeDocument/2006/relationships/tags" Target="../tags/tag483.xml"/><Relationship Id="rId107" Type="http://schemas.openxmlformats.org/officeDocument/2006/relationships/tags" Target="../tags/tag574.xml"/><Relationship Id="rId11" Type="http://schemas.openxmlformats.org/officeDocument/2006/relationships/tags" Target="../tags/tag478.xml"/><Relationship Id="rId32" Type="http://schemas.openxmlformats.org/officeDocument/2006/relationships/tags" Target="../tags/tag499.xml"/><Relationship Id="rId37" Type="http://schemas.openxmlformats.org/officeDocument/2006/relationships/tags" Target="../tags/tag504.xml"/><Relationship Id="rId53" Type="http://schemas.openxmlformats.org/officeDocument/2006/relationships/tags" Target="../tags/tag520.xml"/><Relationship Id="rId58" Type="http://schemas.openxmlformats.org/officeDocument/2006/relationships/tags" Target="../tags/tag525.xml"/><Relationship Id="rId74" Type="http://schemas.openxmlformats.org/officeDocument/2006/relationships/tags" Target="../tags/tag541.xml"/><Relationship Id="rId79" Type="http://schemas.openxmlformats.org/officeDocument/2006/relationships/tags" Target="../tags/tag546.xml"/><Relationship Id="rId102" Type="http://schemas.openxmlformats.org/officeDocument/2006/relationships/tags" Target="../tags/tag569.xml"/><Relationship Id="rId123" Type="http://schemas.openxmlformats.org/officeDocument/2006/relationships/tags" Target="../tags/tag590.xml"/><Relationship Id="rId128" Type="http://schemas.openxmlformats.org/officeDocument/2006/relationships/tags" Target="../tags/tag595.xml"/><Relationship Id="rId144" Type="http://schemas.openxmlformats.org/officeDocument/2006/relationships/tags" Target="../tags/tag611.xml"/><Relationship Id="rId149" Type="http://schemas.openxmlformats.org/officeDocument/2006/relationships/tags" Target="../tags/tag616.xml"/><Relationship Id="rId5" Type="http://schemas.openxmlformats.org/officeDocument/2006/relationships/tags" Target="../tags/tag472.xml"/><Relationship Id="rId90" Type="http://schemas.openxmlformats.org/officeDocument/2006/relationships/tags" Target="../tags/tag557.xml"/><Relationship Id="rId95" Type="http://schemas.openxmlformats.org/officeDocument/2006/relationships/tags" Target="../tags/tag562.xml"/><Relationship Id="rId160" Type="http://schemas.openxmlformats.org/officeDocument/2006/relationships/tags" Target="../tags/tag627.xml"/><Relationship Id="rId165" Type="http://schemas.openxmlformats.org/officeDocument/2006/relationships/tags" Target="../tags/tag632.xml"/><Relationship Id="rId181" Type="http://schemas.openxmlformats.org/officeDocument/2006/relationships/tags" Target="../tags/tag648.xml"/><Relationship Id="rId186" Type="http://schemas.openxmlformats.org/officeDocument/2006/relationships/tags" Target="../tags/tag653.xml"/><Relationship Id="rId22" Type="http://schemas.openxmlformats.org/officeDocument/2006/relationships/tags" Target="../tags/tag489.xml"/><Relationship Id="rId27" Type="http://schemas.openxmlformats.org/officeDocument/2006/relationships/tags" Target="../tags/tag494.xml"/><Relationship Id="rId43" Type="http://schemas.openxmlformats.org/officeDocument/2006/relationships/tags" Target="../tags/tag510.xml"/><Relationship Id="rId48" Type="http://schemas.openxmlformats.org/officeDocument/2006/relationships/tags" Target="../tags/tag515.xml"/><Relationship Id="rId64" Type="http://schemas.openxmlformats.org/officeDocument/2006/relationships/tags" Target="../tags/tag531.xml"/><Relationship Id="rId69" Type="http://schemas.openxmlformats.org/officeDocument/2006/relationships/tags" Target="../tags/tag536.xml"/><Relationship Id="rId113" Type="http://schemas.openxmlformats.org/officeDocument/2006/relationships/tags" Target="../tags/tag580.xml"/><Relationship Id="rId118" Type="http://schemas.openxmlformats.org/officeDocument/2006/relationships/tags" Target="../tags/tag585.xml"/><Relationship Id="rId134" Type="http://schemas.openxmlformats.org/officeDocument/2006/relationships/tags" Target="../tags/tag601.xml"/><Relationship Id="rId139" Type="http://schemas.openxmlformats.org/officeDocument/2006/relationships/tags" Target="../tags/tag606.xml"/><Relationship Id="rId80" Type="http://schemas.openxmlformats.org/officeDocument/2006/relationships/tags" Target="../tags/tag547.xml"/><Relationship Id="rId85" Type="http://schemas.openxmlformats.org/officeDocument/2006/relationships/tags" Target="../tags/tag552.xml"/><Relationship Id="rId150" Type="http://schemas.openxmlformats.org/officeDocument/2006/relationships/tags" Target="../tags/tag617.xml"/><Relationship Id="rId155" Type="http://schemas.openxmlformats.org/officeDocument/2006/relationships/tags" Target="../tags/tag622.xml"/><Relationship Id="rId171" Type="http://schemas.openxmlformats.org/officeDocument/2006/relationships/tags" Target="../tags/tag638.xml"/><Relationship Id="rId176" Type="http://schemas.openxmlformats.org/officeDocument/2006/relationships/tags" Target="../tags/tag643.xml"/><Relationship Id="rId192" Type="http://schemas.openxmlformats.org/officeDocument/2006/relationships/tags" Target="../tags/tag659.xml"/><Relationship Id="rId197" Type="http://schemas.openxmlformats.org/officeDocument/2006/relationships/image" Target="../media/image30.emf"/><Relationship Id="rId206" Type="http://schemas.openxmlformats.org/officeDocument/2006/relationships/oleObject" Target="../embeddings/oleObject31.bin"/><Relationship Id="rId201" Type="http://schemas.openxmlformats.org/officeDocument/2006/relationships/image" Target="../media/image32.emf"/><Relationship Id="rId12" Type="http://schemas.openxmlformats.org/officeDocument/2006/relationships/tags" Target="../tags/tag479.xml"/><Relationship Id="rId17" Type="http://schemas.openxmlformats.org/officeDocument/2006/relationships/tags" Target="../tags/tag484.xml"/><Relationship Id="rId33" Type="http://schemas.openxmlformats.org/officeDocument/2006/relationships/tags" Target="../tags/tag500.xml"/><Relationship Id="rId38" Type="http://schemas.openxmlformats.org/officeDocument/2006/relationships/tags" Target="../tags/tag505.xml"/><Relationship Id="rId59" Type="http://schemas.openxmlformats.org/officeDocument/2006/relationships/tags" Target="../tags/tag526.xml"/><Relationship Id="rId103" Type="http://schemas.openxmlformats.org/officeDocument/2006/relationships/tags" Target="../tags/tag570.xml"/><Relationship Id="rId108" Type="http://schemas.openxmlformats.org/officeDocument/2006/relationships/tags" Target="../tags/tag575.xml"/><Relationship Id="rId124" Type="http://schemas.openxmlformats.org/officeDocument/2006/relationships/tags" Target="../tags/tag591.xml"/><Relationship Id="rId129" Type="http://schemas.openxmlformats.org/officeDocument/2006/relationships/tags" Target="../tags/tag596.xml"/><Relationship Id="rId54" Type="http://schemas.openxmlformats.org/officeDocument/2006/relationships/tags" Target="../tags/tag521.xml"/><Relationship Id="rId70" Type="http://schemas.openxmlformats.org/officeDocument/2006/relationships/tags" Target="../tags/tag537.xml"/><Relationship Id="rId75" Type="http://schemas.openxmlformats.org/officeDocument/2006/relationships/tags" Target="../tags/tag542.xml"/><Relationship Id="rId91" Type="http://schemas.openxmlformats.org/officeDocument/2006/relationships/tags" Target="../tags/tag558.xml"/><Relationship Id="rId96" Type="http://schemas.openxmlformats.org/officeDocument/2006/relationships/tags" Target="../tags/tag563.xml"/><Relationship Id="rId140" Type="http://schemas.openxmlformats.org/officeDocument/2006/relationships/tags" Target="../tags/tag607.xml"/><Relationship Id="rId145" Type="http://schemas.openxmlformats.org/officeDocument/2006/relationships/tags" Target="../tags/tag612.xml"/><Relationship Id="rId161" Type="http://schemas.openxmlformats.org/officeDocument/2006/relationships/tags" Target="../tags/tag628.xml"/><Relationship Id="rId166" Type="http://schemas.openxmlformats.org/officeDocument/2006/relationships/tags" Target="../tags/tag633.xml"/><Relationship Id="rId182" Type="http://schemas.openxmlformats.org/officeDocument/2006/relationships/tags" Target="../tags/tag649.xml"/><Relationship Id="rId187" Type="http://schemas.openxmlformats.org/officeDocument/2006/relationships/tags" Target="../tags/tag65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73.xml"/><Relationship Id="rId23" Type="http://schemas.openxmlformats.org/officeDocument/2006/relationships/tags" Target="../tags/tag490.xml"/><Relationship Id="rId28" Type="http://schemas.openxmlformats.org/officeDocument/2006/relationships/tags" Target="../tags/tag495.xml"/><Relationship Id="rId49" Type="http://schemas.openxmlformats.org/officeDocument/2006/relationships/tags" Target="../tags/tag516.xml"/><Relationship Id="rId114" Type="http://schemas.openxmlformats.org/officeDocument/2006/relationships/tags" Target="../tags/tag581.xml"/><Relationship Id="rId119" Type="http://schemas.openxmlformats.org/officeDocument/2006/relationships/tags" Target="../tags/tag586.xml"/><Relationship Id="rId44" Type="http://schemas.openxmlformats.org/officeDocument/2006/relationships/tags" Target="../tags/tag511.xml"/><Relationship Id="rId60" Type="http://schemas.openxmlformats.org/officeDocument/2006/relationships/tags" Target="../tags/tag527.xml"/><Relationship Id="rId65" Type="http://schemas.openxmlformats.org/officeDocument/2006/relationships/tags" Target="../tags/tag532.xml"/><Relationship Id="rId81" Type="http://schemas.openxmlformats.org/officeDocument/2006/relationships/tags" Target="../tags/tag548.xml"/><Relationship Id="rId86" Type="http://schemas.openxmlformats.org/officeDocument/2006/relationships/tags" Target="../tags/tag553.xml"/><Relationship Id="rId130" Type="http://schemas.openxmlformats.org/officeDocument/2006/relationships/tags" Target="../tags/tag597.xml"/><Relationship Id="rId135" Type="http://schemas.openxmlformats.org/officeDocument/2006/relationships/tags" Target="../tags/tag602.xml"/><Relationship Id="rId151" Type="http://schemas.openxmlformats.org/officeDocument/2006/relationships/tags" Target="../tags/tag618.xml"/><Relationship Id="rId156" Type="http://schemas.openxmlformats.org/officeDocument/2006/relationships/tags" Target="../tags/tag623.xml"/><Relationship Id="rId177" Type="http://schemas.openxmlformats.org/officeDocument/2006/relationships/tags" Target="../tags/tag644.xml"/><Relationship Id="rId198" Type="http://schemas.openxmlformats.org/officeDocument/2006/relationships/oleObject" Target="../embeddings/oleObject27.bin"/><Relationship Id="rId172" Type="http://schemas.openxmlformats.org/officeDocument/2006/relationships/tags" Target="../tags/tag639.xml"/><Relationship Id="rId193" Type="http://schemas.openxmlformats.org/officeDocument/2006/relationships/tags" Target="../tags/tag660.xml"/><Relationship Id="rId202" Type="http://schemas.openxmlformats.org/officeDocument/2006/relationships/oleObject" Target="../embeddings/oleObject29.bin"/><Relationship Id="rId207" Type="http://schemas.openxmlformats.org/officeDocument/2006/relationships/image" Target="../media/image35.emf"/><Relationship Id="rId13" Type="http://schemas.openxmlformats.org/officeDocument/2006/relationships/tags" Target="../tags/tag480.xml"/><Relationship Id="rId18" Type="http://schemas.openxmlformats.org/officeDocument/2006/relationships/tags" Target="../tags/tag485.xml"/><Relationship Id="rId39" Type="http://schemas.openxmlformats.org/officeDocument/2006/relationships/tags" Target="../tags/tag506.xml"/><Relationship Id="rId109" Type="http://schemas.openxmlformats.org/officeDocument/2006/relationships/tags" Target="../tags/tag576.xml"/><Relationship Id="rId34" Type="http://schemas.openxmlformats.org/officeDocument/2006/relationships/tags" Target="../tags/tag501.xml"/><Relationship Id="rId50" Type="http://schemas.openxmlformats.org/officeDocument/2006/relationships/tags" Target="../tags/tag517.xml"/><Relationship Id="rId55" Type="http://schemas.openxmlformats.org/officeDocument/2006/relationships/tags" Target="../tags/tag522.xml"/><Relationship Id="rId76" Type="http://schemas.openxmlformats.org/officeDocument/2006/relationships/tags" Target="../tags/tag543.xml"/><Relationship Id="rId97" Type="http://schemas.openxmlformats.org/officeDocument/2006/relationships/tags" Target="../tags/tag564.xml"/><Relationship Id="rId104" Type="http://schemas.openxmlformats.org/officeDocument/2006/relationships/tags" Target="../tags/tag571.xml"/><Relationship Id="rId120" Type="http://schemas.openxmlformats.org/officeDocument/2006/relationships/tags" Target="../tags/tag587.xml"/><Relationship Id="rId125" Type="http://schemas.openxmlformats.org/officeDocument/2006/relationships/tags" Target="../tags/tag592.xml"/><Relationship Id="rId141" Type="http://schemas.openxmlformats.org/officeDocument/2006/relationships/tags" Target="../tags/tag608.xml"/><Relationship Id="rId146" Type="http://schemas.openxmlformats.org/officeDocument/2006/relationships/tags" Target="../tags/tag613.xml"/><Relationship Id="rId167" Type="http://schemas.openxmlformats.org/officeDocument/2006/relationships/tags" Target="../tags/tag634.xml"/><Relationship Id="rId188" Type="http://schemas.openxmlformats.org/officeDocument/2006/relationships/tags" Target="../tags/tag655.xml"/><Relationship Id="rId7" Type="http://schemas.openxmlformats.org/officeDocument/2006/relationships/tags" Target="../tags/tag474.xml"/><Relationship Id="rId71" Type="http://schemas.openxmlformats.org/officeDocument/2006/relationships/tags" Target="../tags/tag538.xml"/><Relationship Id="rId92" Type="http://schemas.openxmlformats.org/officeDocument/2006/relationships/tags" Target="../tags/tag559.xml"/><Relationship Id="rId162" Type="http://schemas.openxmlformats.org/officeDocument/2006/relationships/tags" Target="../tags/tag629.xml"/><Relationship Id="rId183" Type="http://schemas.openxmlformats.org/officeDocument/2006/relationships/tags" Target="../tags/tag650.xml"/><Relationship Id="rId2" Type="http://schemas.openxmlformats.org/officeDocument/2006/relationships/tags" Target="../tags/tag469.xml"/><Relationship Id="rId29" Type="http://schemas.openxmlformats.org/officeDocument/2006/relationships/tags" Target="../tags/tag496.xml"/><Relationship Id="rId24" Type="http://schemas.openxmlformats.org/officeDocument/2006/relationships/tags" Target="../tags/tag491.xml"/><Relationship Id="rId40" Type="http://schemas.openxmlformats.org/officeDocument/2006/relationships/tags" Target="../tags/tag507.xml"/><Relationship Id="rId45" Type="http://schemas.openxmlformats.org/officeDocument/2006/relationships/tags" Target="../tags/tag512.xml"/><Relationship Id="rId66" Type="http://schemas.openxmlformats.org/officeDocument/2006/relationships/tags" Target="../tags/tag533.xml"/><Relationship Id="rId87" Type="http://schemas.openxmlformats.org/officeDocument/2006/relationships/tags" Target="../tags/tag554.xml"/><Relationship Id="rId110" Type="http://schemas.openxmlformats.org/officeDocument/2006/relationships/tags" Target="../tags/tag577.xml"/><Relationship Id="rId115" Type="http://schemas.openxmlformats.org/officeDocument/2006/relationships/tags" Target="../tags/tag582.xml"/><Relationship Id="rId131" Type="http://schemas.openxmlformats.org/officeDocument/2006/relationships/tags" Target="../tags/tag598.xml"/><Relationship Id="rId136" Type="http://schemas.openxmlformats.org/officeDocument/2006/relationships/tags" Target="../tags/tag603.xml"/><Relationship Id="rId157" Type="http://schemas.openxmlformats.org/officeDocument/2006/relationships/tags" Target="../tags/tag624.xml"/><Relationship Id="rId178" Type="http://schemas.openxmlformats.org/officeDocument/2006/relationships/tags" Target="../tags/tag645.xml"/><Relationship Id="rId61" Type="http://schemas.openxmlformats.org/officeDocument/2006/relationships/tags" Target="../tags/tag528.xml"/><Relationship Id="rId82" Type="http://schemas.openxmlformats.org/officeDocument/2006/relationships/tags" Target="../tags/tag549.xml"/><Relationship Id="rId152" Type="http://schemas.openxmlformats.org/officeDocument/2006/relationships/tags" Target="../tags/tag619.xml"/><Relationship Id="rId173" Type="http://schemas.openxmlformats.org/officeDocument/2006/relationships/tags" Target="../tags/tag640.xml"/><Relationship Id="rId194" Type="http://schemas.openxmlformats.org/officeDocument/2006/relationships/slideLayout" Target="../slideLayouts/slideLayout52.xml"/><Relationship Id="rId199" Type="http://schemas.openxmlformats.org/officeDocument/2006/relationships/image" Target="../media/image31.emf"/><Relationship Id="rId203" Type="http://schemas.openxmlformats.org/officeDocument/2006/relationships/image" Target="../media/image33.emf"/><Relationship Id="rId208" Type="http://schemas.openxmlformats.org/officeDocument/2006/relationships/oleObject" Target="../embeddings/oleObject32.bin"/><Relationship Id="rId19" Type="http://schemas.openxmlformats.org/officeDocument/2006/relationships/tags" Target="../tags/tag486.xml"/><Relationship Id="rId14" Type="http://schemas.openxmlformats.org/officeDocument/2006/relationships/tags" Target="../tags/tag481.xml"/><Relationship Id="rId30" Type="http://schemas.openxmlformats.org/officeDocument/2006/relationships/tags" Target="../tags/tag497.xml"/><Relationship Id="rId35" Type="http://schemas.openxmlformats.org/officeDocument/2006/relationships/tags" Target="../tags/tag502.xml"/><Relationship Id="rId56" Type="http://schemas.openxmlformats.org/officeDocument/2006/relationships/tags" Target="../tags/tag523.xml"/><Relationship Id="rId77" Type="http://schemas.openxmlformats.org/officeDocument/2006/relationships/tags" Target="../tags/tag544.xml"/><Relationship Id="rId100" Type="http://schemas.openxmlformats.org/officeDocument/2006/relationships/tags" Target="../tags/tag567.xml"/><Relationship Id="rId105" Type="http://schemas.openxmlformats.org/officeDocument/2006/relationships/tags" Target="../tags/tag572.xml"/><Relationship Id="rId126" Type="http://schemas.openxmlformats.org/officeDocument/2006/relationships/tags" Target="../tags/tag593.xml"/><Relationship Id="rId147" Type="http://schemas.openxmlformats.org/officeDocument/2006/relationships/tags" Target="../tags/tag614.xml"/><Relationship Id="rId168" Type="http://schemas.openxmlformats.org/officeDocument/2006/relationships/tags" Target="../tags/tag635.xml"/><Relationship Id="rId8" Type="http://schemas.openxmlformats.org/officeDocument/2006/relationships/tags" Target="../tags/tag475.xml"/><Relationship Id="rId51" Type="http://schemas.openxmlformats.org/officeDocument/2006/relationships/tags" Target="../tags/tag518.xml"/><Relationship Id="rId72" Type="http://schemas.openxmlformats.org/officeDocument/2006/relationships/tags" Target="../tags/tag539.xml"/><Relationship Id="rId93" Type="http://schemas.openxmlformats.org/officeDocument/2006/relationships/tags" Target="../tags/tag560.xml"/><Relationship Id="rId98" Type="http://schemas.openxmlformats.org/officeDocument/2006/relationships/tags" Target="../tags/tag565.xml"/><Relationship Id="rId121" Type="http://schemas.openxmlformats.org/officeDocument/2006/relationships/tags" Target="../tags/tag588.xml"/><Relationship Id="rId142" Type="http://schemas.openxmlformats.org/officeDocument/2006/relationships/tags" Target="../tags/tag609.xml"/><Relationship Id="rId163" Type="http://schemas.openxmlformats.org/officeDocument/2006/relationships/tags" Target="../tags/tag630.xml"/><Relationship Id="rId184" Type="http://schemas.openxmlformats.org/officeDocument/2006/relationships/tags" Target="../tags/tag651.xml"/><Relationship Id="rId189" Type="http://schemas.openxmlformats.org/officeDocument/2006/relationships/tags" Target="../tags/tag656.xml"/><Relationship Id="rId3" Type="http://schemas.openxmlformats.org/officeDocument/2006/relationships/tags" Target="../tags/tag470.xml"/><Relationship Id="rId25" Type="http://schemas.openxmlformats.org/officeDocument/2006/relationships/tags" Target="../tags/tag492.xml"/><Relationship Id="rId46" Type="http://schemas.openxmlformats.org/officeDocument/2006/relationships/tags" Target="../tags/tag513.xml"/><Relationship Id="rId67" Type="http://schemas.openxmlformats.org/officeDocument/2006/relationships/tags" Target="../tags/tag534.xml"/><Relationship Id="rId116" Type="http://schemas.openxmlformats.org/officeDocument/2006/relationships/tags" Target="../tags/tag583.xml"/><Relationship Id="rId137" Type="http://schemas.openxmlformats.org/officeDocument/2006/relationships/tags" Target="../tags/tag604.xml"/><Relationship Id="rId158" Type="http://schemas.openxmlformats.org/officeDocument/2006/relationships/tags" Target="../tags/tag625.xml"/><Relationship Id="rId20" Type="http://schemas.openxmlformats.org/officeDocument/2006/relationships/tags" Target="../tags/tag487.xml"/><Relationship Id="rId41" Type="http://schemas.openxmlformats.org/officeDocument/2006/relationships/tags" Target="../tags/tag508.xml"/><Relationship Id="rId62" Type="http://schemas.openxmlformats.org/officeDocument/2006/relationships/tags" Target="../tags/tag529.xml"/><Relationship Id="rId83" Type="http://schemas.openxmlformats.org/officeDocument/2006/relationships/tags" Target="../tags/tag550.xml"/><Relationship Id="rId88" Type="http://schemas.openxmlformats.org/officeDocument/2006/relationships/tags" Target="../tags/tag555.xml"/><Relationship Id="rId111" Type="http://schemas.openxmlformats.org/officeDocument/2006/relationships/tags" Target="../tags/tag578.xml"/><Relationship Id="rId132" Type="http://schemas.openxmlformats.org/officeDocument/2006/relationships/tags" Target="../tags/tag599.xml"/><Relationship Id="rId153" Type="http://schemas.openxmlformats.org/officeDocument/2006/relationships/tags" Target="../tags/tag620.xml"/><Relationship Id="rId174" Type="http://schemas.openxmlformats.org/officeDocument/2006/relationships/tags" Target="../tags/tag641.xml"/><Relationship Id="rId179" Type="http://schemas.openxmlformats.org/officeDocument/2006/relationships/tags" Target="../tags/tag646.xml"/><Relationship Id="rId195" Type="http://schemas.openxmlformats.org/officeDocument/2006/relationships/notesSlide" Target="../notesSlides/notesSlide2.xml"/><Relationship Id="rId209" Type="http://schemas.openxmlformats.org/officeDocument/2006/relationships/image" Target="../media/image36.emf"/><Relationship Id="rId190" Type="http://schemas.openxmlformats.org/officeDocument/2006/relationships/tags" Target="../tags/tag657.xml"/><Relationship Id="rId204" Type="http://schemas.openxmlformats.org/officeDocument/2006/relationships/oleObject" Target="../embeddings/oleObject30.bin"/><Relationship Id="rId15" Type="http://schemas.openxmlformats.org/officeDocument/2006/relationships/tags" Target="../tags/tag482.xml"/><Relationship Id="rId36" Type="http://schemas.openxmlformats.org/officeDocument/2006/relationships/tags" Target="../tags/tag503.xml"/><Relationship Id="rId57" Type="http://schemas.openxmlformats.org/officeDocument/2006/relationships/tags" Target="../tags/tag524.xml"/><Relationship Id="rId106" Type="http://schemas.openxmlformats.org/officeDocument/2006/relationships/tags" Target="../tags/tag573.xml"/><Relationship Id="rId127" Type="http://schemas.openxmlformats.org/officeDocument/2006/relationships/tags" Target="../tags/tag594.xml"/><Relationship Id="rId10" Type="http://schemas.openxmlformats.org/officeDocument/2006/relationships/tags" Target="../tags/tag477.xml"/><Relationship Id="rId31" Type="http://schemas.openxmlformats.org/officeDocument/2006/relationships/tags" Target="../tags/tag498.xml"/><Relationship Id="rId52" Type="http://schemas.openxmlformats.org/officeDocument/2006/relationships/tags" Target="../tags/tag519.xml"/><Relationship Id="rId73" Type="http://schemas.openxmlformats.org/officeDocument/2006/relationships/tags" Target="../tags/tag540.xml"/><Relationship Id="rId78" Type="http://schemas.openxmlformats.org/officeDocument/2006/relationships/tags" Target="../tags/tag545.xml"/><Relationship Id="rId94" Type="http://schemas.openxmlformats.org/officeDocument/2006/relationships/tags" Target="../tags/tag561.xml"/><Relationship Id="rId99" Type="http://schemas.openxmlformats.org/officeDocument/2006/relationships/tags" Target="../tags/tag566.xml"/><Relationship Id="rId101" Type="http://schemas.openxmlformats.org/officeDocument/2006/relationships/tags" Target="../tags/tag568.xml"/><Relationship Id="rId122" Type="http://schemas.openxmlformats.org/officeDocument/2006/relationships/tags" Target="../tags/tag589.xml"/><Relationship Id="rId143" Type="http://schemas.openxmlformats.org/officeDocument/2006/relationships/tags" Target="../tags/tag610.xml"/><Relationship Id="rId148" Type="http://schemas.openxmlformats.org/officeDocument/2006/relationships/tags" Target="../tags/tag615.xml"/><Relationship Id="rId164" Type="http://schemas.openxmlformats.org/officeDocument/2006/relationships/tags" Target="../tags/tag631.xml"/><Relationship Id="rId169" Type="http://schemas.openxmlformats.org/officeDocument/2006/relationships/tags" Target="../tags/tag636.xml"/><Relationship Id="rId185" Type="http://schemas.openxmlformats.org/officeDocument/2006/relationships/tags" Target="../tags/tag652.xml"/><Relationship Id="rId4" Type="http://schemas.openxmlformats.org/officeDocument/2006/relationships/tags" Target="../tags/tag471.xml"/><Relationship Id="rId9" Type="http://schemas.openxmlformats.org/officeDocument/2006/relationships/tags" Target="../tags/tag476.xml"/><Relationship Id="rId180" Type="http://schemas.openxmlformats.org/officeDocument/2006/relationships/tags" Target="../tags/tag647.xml"/><Relationship Id="rId26" Type="http://schemas.openxmlformats.org/officeDocument/2006/relationships/tags" Target="../tags/tag493.xml"/><Relationship Id="rId47" Type="http://schemas.openxmlformats.org/officeDocument/2006/relationships/tags" Target="../tags/tag514.xml"/><Relationship Id="rId68" Type="http://schemas.openxmlformats.org/officeDocument/2006/relationships/tags" Target="../tags/tag535.xml"/><Relationship Id="rId89" Type="http://schemas.openxmlformats.org/officeDocument/2006/relationships/tags" Target="../tags/tag556.xml"/><Relationship Id="rId112" Type="http://schemas.openxmlformats.org/officeDocument/2006/relationships/tags" Target="../tags/tag579.xml"/><Relationship Id="rId133" Type="http://schemas.openxmlformats.org/officeDocument/2006/relationships/tags" Target="../tags/tag600.xml"/><Relationship Id="rId154" Type="http://schemas.openxmlformats.org/officeDocument/2006/relationships/tags" Target="../tags/tag621.xml"/><Relationship Id="rId175" Type="http://schemas.openxmlformats.org/officeDocument/2006/relationships/tags" Target="../tags/tag642.xml"/><Relationship Id="rId196" Type="http://schemas.openxmlformats.org/officeDocument/2006/relationships/oleObject" Target="../embeddings/oleObject26.bin"/><Relationship Id="rId200" Type="http://schemas.openxmlformats.org/officeDocument/2006/relationships/oleObject" Target="../embeddings/oleObject28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662.xml"/><Relationship Id="rId7" Type="http://schemas.openxmlformats.org/officeDocument/2006/relationships/image" Target="../media/image15.emf"/><Relationship Id="rId12" Type="http://schemas.openxmlformats.org/officeDocument/2006/relationships/image" Target="../media/image41.jpeg"/><Relationship Id="rId2" Type="http://schemas.openxmlformats.org/officeDocument/2006/relationships/tags" Target="../tags/tag661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33.bin"/><Relationship Id="rId11" Type="http://schemas.openxmlformats.org/officeDocument/2006/relationships/image" Target="../media/image40.jpe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9.jpeg"/><Relationship Id="rId4" Type="http://schemas.openxmlformats.org/officeDocument/2006/relationships/slideLayout" Target="../slideLayouts/slideLayout51.xml"/><Relationship Id="rId9" Type="http://schemas.openxmlformats.org/officeDocument/2006/relationships/image" Target="../media/image38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674.xml"/><Relationship Id="rId18" Type="http://schemas.openxmlformats.org/officeDocument/2006/relationships/tags" Target="../tags/tag679.xml"/><Relationship Id="rId26" Type="http://schemas.openxmlformats.org/officeDocument/2006/relationships/tags" Target="../tags/tag687.xml"/><Relationship Id="rId39" Type="http://schemas.openxmlformats.org/officeDocument/2006/relationships/oleObject" Target="../embeddings/oleObject35.bin"/><Relationship Id="rId3" Type="http://schemas.openxmlformats.org/officeDocument/2006/relationships/tags" Target="../tags/tag664.xml"/><Relationship Id="rId21" Type="http://schemas.openxmlformats.org/officeDocument/2006/relationships/tags" Target="../tags/tag682.xml"/><Relationship Id="rId34" Type="http://schemas.openxmlformats.org/officeDocument/2006/relationships/tags" Target="../tags/tag695.xml"/><Relationship Id="rId42" Type="http://schemas.openxmlformats.org/officeDocument/2006/relationships/image" Target="../media/image43.emf"/><Relationship Id="rId47" Type="http://schemas.openxmlformats.org/officeDocument/2006/relationships/image" Target="../media/image48.png"/><Relationship Id="rId50" Type="http://schemas.openxmlformats.org/officeDocument/2006/relationships/image" Target="../media/image51.png"/><Relationship Id="rId7" Type="http://schemas.openxmlformats.org/officeDocument/2006/relationships/tags" Target="../tags/tag668.xml"/><Relationship Id="rId12" Type="http://schemas.openxmlformats.org/officeDocument/2006/relationships/tags" Target="../tags/tag673.xml"/><Relationship Id="rId17" Type="http://schemas.openxmlformats.org/officeDocument/2006/relationships/tags" Target="../tags/tag678.xml"/><Relationship Id="rId25" Type="http://schemas.openxmlformats.org/officeDocument/2006/relationships/tags" Target="../tags/tag686.xml"/><Relationship Id="rId33" Type="http://schemas.openxmlformats.org/officeDocument/2006/relationships/tags" Target="../tags/tag694.xml"/><Relationship Id="rId38" Type="http://schemas.openxmlformats.org/officeDocument/2006/relationships/image" Target="../media/image15.emf"/><Relationship Id="rId46" Type="http://schemas.openxmlformats.org/officeDocument/2006/relationships/image" Target="../media/image47.png"/><Relationship Id="rId2" Type="http://schemas.openxmlformats.org/officeDocument/2006/relationships/tags" Target="../tags/tag663.xml"/><Relationship Id="rId16" Type="http://schemas.openxmlformats.org/officeDocument/2006/relationships/tags" Target="../tags/tag677.xml"/><Relationship Id="rId20" Type="http://schemas.openxmlformats.org/officeDocument/2006/relationships/tags" Target="../tags/tag681.xml"/><Relationship Id="rId29" Type="http://schemas.openxmlformats.org/officeDocument/2006/relationships/tags" Target="../tags/tag690.xml"/><Relationship Id="rId41" Type="http://schemas.openxmlformats.org/officeDocument/2006/relationships/oleObject" Target="../embeddings/oleObject36.bin"/><Relationship Id="rId1" Type="http://schemas.openxmlformats.org/officeDocument/2006/relationships/vmlDrawing" Target="../drawings/vmlDrawing28.vml"/><Relationship Id="rId6" Type="http://schemas.openxmlformats.org/officeDocument/2006/relationships/tags" Target="../tags/tag667.xml"/><Relationship Id="rId11" Type="http://schemas.openxmlformats.org/officeDocument/2006/relationships/tags" Target="../tags/tag672.xml"/><Relationship Id="rId24" Type="http://schemas.openxmlformats.org/officeDocument/2006/relationships/tags" Target="../tags/tag685.xml"/><Relationship Id="rId32" Type="http://schemas.openxmlformats.org/officeDocument/2006/relationships/tags" Target="../tags/tag693.xml"/><Relationship Id="rId37" Type="http://schemas.openxmlformats.org/officeDocument/2006/relationships/oleObject" Target="../embeddings/oleObject34.bin"/><Relationship Id="rId40" Type="http://schemas.openxmlformats.org/officeDocument/2006/relationships/image" Target="../media/image42.emf"/><Relationship Id="rId45" Type="http://schemas.openxmlformats.org/officeDocument/2006/relationships/image" Target="../media/image46.png"/><Relationship Id="rId53" Type="http://schemas.openxmlformats.org/officeDocument/2006/relationships/image" Target="../media/image54.png"/><Relationship Id="rId5" Type="http://schemas.openxmlformats.org/officeDocument/2006/relationships/tags" Target="../tags/tag666.xml"/><Relationship Id="rId15" Type="http://schemas.openxmlformats.org/officeDocument/2006/relationships/tags" Target="../tags/tag676.xml"/><Relationship Id="rId23" Type="http://schemas.openxmlformats.org/officeDocument/2006/relationships/tags" Target="../tags/tag684.xml"/><Relationship Id="rId28" Type="http://schemas.openxmlformats.org/officeDocument/2006/relationships/tags" Target="../tags/tag689.xml"/><Relationship Id="rId36" Type="http://schemas.openxmlformats.org/officeDocument/2006/relationships/notesSlide" Target="../notesSlides/notesSlide4.xml"/><Relationship Id="rId49" Type="http://schemas.openxmlformats.org/officeDocument/2006/relationships/image" Target="../media/image50.png"/><Relationship Id="rId10" Type="http://schemas.openxmlformats.org/officeDocument/2006/relationships/tags" Target="../tags/tag671.xml"/><Relationship Id="rId19" Type="http://schemas.openxmlformats.org/officeDocument/2006/relationships/tags" Target="../tags/tag680.xml"/><Relationship Id="rId31" Type="http://schemas.openxmlformats.org/officeDocument/2006/relationships/tags" Target="../tags/tag692.xml"/><Relationship Id="rId44" Type="http://schemas.openxmlformats.org/officeDocument/2006/relationships/image" Target="../media/image45.png"/><Relationship Id="rId52" Type="http://schemas.openxmlformats.org/officeDocument/2006/relationships/image" Target="../media/image53.png"/><Relationship Id="rId4" Type="http://schemas.openxmlformats.org/officeDocument/2006/relationships/tags" Target="../tags/tag665.xml"/><Relationship Id="rId9" Type="http://schemas.openxmlformats.org/officeDocument/2006/relationships/tags" Target="../tags/tag670.xml"/><Relationship Id="rId14" Type="http://schemas.openxmlformats.org/officeDocument/2006/relationships/tags" Target="../tags/tag675.xml"/><Relationship Id="rId22" Type="http://schemas.openxmlformats.org/officeDocument/2006/relationships/tags" Target="../tags/tag683.xml"/><Relationship Id="rId27" Type="http://schemas.openxmlformats.org/officeDocument/2006/relationships/tags" Target="../tags/tag688.xml"/><Relationship Id="rId30" Type="http://schemas.openxmlformats.org/officeDocument/2006/relationships/tags" Target="../tags/tag691.xml"/><Relationship Id="rId35" Type="http://schemas.openxmlformats.org/officeDocument/2006/relationships/slideLayout" Target="../slideLayouts/slideLayout51.xml"/><Relationship Id="rId43" Type="http://schemas.openxmlformats.org/officeDocument/2006/relationships/image" Target="../media/image44.png"/><Relationship Id="rId48" Type="http://schemas.openxmlformats.org/officeDocument/2006/relationships/image" Target="../media/image49.png"/><Relationship Id="rId8" Type="http://schemas.openxmlformats.org/officeDocument/2006/relationships/tags" Target="../tags/tag669.xml"/><Relationship Id="rId51" Type="http://schemas.openxmlformats.org/officeDocument/2006/relationships/image" Target="../media/image52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7.png"/><Relationship Id="rId18" Type="http://schemas.openxmlformats.org/officeDocument/2006/relationships/image" Target="../media/image60.png"/><Relationship Id="rId26" Type="http://schemas.openxmlformats.org/officeDocument/2006/relationships/image" Target="../media/image64.png"/><Relationship Id="rId39" Type="http://schemas.openxmlformats.org/officeDocument/2006/relationships/image" Target="../media/image71.png"/><Relationship Id="rId3" Type="http://schemas.openxmlformats.org/officeDocument/2006/relationships/tags" Target="../tags/tag697.xml"/><Relationship Id="rId21" Type="http://schemas.microsoft.com/office/2007/relationships/hdphoto" Target="../media/hdphoto8.wdp"/><Relationship Id="rId34" Type="http://schemas.openxmlformats.org/officeDocument/2006/relationships/image" Target="../media/image68.png"/><Relationship Id="rId42" Type="http://schemas.openxmlformats.org/officeDocument/2006/relationships/image" Target="../media/image74.jpeg"/><Relationship Id="rId47" Type="http://schemas.openxmlformats.org/officeDocument/2006/relationships/image" Target="../media/image79.jpeg"/><Relationship Id="rId50" Type="http://schemas.openxmlformats.org/officeDocument/2006/relationships/image" Target="../media/image82.jpeg"/><Relationship Id="rId7" Type="http://schemas.openxmlformats.org/officeDocument/2006/relationships/oleObject" Target="../embeddings/oleObject37.bin"/><Relationship Id="rId12" Type="http://schemas.microsoft.com/office/2007/relationships/hdphoto" Target="../media/hdphoto4.wdp"/><Relationship Id="rId17" Type="http://schemas.openxmlformats.org/officeDocument/2006/relationships/image" Target="../media/image59.png"/><Relationship Id="rId25" Type="http://schemas.microsoft.com/office/2007/relationships/hdphoto" Target="../media/hdphoto10.wdp"/><Relationship Id="rId33" Type="http://schemas.microsoft.com/office/2007/relationships/hdphoto" Target="../media/hdphoto14.wdp"/><Relationship Id="rId38" Type="http://schemas.openxmlformats.org/officeDocument/2006/relationships/image" Target="../media/image70.png"/><Relationship Id="rId46" Type="http://schemas.openxmlformats.org/officeDocument/2006/relationships/image" Target="../media/image78.jpeg"/><Relationship Id="rId2" Type="http://schemas.openxmlformats.org/officeDocument/2006/relationships/tags" Target="../tags/tag696.xml"/><Relationship Id="rId16" Type="http://schemas.microsoft.com/office/2007/relationships/hdphoto" Target="../media/hdphoto6.wdp"/><Relationship Id="rId20" Type="http://schemas.openxmlformats.org/officeDocument/2006/relationships/image" Target="../media/image61.png"/><Relationship Id="rId29" Type="http://schemas.microsoft.com/office/2007/relationships/hdphoto" Target="../media/hdphoto12.wdp"/><Relationship Id="rId41" Type="http://schemas.openxmlformats.org/officeDocument/2006/relationships/image" Target="../media/image73.jpeg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5.xml"/><Relationship Id="rId11" Type="http://schemas.openxmlformats.org/officeDocument/2006/relationships/image" Target="../media/image56.png"/><Relationship Id="rId24" Type="http://schemas.openxmlformats.org/officeDocument/2006/relationships/image" Target="../media/image63.png"/><Relationship Id="rId32" Type="http://schemas.openxmlformats.org/officeDocument/2006/relationships/image" Target="../media/image67.png"/><Relationship Id="rId37" Type="http://schemas.microsoft.com/office/2007/relationships/hdphoto" Target="../media/hdphoto16.wdp"/><Relationship Id="rId40" Type="http://schemas.openxmlformats.org/officeDocument/2006/relationships/image" Target="../media/image72.jpeg"/><Relationship Id="rId45" Type="http://schemas.openxmlformats.org/officeDocument/2006/relationships/image" Target="../media/image77.jpeg"/><Relationship Id="rId5" Type="http://schemas.openxmlformats.org/officeDocument/2006/relationships/slideLayout" Target="../slideLayouts/slideLayout51.xml"/><Relationship Id="rId15" Type="http://schemas.openxmlformats.org/officeDocument/2006/relationships/image" Target="../media/image58.png"/><Relationship Id="rId23" Type="http://schemas.microsoft.com/office/2007/relationships/hdphoto" Target="../media/hdphoto9.wdp"/><Relationship Id="rId28" Type="http://schemas.openxmlformats.org/officeDocument/2006/relationships/image" Target="../media/image65.png"/><Relationship Id="rId36" Type="http://schemas.openxmlformats.org/officeDocument/2006/relationships/image" Target="../media/image69.png"/><Relationship Id="rId49" Type="http://schemas.openxmlformats.org/officeDocument/2006/relationships/image" Target="../media/image81.jpeg"/><Relationship Id="rId10" Type="http://schemas.microsoft.com/office/2007/relationships/hdphoto" Target="../media/hdphoto3.wdp"/><Relationship Id="rId19" Type="http://schemas.microsoft.com/office/2007/relationships/hdphoto" Target="../media/hdphoto7.wdp"/><Relationship Id="rId31" Type="http://schemas.microsoft.com/office/2007/relationships/hdphoto" Target="../media/hdphoto13.wdp"/><Relationship Id="rId44" Type="http://schemas.openxmlformats.org/officeDocument/2006/relationships/image" Target="../media/image76.jpeg"/><Relationship Id="rId4" Type="http://schemas.openxmlformats.org/officeDocument/2006/relationships/tags" Target="../tags/tag698.xml"/><Relationship Id="rId9" Type="http://schemas.openxmlformats.org/officeDocument/2006/relationships/image" Target="../media/image55.png"/><Relationship Id="rId14" Type="http://schemas.microsoft.com/office/2007/relationships/hdphoto" Target="../media/hdphoto5.wdp"/><Relationship Id="rId22" Type="http://schemas.openxmlformats.org/officeDocument/2006/relationships/image" Target="../media/image62.png"/><Relationship Id="rId27" Type="http://schemas.microsoft.com/office/2007/relationships/hdphoto" Target="../media/hdphoto11.wdp"/><Relationship Id="rId30" Type="http://schemas.openxmlformats.org/officeDocument/2006/relationships/image" Target="../media/image66.png"/><Relationship Id="rId35" Type="http://schemas.microsoft.com/office/2007/relationships/hdphoto" Target="../media/hdphoto15.wdp"/><Relationship Id="rId43" Type="http://schemas.openxmlformats.org/officeDocument/2006/relationships/image" Target="../media/image75.jpeg"/><Relationship Id="rId48" Type="http://schemas.openxmlformats.org/officeDocument/2006/relationships/image" Target="../media/image80.jpeg"/><Relationship Id="rId8" Type="http://schemas.openxmlformats.org/officeDocument/2006/relationships/image" Target="../media/image10.emf"/><Relationship Id="rId51" Type="http://schemas.openxmlformats.org/officeDocument/2006/relationships/image" Target="../media/image83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705.xml"/><Relationship Id="rId13" Type="http://schemas.openxmlformats.org/officeDocument/2006/relationships/image" Target="../media/image10.emf"/><Relationship Id="rId18" Type="http://schemas.openxmlformats.org/officeDocument/2006/relationships/image" Target="../media/image85.png"/><Relationship Id="rId26" Type="http://schemas.openxmlformats.org/officeDocument/2006/relationships/image" Target="../media/image89.png"/><Relationship Id="rId3" Type="http://schemas.openxmlformats.org/officeDocument/2006/relationships/tags" Target="../tags/tag700.xml"/><Relationship Id="rId21" Type="http://schemas.microsoft.com/office/2007/relationships/hdphoto" Target="../media/hdphoto19.wdp"/><Relationship Id="rId7" Type="http://schemas.openxmlformats.org/officeDocument/2006/relationships/tags" Target="../tags/tag704.xml"/><Relationship Id="rId12" Type="http://schemas.openxmlformats.org/officeDocument/2006/relationships/oleObject" Target="../embeddings/oleObject38.bin"/><Relationship Id="rId17" Type="http://schemas.microsoft.com/office/2007/relationships/hdphoto" Target="../media/hdphoto17.wdp"/><Relationship Id="rId25" Type="http://schemas.microsoft.com/office/2007/relationships/hdphoto" Target="../media/hdphoto21.wdp"/><Relationship Id="rId2" Type="http://schemas.openxmlformats.org/officeDocument/2006/relationships/tags" Target="../tags/tag699.xml"/><Relationship Id="rId16" Type="http://schemas.openxmlformats.org/officeDocument/2006/relationships/image" Target="../media/image84.png"/><Relationship Id="rId20" Type="http://schemas.openxmlformats.org/officeDocument/2006/relationships/image" Target="../media/image86.png"/><Relationship Id="rId1" Type="http://schemas.openxmlformats.org/officeDocument/2006/relationships/vmlDrawing" Target="../drawings/vmlDrawing30.vml"/><Relationship Id="rId6" Type="http://schemas.openxmlformats.org/officeDocument/2006/relationships/tags" Target="../tags/tag703.xml"/><Relationship Id="rId11" Type="http://schemas.openxmlformats.org/officeDocument/2006/relationships/notesSlide" Target="../notesSlides/notesSlide6.xml"/><Relationship Id="rId24" Type="http://schemas.openxmlformats.org/officeDocument/2006/relationships/image" Target="../media/image88.png"/><Relationship Id="rId5" Type="http://schemas.openxmlformats.org/officeDocument/2006/relationships/tags" Target="../tags/tag702.xml"/><Relationship Id="rId15" Type="http://schemas.microsoft.com/office/2007/relationships/hdphoto" Target="../media/hdphoto3.wdp"/><Relationship Id="rId23" Type="http://schemas.microsoft.com/office/2007/relationships/hdphoto" Target="../media/hdphoto20.wdp"/><Relationship Id="rId10" Type="http://schemas.openxmlformats.org/officeDocument/2006/relationships/slideLayout" Target="../slideLayouts/slideLayout51.xml"/><Relationship Id="rId19" Type="http://schemas.microsoft.com/office/2007/relationships/hdphoto" Target="../media/hdphoto18.wdp"/><Relationship Id="rId4" Type="http://schemas.openxmlformats.org/officeDocument/2006/relationships/tags" Target="../tags/tag701.xml"/><Relationship Id="rId9" Type="http://schemas.openxmlformats.org/officeDocument/2006/relationships/tags" Target="../tags/tag706.xml"/><Relationship Id="rId14" Type="http://schemas.openxmlformats.org/officeDocument/2006/relationships/image" Target="../media/image55.png"/><Relationship Id="rId22" Type="http://schemas.openxmlformats.org/officeDocument/2006/relationships/image" Target="../media/image87.png"/><Relationship Id="rId27" Type="http://schemas.microsoft.com/office/2007/relationships/hdphoto" Target="../media/hdphoto22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713.xml"/><Relationship Id="rId13" Type="http://schemas.openxmlformats.org/officeDocument/2006/relationships/tags" Target="../tags/tag718.xml"/><Relationship Id="rId18" Type="http://schemas.openxmlformats.org/officeDocument/2006/relationships/tags" Target="../tags/tag723.xml"/><Relationship Id="rId26" Type="http://schemas.openxmlformats.org/officeDocument/2006/relationships/tags" Target="../tags/tag731.xml"/><Relationship Id="rId3" Type="http://schemas.openxmlformats.org/officeDocument/2006/relationships/tags" Target="../tags/tag708.xml"/><Relationship Id="rId21" Type="http://schemas.openxmlformats.org/officeDocument/2006/relationships/tags" Target="../tags/tag726.xml"/><Relationship Id="rId7" Type="http://schemas.openxmlformats.org/officeDocument/2006/relationships/tags" Target="../tags/tag712.xml"/><Relationship Id="rId12" Type="http://schemas.openxmlformats.org/officeDocument/2006/relationships/tags" Target="../tags/tag717.xml"/><Relationship Id="rId17" Type="http://schemas.openxmlformats.org/officeDocument/2006/relationships/tags" Target="../tags/tag722.xml"/><Relationship Id="rId25" Type="http://schemas.openxmlformats.org/officeDocument/2006/relationships/tags" Target="../tags/tag730.xml"/><Relationship Id="rId2" Type="http://schemas.openxmlformats.org/officeDocument/2006/relationships/tags" Target="../tags/tag707.xml"/><Relationship Id="rId16" Type="http://schemas.openxmlformats.org/officeDocument/2006/relationships/tags" Target="../tags/tag721.xml"/><Relationship Id="rId20" Type="http://schemas.openxmlformats.org/officeDocument/2006/relationships/tags" Target="../tags/tag725.xml"/><Relationship Id="rId29" Type="http://schemas.openxmlformats.org/officeDocument/2006/relationships/oleObject" Target="../embeddings/oleObject39.bin"/><Relationship Id="rId1" Type="http://schemas.openxmlformats.org/officeDocument/2006/relationships/vmlDrawing" Target="../drawings/vmlDrawing31.vml"/><Relationship Id="rId6" Type="http://schemas.openxmlformats.org/officeDocument/2006/relationships/tags" Target="../tags/tag711.xml"/><Relationship Id="rId11" Type="http://schemas.openxmlformats.org/officeDocument/2006/relationships/tags" Target="../tags/tag716.xml"/><Relationship Id="rId24" Type="http://schemas.openxmlformats.org/officeDocument/2006/relationships/tags" Target="../tags/tag729.xml"/><Relationship Id="rId32" Type="http://schemas.openxmlformats.org/officeDocument/2006/relationships/image" Target="../media/image91.emf"/><Relationship Id="rId5" Type="http://schemas.openxmlformats.org/officeDocument/2006/relationships/tags" Target="../tags/tag710.xml"/><Relationship Id="rId15" Type="http://schemas.openxmlformats.org/officeDocument/2006/relationships/tags" Target="../tags/tag720.xml"/><Relationship Id="rId23" Type="http://schemas.openxmlformats.org/officeDocument/2006/relationships/tags" Target="../tags/tag728.xml"/><Relationship Id="rId28" Type="http://schemas.openxmlformats.org/officeDocument/2006/relationships/slideLayout" Target="../slideLayouts/slideLayout51.xml"/><Relationship Id="rId10" Type="http://schemas.openxmlformats.org/officeDocument/2006/relationships/tags" Target="../tags/tag715.xml"/><Relationship Id="rId19" Type="http://schemas.openxmlformats.org/officeDocument/2006/relationships/tags" Target="../tags/tag724.xml"/><Relationship Id="rId31" Type="http://schemas.openxmlformats.org/officeDocument/2006/relationships/oleObject" Target="../embeddings/oleObject40.bin"/><Relationship Id="rId4" Type="http://schemas.openxmlformats.org/officeDocument/2006/relationships/tags" Target="../tags/tag709.xml"/><Relationship Id="rId9" Type="http://schemas.openxmlformats.org/officeDocument/2006/relationships/tags" Target="../tags/tag714.xml"/><Relationship Id="rId14" Type="http://schemas.openxmlformats.org/officeDocument/2006/relationships/tags" Target="../tags/tag719.xml"/><Relationship Id="rId22" Type="http://schemas.openxmlformats.org/officeDocument/2006/relationships/tags" Target="../tags/tag727.xml"/><Relationship Id="rId27" Type="http://schemas.openxmlformats.org/officeDocument/2006/relationships/tags" Target="../tags/tag732.xml"/><Relationship Id="rId30" Type="http://schemas.openxmlformats.org/officeDocument/2006/relationships/image" Target="../media/image90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734.xml"/><Relationship Id="rId7" Type="http://schemas.openxmlformats.org/officeDocument/2006/relationships/image" Target="../media/image92.png"/><Relationship Id="rId2" Type="http://schemas.openxmlformats.org/officeDocument/2006/relationships/tags" Target="../tags/tag733.xml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41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5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png"/><Relationship Id="rId3" Type="http://schemas.openxmlformats.org/officeDocument/2006/relationships/image" Target="../media/image94.pn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97.png"/><Relationship Id="rId11" Type="http://schemas.openxmlformats.org/officeDocument/2006/relationships/image" Target="../media/image102.png"/><Relationship Id="rId5" Type="http://schemas.openxmlformats.org/officeDocument/2006/relationships/image" Target="../media/image96.png"/><Relationship Id="rId10" Type="http://schemas.openxmlformats.org/officeDocument/2006/relationships/image" Target="../media/image101.png"/><Relationship Id="rId4" Type="http://schemas.openxmlformats.org/officeDocument/2006/relationships/image" Target="../media/image95.png"/><Relationship Id="rId9" Type="http://schemas.openxmlformats.org/officeDocument/2006/relationships/image" Target="../media/image10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png"/><Relationship Id="rId4" Type="http://schemas.openxmlformats.org/officeDocument/2006/relationships/image" Target="../media/image1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4.png"/><Relationship Id="rId4" Type="http://schemas.openxmlformats.org/officeDocument/2006/relationships/image" Target="../media/image13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1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16.jpeg"/><Relationship Id="rId2" Type="http://schemas.openxmlformats.org/officeDocument/2006/relationships/tags" Target="../tags/tag46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24.bin"/><Relationship Id="rId4" Type="http://schemas.openxmlformats.org/officeDocument/2006/relationships/notesSlide" Target="../notesSlides/notesSlide1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tags" Target="../tags/tag468.xml"/><Relationship Id="rId7" Type="http://schemas.openxmlformats.org/officeDocument/2006/relationships/image" Target="../media/image17.png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tags" Target="../tags/tag467.xml"/><Relationship Id="rId16" Type="http://schemas.openxmlformats.org/officeDocument/2006/relationships/image" Target="../media/image25.png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5.emf"/><Relationship Id="rId11" Type="http://schemas.openxmlformats.org/officeDocument/2006/relationships/image" Target="../media/image20.png"/><Relationship Id="rId5" Type="http://schemas.openxmlformats.org/officeDocument/2006/relationships/oleObject" Target="../embeddings/oleObject25.bin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34.xml"/><Relationship Id="rId9" Type="http://schemas.openxmlformats.org/officeDocument/2006/relationships/image" Target="../media/image18.png"/><Relationship Id="rId1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2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Innovation and the Digital Economy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8658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1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8" name="think-cell Slide" r:id="rId196" imgW="500" imgH="500" progId="TCLayout.ActiveDocument.1">
                  <p:embed/>
                </p:oleObj>
              </mc:Choice>
              <mc:Fallback>
                <p:oleObj name="think-cell Slide" r:id="rId196" imgW="500" imgH="50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1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865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defTabSz="914400" fontAlgn="auto"/>
            <a:endParaRPr lang="en-US" sz="102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8663" name="Rectangle 7"/>
          <p:cNvSpPr>
            <a:spLocks noChangeArrowheads="1"/>
          </p:cNvSpPr>
          <p:nvPr/>
        </p:nvSpPr>
        <p:spPr bwMode="gray">
          <a:xfrm>
            <a:off x="54324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838788" name="Rectangle 132"/>
          <p:cNvSpPr>
            <a:spLocks noChangeArrowheads="1"/>
          </p:cNvSpPr>
          <p:nvPr/>
        </p:nvSpPr>
        <p:spPr bwMode="gray">
          <a:xfrm>
            <a:off x="596291" y="3324366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3" name="Rectangle 7"/>
          <p:cNvSpPr>
            <a:spLocks noChangeArrowheads="1"/>
          </p:cNvSpPr>
          <p:nvPr/>
        </p:nvSpPr>
        <p:spPr bwMode="gray">
          <a:xfrm>
            <a:off x="201656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4" name="Rectangle 132"/>
          <p:cNvSpPr>
            <a:spLocks noChangeArrowheads="1"/>
          </p:cNvSpPr>
          <p:nvPr/>
        </p:nvSpPr>
        <p:spPr bwMode="gray">
          <a:xfrm>
            <a:off x="2069611" y="4609795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9" name="Rectangle 132"/>
          <p:cNvSpPr>
            <a:spLocks noChangeArrowheads="1"/>
          </p:cNvSpPr>
          <p:nvPr/>
        </p:nvSpPr>
        <p:spPr bwMode="gray">
          <a:xfrm>
            <a:off x="2069611" y="4609794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5" name="Rectangle 7"/>
          <p:cNvSpPr>
            <a:spLocks noChangeArrowheads="1"/>
          </p:cNvSpPr>
          <p:nvPr/>
        </p:nvSpPr>
        <p:spPr bwMode="gray">
          <a:xfrm>
            <a:off x="348988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5" name="Rectangle 132"/>
          <p:cNvSpPr>
            <a:spLocks noChangeArrowheads="1"/>
          </p:cNvSpPr>
          <p:nvPr/>
        </p:nvSpPr>
        <p:spPr bwMode="gray">
          <a:xfrm>
            <a:off x="3542931" y="4296212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8" name="Rectangle 7"/>
          <p:cNvSpPr>
            <a:spLocks noChangeArrowheads="1"/>
          </p:cNvSpPr>
          <p:nvPr/>
        </p:nvSpPr>
        <p:spPr bwMode="gray">
          <a:xfrm>
            <a:off x="496320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6" name="Rectangle 132"/>
          <p:cNvSpPr>
            <a:spLocks noChangeArrowheads="1"/>
          </p:cNvSpPr>
          <p:nvPr/>
        </p:nvSpPr>
        <p:spPr bwMode="gray">
          <a:xfrm>
            <a:off x="5003292" y="3948939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09" name="Rectangle 7"/>
          <p:cNvSpPr>
            <a:spLocks noChangeArrowheads="1"/>
          </p:cNvSpPr>
          <p:nvPr/>
        </p:nvSpPr>
        <p:spPr bwMode="gray">
          <a:xfrm>
            <a:off x="643652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7" name="Rectangle 132"/>
          <p:cNvSpPr>
            <a:spLocks noChangeArrowheads="1"/>
          </p:cNvSpPr>
          <p:nvPr/>
        </p:nvSpPr>
        <p:spPr bwMode="gray">
          <a:xfrm>
            <a:off x="6489570" y="3317238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113" name="Rectangle 7"/>
          <p:cNvSpPr>
            <a:spLocks noChangeArrowheads="1"/>
          </p:cNvSpPr>
          <p:nvPr/>
        </p:nvSpPr>
        <p:spPr bwMode="gray">
          <a:xfrm>
            <a:off x="790984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408" name="Rectangle 132"/>
          <p:cNvSpPr>
            <a:spLocks noChangeArrowheads="1"/>
          </p:cNvSpPr>
          <p:nvPr/>
        </p:nvSpPr>
        <p:spPr bwMode="gray">
          <a:xfrm>
            <a:off x="7962890" y="2675625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02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838664" name="Rectangle 3" hidden="1"/>
          <p:cNvSpPr>
            <a:spLocks noChangeArrowheads="1"/>
          </p:cNvSpPr>
          <p:nvPr/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224">
                <a:solidFill>
                  <a:srgbClr val="000000"/>
                </a:solidFill>
                <a:ea typeface="+mn-ea"/>
                <a:cs typeface="Arial" charset="0"/>
              </a:rPr>
              <a:t> </a:t>
            </a:r>
          </a:p>
        </p:txBody>
      </p:sp>
      <p:sp>
        <p:nvSpPr>
          <p:cNvPr id="838805" name="Rectangle 149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altLang="en-US" dirty="0"/>
              <a:t>ASEAN is now the 5th largest economy in the world, up from 11th in 1990</a:t>
            </a:r>
            <a:endParaRPr lang="en-GB" dirty="0"/>
          </a:p>
        </p:txBody>
      </p:sp>
      <p:sp>
        <p:nvSpPr>
          <p:cNvPr id="838666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2751" y="6564117"/>
            <a:ext cx="7002158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020" dirty="0">
                <a:solidFill>
                  <a:srgbClr val="000000"/>
                </a:solidFill>
                <a:ea typeface="+mn-ea"/>
                <a:cs typeface="+mn-cs"/>
              </a:rPr>
              <a:t>SOURCE: IHS; IMF; </a:t>
            </a:r>
            <a:r>
              <a:rPr lang="en-GB" sz="1020" dirty="0" err="1">
                <a:solidFill>
                  <a:srgbClr val="000000"/>
                </a:solidFill>
                <a:ea typeface="+mn-ea"/>
                <a:cs typeface="+mn-cs"/>
              </a:rPr>
              <a:t>AlphaBeta</a:t>
            </a:r>
            <a:r>
              <a:rPr lang="en-GB" sz="1020" dirty="0">
                <a:solidFill>
                  <a:srgbClr val="000000"/>
                </a:solidFill>
                <a:ea typeface="+mn-ea"/>
                <a:cs typeface="+mn-cs"/>
              </a:rPr>
              <a:t> analysis</a:t>
            </a:r>
          </a:p>
        </p:txBody>
      </p:sp>
      <p:sp>
        <p:nvSpPr>
          <p:cNvPr id="838667" name="McK 3. Unit of measur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02751" y="542616"/>
            <a:ext cx="8793595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1837" dirty="0">
                <a:ea typeface="+mn-ea"/>
                <a:cs typeface="+mn-cs"/>
              </a:rPr>
              <a:t>USD billions, nominal GDP</a:t>
            </a:r>
          </a:p>
        </p:txBody>
      </p:sp>
      <p:graphicFrame>
        <p:nvGraphicFramePr>
          <p:cNvPr id="838699" name="Object 43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11430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9" name="Chart" r:id="rId198" imgW="1381190" imgH="5134050" progId="MSGraph.Chart.8">
                  <p:embed followColorScheme="full"/>
                </p:oleObj>
              </mc:Choice>
              <mc:Fallback>
                <p:oleObj name="Chart" r:id="rId198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1430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8721" name="Rectangle 6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327151" y="20732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2FD33C82-91A5-4B25-A2CC-220A4D7605B4}" type="datetime'''8''''''''''''''''4''''''''''''''''''4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844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5" name="Text Placeholder 4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77888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C75096F-4553-4172-B03D-E4AEE6D203AE}" type="datetime'J''''a''''''''''''''p''''''''a''''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23" name="Rectangle 6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327151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D8EB724-4E91-499A-A952-E154788337DD}" type="datetime'1'''',''''''''''''''''0''''''''6''''''9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069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4" name="Text Placeholder 4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9151" y="1339851"/>
            <a:ext cx="4095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838725" name="Rectangle 6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358901" y="14176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0F31DC6-1B2F-4A67-B2E9-93926B84456C}" type="datetime'''2'',8''''''''6''''''''''2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862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8" name="Text Placeholder 5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57251" y="5927726"/>
            <a:ext cx="3714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audi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Arabia</a:t>
            </a:r>
          </a:p>
        </p:txBody>
      </p:sp>
      <p:sp>
        <p:nvSpPr>
          <p:cNvPr id="283" name="Text Placeholder 1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12864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E024864-E815-4084-B47F-C7A9B898A2AE}" type="datetime'''1''''''''''''''''''''''''65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6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7" name="Text Placeholder 5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9325" y="5678488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91B0EB1-FACC-4414-972D-0EF72C3008FD}" type="datetime'''''''''I''''''''''n''''''''''''''''''''''d''''i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2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12864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E4C8CF8-C732-4B00-91B2-57431D16B0AA}" type="datetime'''''''''1''''''8''''''''7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87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6" name="Text Placeholder 56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8513" y="5272089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81" name="Text Placeholder 11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12864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9C0ACF0-F556-4CB6-9E74-A55D1B514743}" type="datetime'''''''''''''1''''90''''''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90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5" name="Text Placeholder 5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0114" y="5022850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7AFDD62-CB7E-4C72-BA47-0B056C412C67}" type="datetime'S''''p''''ai''''''''''''''''''''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3" name="Rectangle 47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312864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6BCCBBB7-BF4A-4143-9CA1-888A992FCC22}" type="datetime'2''''''''''''''2''''''''''''''''''1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21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4" name="Text Placeholder 54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06464" y="469423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B3A8BBA-A00B-4BF7-BFC2-D494BC38E894}" type="datetime'''''Bra''''''''''''''''''''''''''''z''i''''''l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5" name="Rectangle 4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312864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D5B3D24-3512-4DE2-BEC9-39478701789E}" type="datetime'''''''2''''''3''''1''''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31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3" name="Text Placeholder 5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7864" y="4367213"/>
            <a:ext cx="5507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ECD2C633-5B53-41BC-A711-15599124B401}" type="datetime'''''''''''''Ar''''gen''t''''''''''''i''''''''''n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rgent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7" name="Rectangle 5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312864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83E93DF7-4164-4C1C-BA52-5386C82CC454}" type="datetime'''''''''''''''''''2''''''''''''''''''''''''''''''''3''''''3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3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2" name="Text Placeholder 5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7876" y="404018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168D324-270A-464A-8936-A660197A1643}" type="datetime'''C''an''''''''''a''''''d''''a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9" name="Rectangle 5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32080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101AD89-38B9-467B-9CAF-FC5903E6BAC9}" type="datetime'''''''''''2''''''''''''''7''''''''3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7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1" name="Text Placeholder 5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92176" y="3711575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3FFF04A-E089-4166-AA5D-4855E45BC5FB}" type="datetime'''''''''C''''h''''''''''i''''''n''''''''''''''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1" name="Rectangle 55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32080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16274987-564A-4A8B-A6D5-3D01D708D8EA}" type="datetime'''''''''''''''''''''''''''''''''''''3''''''03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0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0" name="Text Placeholder 5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2164" y="3384550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CEF20FC-66AB-4E26-9F5C-AD5826976B9F}" type="datetime'ASEA''''''''''''''''''''''''N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3" name="Rectangle 5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320801" y="33845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5DAFF577-A743-4158-A55C-4133561993B7}" type="datetime'''''''''''''3''3''''''''''''4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34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9" name="Text Placeholder 4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90601" y="3055938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6EFA6C6-D0EA-4CD3-A32E-849170E0A950}" type="datetime'''''''''''''''''''''I''''''''''''''ta''''''''l''''''''''''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5" name="Rectangle 5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320801" y="30559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ACBA0F4-5E04-4BBE-8284-3AE50D119B47}" type="datetime'''''''4''''''''''''''''''6''''''''''''''''''''''''0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460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8" name="Text Placeholder 48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20725" y="2651126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838717" name="Rectangle 61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320801" y="27289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E6B3972-A810-46A0-BF9A-8AC098C67C17}" type="datetime'''''''''''''''''''5''''''''''''''''''''''''''6''''''5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65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7" name="Text Placeholder 47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7089" y="240188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1639F39-4A9C-48E1-AA8C-912A0BABA9BB}" type="datetime'''''''''''''''''''''''''''''''''''''''''''Fr''''an''c''''e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9" name="Rectangle 6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320801" y="24018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ACA51D3-73EA-48D0-A9A9-C5F0FEA61260}" type="datetime'''''''''7''''''''''''''''''''0''''''''''''''''''3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70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16" name="Text Placeholder 46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8501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CF8930-924A-4F4B-88C8-3792ADFCD5DD}" type="datetime'G''e''''''''''''rm''''a''''n''''''y''''''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54" name="Rectangle 36"/>
          <p:cNvSpPr>
            <a:spLocks noChangeArrowheads="1"/>
          </p:cNvSpPr>
          <p:nvPr/>
        </p:nvSpPr>
        <p:spPr bwMode="gray">
          <a:xfrm>
            <a:off x="59629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1980 GDP </a:t>
            </a:r>
          </a:p>
        </p:txBody>
      </p:sp>
      <p:graphicFrame>
        <p:nvGraphicFramePr>
          <p:cNvPr id="114" name="Object 43"/>
          <p:cNvGraphicFramePr>
            <a:graphicFrameLocks/>
          </p:cNvGraphicFramePr>
          <p:nvPr>
            <p:custDataLst>
              <p:tags r:id="rId39"/>
            </p:custDataLst>
            <p:extLst/>
          </p:nvPr>
        </p:nvGraphicFramePr>
        <p:xfrm>
          <a:off x="26289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0" name="Chart" r:id="rId200" imgW="1381190" imgH="5134050" progId="MSGraph.Chart.8">
                  <p:embed followColorScheme="full"/>
                </p:oleObj>
              </mc:Choice>
              <mc:Fallback>
                <p:oleObj name="Chart" r:id="rId200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6289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6" name="Text Placeholder 66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355851" y="3711575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C2698B6-DBD6-4ED6-8255-962712A6A324}" type="datetime'''S''''''''''''p''''''''''''''a''''i''''n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53" name="Rectangle 55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277495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6D97A188-D3DF-498D-9521-C7975B77553D}" type="datetime'''5''''''1''''''0''''''''''''''''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10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5" name="Text Placeholder 65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233614" y="3384550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C0A6C3-6950-4A78-9C71-E5E534C4A967}" type="datetime'''C''''''a''''n''a''''''''''''d''''''a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0" name="Rectangle 57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2774951" y="33845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A50CB12-3B71-4A47-B233-A9C3B30BAD53}" type="datetime'5''''''''''''''''''''''''''''''''''''9''''''2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92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4" name="Text Placeholder 64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176463" y="297815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157" name="Rectangle 59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7828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8B1696C-28DE-44E5-9437-4472FD6A5363}" type="datetime'''1'',''''0''''''''''''''''''''''''''''9''''''3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09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3" name="Text Placeholder 6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446339" y="2728913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7980CA9-BE6F-4502-9047-713FB527C74D}" type="datetime'''''''''''''I''''''''ta''''''''''''''''''''''l''''''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3" name="Rectangle 61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782889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A2709F7C-C678-428F-92E5-F49BCB4ACE01}" type="datetime'''''''1'''''''''''''''''''''',1''39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13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2" name="Text Placeholder 6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282826" y="240188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FA32308-7BB6-4C15-A3DA-51C509BF6A27}" type="datetime'''''F''''''r''''a''''n''''''''''c''''e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6" name="Rectangle 63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2790826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50E193B-6BE8-45E3-952E-32F4063733B6}" type="datetime'''''''''''''''1'''''',''''''''''''''''2''7''''''''''''''''''6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276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1" name="Text Placeholder 6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154239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6D3A0FE-6EEA-4372-A782-98A7F7BCC4B9}" type="datetime'''''''''G''''e''''''''''''''''''''''''r''''m''an''''''''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8" name="Rectangle 65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790826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1E807C8-B378-45E8-8A97-3F1B8F091BAC}" type="datetime'''''''''''1'''''',''''''5''7''''''''''''6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576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0" name="Text Placeholder 60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333625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B27BB55-0C6D-4946-8F64-997F8FEC1B9B}" type="datetime'''''J''''''''''''''''''a''''''''''p''''a''''''''''''''''''''n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9" name="Text Placeholder 19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74951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CFE448B-C3BB-415E-B11B-07F02A759004}" type="datetime'''''''''''''2''''''''''''''''''''''7''9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279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2" name="Text Placeholder 7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254250" y="5600701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88" name="Text Placeholder 18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774951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730A086-4F0D-4A17-A240-607B2F8A9B0F}" type="datetime'''3''1''''''''''''''''''''''''''''''''''''''''''''''''''''3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13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1" name="Text Placeholder 7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182814" y="5349875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A2FFA9C-1D06-4700-AECC-C549C53EBCB8}" type="datetime'A''''''''''u''st''''''''''''''''r''''a''''l''ia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7" name="Text Placeholder 17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774951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E8EE8C1-B61F-49D2-82F9-E9DF7F0825CB}" type="datetime'3''''2''''''''''''''''''''''''''''''''''''''''3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23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0" name="Text Placeholder 7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405063" y="5022850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2472F8E-FA46-47B0-91CB-EE0EF32ED1B0}" type="datetime'''''I''''''''nd''''''''''''''i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6" name="Rectangle 47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2774951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F699C64-5317-4FED-9304-D1DB5D958CED}" type="datetime'''''''''''''''''3''''''''''''''''''2''''''''8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2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9" name="Text Placeholder 69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247901" y="4694238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BC4A8C7-7344-4343-ACAA-B419E5FB63D3}" type="datetime'''''''''''A''S''''E''''''''''''''''''''''''''''''''A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8" name="Rectangle 49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2774951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65A9603E-7189-4D8F-B7B5-40D3E08FF0C7}" type="datetime'''3''''46''''''''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46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8" name="Text Placeholder 68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347914" y="4367213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BF79F99-ED10-43BC-9FDC-CFBD9D924D0E}" type="datetime'''''C''''''''''h''''in''''''''''''''a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20" name="Rectangle 51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2774951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654D564-5E6E-43A9-B499-B880CD0689CD}" type="datetime'3''9''''''''''''0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90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37" name="Text Placeholder 67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2362201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43564BD-8C6A-48FE-97B5-CC65CDF3B7AC}" type="datetime'''''''Bra''''''''''''''''''''z''''''i''''''''l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22" name="Rectangle 53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277495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82643A37-58F1-4CFD-A785-01408BE3EF86}" type="datetime'''''''3''''''''''''''''9''1''''''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91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170" name="Rectangle 67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2813051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4B519CB-BDC2-47EB-8B51-BE1945F970D6}" type="datetime'''''''''''''3'''''''',''''''0''''''''''''''''5''''''6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,056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29" name="Text Placeholder 59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2311401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172" name="Rectangle 69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2867026" y="14176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64532C2-3214-4B2B-A93E-E138E6C9A1F1}" type="datetime'''''''''''5'''''''''''''''''''',9''80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,980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3" name="Text Placeholder 7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311401" y="5927726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173" name="Rectangle 36"/>
          <p:cNvSpPr>
            <a:spLocks noChangeArrowheads="1"/>
          </p:cNvSpPr>
          <p:nvPr/>
        </p:nvSpPr>
        <p:spPr bwMode="gray">
          <a:xfrm>
            <a:off x="206961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1990 GDP </a:t>
            </a:r>
          </a:p>
        </p:txBody>
      </p:sp>
      <p:graphicFrame>
        <p:nvGraphicFramePr>
          <p:cNvPr id="174" name="Object 43"/>
          <p:cNvGraphicFramePr>
            <a:graphicFrameLocks/>
          </p:cNvGraphicFramePr>
          <p:nvPr>
            <p:custDataLst>
              <p:tags r:id="rId70"/>
            </p:custDataLst>
            <p:extLst/>
          </p:nvPr>
        </p:nvGraphicFramePr>
        <p:xfrm>
          <a:off x="40767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1" name="Chart" r:id="rId202" imgW="1381190" imgH="5134050" progId="MSGraph.Chart.8">
                  <p:embed followColorScheme="full"/>
                </p:oleObj>
              </mc:Choice>
              <mc:Fallback>
                <p:oleObj name="Chart" r:id="rId202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3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0767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Text Placeholder 86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883025" y="5349875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941DECC-6C72-4798-A2AF-A28C099FC280}" type="datetime'''''''''''In''''''''''''''''di''''''''''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5" name="Text Placeholder 25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254501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8128864-6D2B-4270-A7A7-7D4AE7F24087}" type="datetime'''''''3''''9''''''''''''''''''''''''''''''''''7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97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7" name="Text Placeholder 87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732213" y="5600701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94" name="Text Placeholder 24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4254501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F71ED73-469F-4D94-8B8E-79D9DC84B1AD}" type="datetime'''''''''''''''''''''''''''''''''''''4''''''1''5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41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8" name="Text Placeholder 88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660776" y="6005513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377FE7E-BE22-4873-B23B-9FDE2734BCD2}" type="datetime'''''''''''''Au''''''st''''ra''''''''''''''li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49" name="Text Placeholder 79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825876" y="3055938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B599459-672C-42DC-9E98-468969EA7204}" type="datetime'''Ch''''''i''''n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5" name="Rectangle 59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42687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32D28FF3-34F8-4DEA-91B0-841F672F497B}" type="datetime'''''1'''',''''''''''''1''''''''''''9''''8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19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8" name="Text Placeholder 78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760789" y="2728913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D70EFD7-6B6D-4FB6-8BA4-26214795C25C}" type="datetime'''''''''''''''''''''''''''Franc''''''''''''''''''''''e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0" name="Rectangle 61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4268789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460EF82-069E-4A35-AE84-13891F4120FC}" type="datetime'''''''''''''''''1'',''''''''''37''3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37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7" name="Text Placeholder 77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654425" y="232410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192" name="Rectangle 63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4268789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B7515F67-064F-4075-9645-7BF04E655606}" type="datetime'''''''''1'''''''''''''''''''''',''''5''''''''''''4''''''9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54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6" name="Text Placeholder 76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632201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83A0631-AC98-43E7-A582-A30B6856CDF2}" type="datetime'Germ''''''''''''''''''''a''''''''''n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4" name="Rectangle 65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4276726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3142075F-3C65-4EFC-BF5E-BA0D1C6AC7FB}" type="datetime'''''''''1,''''''''''''''''''''95''2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952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5" name="Text Placeholder 75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3811588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B530E81-C31D-495A-AEE3-0F2DF38AD835}" type="datetime'''J''''a''''''''''''''''p''''a''''''''''''''''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6" name="Rectangle 67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4322764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318E97F3-BC5B-4674-A143-FADAA88B162D}" type="datetime'''''''''''''''''''''''''4,7''''''''''''''''''''3''''''''''4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4,734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44" name="Text Placeholder 74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3789364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198" name="Rectangle 69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4413250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CB756198-0883-49AD-84E8-60656D1D4EA2}" type="datetime'''''1''''''''''''''0'',''2''''''''''8''''''''''''''''''''5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0,285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93" name="Text Placeholder 23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4254501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46A8DD3-FD84-43FE-A109-65871A17C541}" type="datetime'''''''''''''''''''''''''''''''''4''''''''''''''''''''''''7''5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47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5" name="Text Placeholder 85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819525" y="4945064"/>
            <a:ext cx="343386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176" name="Rectangle 47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4254501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8C4EB9F-EB78-4F33-9B50-AAACC79EA0E8}" type="datetime'''''''5''''''''''''''''''''6''''2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62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4" name="Text Placeholder 84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833814" y="469423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B62E541-07B3-4388-A311-F2F16C38BB35}" type="datetime'''''''''S''''''p''''''''a''''''''''''''''''''''i''''''''n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8" name="Rectangle 49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4254501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B7A8FE51-8F14-45C3-BBA5-54665DABB521}" type="datetime'''''''''''''5''''9''''''''''7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97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3" name="Text Placeholder 83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725864" y="4367213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023756B-278E-4124-BAFB-0DAED9474A46}" type="datetime'''''A''''S''''''''''''''''''''''''''E''''A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0" name="Rectangle 51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4254501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191E9D9D-11E0-43DA-B274-582DD29F3C5F}" type="datetime'6''''2''''''8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62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2" name="Text Placeholder 8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840164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6548791-477B-4AFD-A65C-816ED72F0341}" type="datetime'''Br''''''''''''a''''''''''''''''''''''''''''''''zi''''l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2" name="Rectangle 53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425450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729D392-A424-4DC8-B049-705EFAFB4701}" type="datetime'''''''''''''''''6''''''''''''''''''''''5''''''''''7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657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1" name="Text Placeholder 81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3711576" y="3711575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9D0964E-32CE-4F76-A4B7-A4E145A9FFB3}" type="datetime'''''''''''''''''''''''''''Cana''''''''''''''''d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4" name="Rectangle 55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426085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DC3D1F0-8043-4345-AEA7-47E45E7D5843}" type="datetime'''''''''''''''''''''''''''''''''7''''''''3''''''''''''''9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73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0" name="Text Placeholder 80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924301" y="3384550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82F2FD3-A1B5-4D27-A40A-C74E07A14E1B}" type="datetime'''''''''''''''''I''''''''''ta''''''''''''l''''''''y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7" name="Rectangle 57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4260851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2569799-D13A-4ED7-AA2D-C654EEA3B1D5}" type="datetime'1'''''''',1''''''''''''''''''''''''46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146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199" name="Rectangle 36"/>
          <p:cNvSpPr>
            <a:spLocks noChangeArrowheads="1"/>
          </p:cNvSpPr>
          <p:nvPr/>
        </p:nvSpPr>
        <p:spPr bwMode="gray">
          <a:xfrm>
            <a:off x="354293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2000 GDP </a:t>
            </a:r>
          </a:p>
        </p:txBody>
      </p:sp>
      <p:graphicFrame>
        <p:nvGraphicFramePr>
          <p:cNvPr id="200" name="Object 43"/>
          <p:cNvGraphicFramePr>
            <a:graphicFrameLocks/>
          </p:cNvGraphicFramePr>
          <p:nvPr>
            <p:custDataLst>
              <p:tags r:id="rId101"/>
            </p:custDataLst>
            <p:extLst/>
          </p:nvPr>
        </p:nvGraphicFramePr>
        <p:xfrm>
          <a:off x="55245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2" name="Chart" r:id="rId204" imgW="1381190" imgH="5134050" progId="MSGraph.Chart.8">
                  <p:embed followColorScheme="full"/>
                </p:oleObj>
              </mc:Choice>
              <mc:Fallback>
                <p:oleObj name="Chart" r:id="rId204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5245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Text Placeholder 97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143501" y="4040188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E262A551-E791-4FD7-A1E4-0B4DB1F30CAF}" type="datetime'''''''''''''''''''A''''''''''''SEA''N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10" name="Rectangle 55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5702301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A24B8432-679A-4C58-9240-A76217C48B7A}" type="datetime'''''''''''''''''''''''''''2,''1''2''''''''''''''''''''''''7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127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06" name="Rectangle 51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5694035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A1782FD-803A-4B81-8C20-C309B35FEEDB}" type="datetime'''''''1'',''''''''''''''''''66''''''''''''''''''9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66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65" name="Text Placeholder 95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5257801" y="3384550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231CB1A-6DD8-4CEB-B936-24B099816F8D}" type="datetime'''''''Br''''''''''a''''z''i''''''''''''''''''''''l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8" name="Text Placeholder 98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5300663" y="4367213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47B481A-F98F-452B-885D-40BE6A7C8E74}" type="datetime'''''''I''nd''''''''''''''''''''i''a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13" name="Rectangle 57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5702301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8DE2FEA-77D1-4CAC-B107-1577683102A6}" type="datetime'''''''''''2,2''''''''''''''''''''0''8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20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63" name="Text Placeholder 93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178426" y="2728913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1A60A36-9B83-4AE0-A099-06F5312BF025}" type="datetime'''F''''''''''''r''''a''''''n''''''''''''''''c''e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4" name="Text Placeholder 94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5072063" y="297815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216" name="Rectangle 61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5708651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164B256B-7AC3-420B-B914-FD166E26CC89}" type="datetime'''2'''''''''''''''''',''''64''''8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64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11" name="Rectangle 59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5702301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E5674E1-CF72-4639-8627-E07FC3680FE5}" type="datetime'2'''''''''',''''''4''''''''''''''''''''''''''''08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40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66" name="Text Placeholder 96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341939" y="3711575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D4EFBFF-EC70-458D-9CBC-3B24EBF3BA4D}" type="datetime'''''''''''''''''''I''''t''''''a''''''l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08" name="Rectangle 53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5694035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AAA54D18-F4B3-4C5B-B74A-283F1B3A5064}" type="datetime'''''''''''''''1,9''''''''''5''''2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952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2" name="Text Placeholder 10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207001" y="5600701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73" name="Text Placeholder 103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5149850" y="5927726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301" name="Text Placeholder 31"/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5678489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D417E7A-9705-4A6A-80CA-EC313E12C421}" type="datetime'''8''''''''''''''''''''3''''''''''''6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836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69" name="Text Placeholder 99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5129214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F4C6D14-7CE8-4E17-8B8D-3826000C2EB7}" type="datetime'''''''C''''''''''''a''n''''ad''''''a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02" name="Rectangle 47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5686426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DC4C97A-28EF-4A2A-B970-5A81B71DC995}" type="datetime'''''''''''''''''''''''''''''1'',4''''''''''''''''''''3''''3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43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00" name="Text Placeholder 30"/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5678489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D2DC6D4-1F8A-4B18-AB04-BE33FB2DAE80}" type="datetime'''''''''1,''''''''''''0''''''''9''''4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094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04" name="Rectangle 49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5694035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ED3213A-96B5-4088-AB4C-A6CE411986DD}" type="datetime'''''''''''''''''''''''''1'''',''''''''6''''''''''''1''4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614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0" name="Text Placeholder 100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5251451" y="5022850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1FE4ADD-6214-4434-8742-4CDCA9DDF2D8}" type="datetime'''S''''''''''''''''''p''''''''''''''ai''''''''n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1" name="Text Placeholder 101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5078414" y="5349875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9577B93-3D18-4C71-86D8-5D1908A0A242}" type="datetime'''''''''A''''''''''u''''stral''''i''''''''''''''''''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9" name="Text Placeholder 29"/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5686426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5E59D73-480F-405C-826C-97F519F53B21}" type="datetime'''''1'''''''',''''''''2''''4''''''''''5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24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18" name="Rectangle 63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5716589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41C4F2B7-2CEC-4F6F-A293-2F71532865D9}" type="datetime'''''''''''''''''''3'''''',''4''''08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,40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60" name="Text Placeholder 90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5243514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03492B3-F3BD-49D8-BDD9-63698BC4DF43}" type="datetime'''''''''''''''''C''''h''''''''''''''i''''n''''a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2" name="Text Placeholder 9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5049839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27B5F05-CFD4-4B64-9220-0F0BE32A4B7F}" type="datetime'''G''''''''''e''''''''''r''''''''''''m''''a''''''n''y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22" name="Rectangle 67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5762064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1E18FBA0-8A78-4C95-ACAD-BA3EC4ACC7CF}" type="datetime'6'''''''''''''''''''''''''''''',0''''4''''0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6,040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59" name="Text Placeholder 89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5207001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24" name="Rectangle 69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5907088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80A5308-3AF3-45C2-9187-7001400CD24A}" type="datetime'1''4'''''''''''',''''''96''''4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4,964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20" name="Rectangle 65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5754689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57E7330-3013-496E-A783-89E13E4A3A71}" type="datetime'''''''''''5'''''''',''''''''''''''''''49''''''''''''''''''''6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5,496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61" name="Text Placeholder 91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5229225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45F346AA-B019-4C4F-AD03-C965CA8042FA}" type="datetime'J''''a''''''''''''''''''''''''''p''a''n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25" name="Rectangle 36"/>
          <p:cNvSpPr>
            <a:spLocks noChangeArrowheads="1"/>
          </p:cNvSpPr>
          <p:nvPr/>
        </p:nvSpPr>
        <p:spPr bwMode="gray">
          <a:xfrm>
            <a:off x="5016249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2010 GDP </a:t>
            </a:r>
          </a:p>
        </p:txBody>
      </p:sp>
      <p:graphicFrame>
        <p:nvGraphicFramePr>
          <p:cNvPr id="226" name="Object 43"/>
          <p:cNvGraphicFramePr>
            <a:graphicFrameLocks/>
          </p:cNvGraphicFramePr>
          <p:nvPr>
            <p:custDataLst>
              <p:tags r:id="rId132"/>
            </p:custDataLst>
            <p:extLst/>
          </p:nvPr>
        </p:nvGraphicFramePr>
        <p:xfrm>
          <a:off x="70485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3" name="Chart" r:id="rId206" imgW="1381190" imgH="5134050" progId="MSGraph.Chart.8">
                  <p:embed followColorScheme="full"/>
                </p:oleObj>
              </mc:Choice>
              <mc:Fallback>
                <p:oleObj name="Chart" r:id="rId206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0485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8" name="Text Placeholder 118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6559550" y="6005513"/>
            <a:ext cx="5588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F3C44F7-A9E3-4994-9BF6-C136DE0E79B4}" type="datetime'I''n''''''''''''d''o''''''''''n''e''''s''''''''i''''a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ones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07" name="Text Placeholder 37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7210426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930845A-D779-4BC9-AECC-8D322858A8C7}" type="datetime'''''8''''''''88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888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87" name="Text Placeholder 117"/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6789739" y="567848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EF37414-4034-4C10-AA94-B74C7567556D}" type="datetime'''S''''''''''p''''''''''''''a''''''i''''''''n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06" name="Text Placeholder 36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7210426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7F5412F-0CA5-4313-9584-02F4701B816E}" type="datetime'''''1'',''4''''''''''''''''0''''''''''''''''''''''''''6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406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81" name="Text Placeholder 111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6796089" y="3711575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58B7AA4-33B3-4D45-88BE-77C6C7590C7C}" type="datetime'''''Br''''a''''''''''''''''''''''z''''''''''''i''''''''''''l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6" name="Rectangle 55"/>
          <p:cNvSpPr>
            <a:spLocks noChangeArrowheads="1"/>
          </p:cNvSpPr>
          <p:nvPr>
            <p:custDataLst>
              <p:tags r:id="rId138"/>
            </p:custDataLst>
          </p:nvPr>
        </p:nvSpPr>
        <p:spPr bwMode="gray">
          <a:xfrm>
            <a:off x="7218364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27E123E-016A-49FD-B528-BC88484A77D4}" type="datetime'''2'',''''''''''''''''''''''''''''3''''''''''4''''''6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346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84" name="Text Placeholder 114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6667501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61745DA-1DEE-472F-9CDC-83D5081B7F95}" type="datetime'''''''''''''''''C''''''''an''''''''''''ad''a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86" name="Text Placeholder 116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6745289" y="5272089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82" name="Text Placeholder 112"/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6880226" y="4040188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A0BD9F-D496-4E65-8B93-1305F7E8FC89}" type="datetime'''I''''''t''''a''''l''''''''''''''''''''''''''''y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0" name="Rectangle 49"/>
          <p:cNvSpPr>
            <a:spLocks noChangeArrowheads="1"/>
          </p:cNvSpPr>
          <p:nvPr>
            <p:custDataLst>
              <p:tags r:id="rId142"/>
            </p:custDataLst>
          </p:nvPr>
        </p:nvSpPr>
        <p:spPr bwMode="gray">
          <a:xfrm>
            <a:off x="7218364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D2A45B7D-FDA1-4DB9-92CD-B702F59C6B09}" type="datetime'''''''''''''''1'''''',''''''78''''''''''''''''''''9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78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05" name="Text Placeholder 35"/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7210426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0EA804E-6F98-4911-A278-8720B27D3D42}" type="datetime'''''1'',''''''''''''4''''1''''''''''''0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410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32" name="Rectangle 51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7218364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3AD2182-EFD4-41C5-A541-2F557EA553B5}" type="datetime'''''''''2'''''''',''''''''''07''3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073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85" name="Text Placeholder 115"/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6616701" y="5022850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53D5FF3-D9CB-4D1A-B5A7-7F2D1A5A590E}" type="datetime'''''''A''''u''''''''s''''t''''''''''''ra''li''''''''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4" name="Rectangle 53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7218364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4699197B-42BA-49E1-BCF3-6A52A09BEA37}" type="datetime'''''''2'',''''''148''''''''''''''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148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28" name="Rectangle 47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7210426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4D56A7A6-14B7-42F6-83F4-EAAB8F7CD13C}" type="datetime'''1'''''''''''''''',''''4''''''4''2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442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83" name="Text Placeholder 113"/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6838950" y="4367213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0E1CC71-7680-48AB-BCE0-FA592681704D}" type="datetime'''''''''I''''''''''''n''''''''''''''''''''d''''''''i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50" name="Rectangle 69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7324725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509821CD-8714-4246-9D8D-ACCCB681E32F}" type="datetime'''''''17'''''''''''',''4''''''19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7,41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4" name="Text Placeholder 104"/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6745289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42" name="Rectangle 61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7226301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C3E42B8F-7CE5-45C7-991D-D85370C1DA61}" type="datetime'''2'''''''''''''''',''''''''''''9''''''''''''4''''''9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949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44" name="Rectangle 63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7232651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3D8A8DB-A019-4B3D-8052-C4B941F6DF95}" type="datetime'''''''3'''''''''''''''''''''''''',8''6''''4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,864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8" name="Text Placeholder 108"/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6610350" y="2651126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376" name="Text Placeholder 106"/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6767513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B7091B5-F56E-4977-9540-B2EE31FF4131}" type="datetime'''''''J''''''''''''''apa''''''''''''''''''''''''''''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7" name="Rectangle 59"/>
          <p:cNvSpPr>
            <a:spLocks noChangeArrowheads="1"/>
          </p:cNvSpPr>
          <p:nvPr>
            <p:custDataLst>
              <p:tags r:id="rId155"/>
            </p:custDataLst>
          </p:nvPr>
        </p:nvSpPr>
        <p:spPr bwMode="gray">
          <a:xfrm>
            <a:off x="7226301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FAD5281D-C157-44D7-AF3D-796D7DD2EE85}" type="datetime'2'''''''''',8''''''''''''''''''''''''4''''''7''''''''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847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46" name="Rectangle 65"/>
          <p:cNvSpPr>
            <a:spLocks noChangeArrowheads="1"/>
          </p:cNvSpPr>
          <p:nvPr>
            <p:custDataLst>
              <p:tags r:id="rId156"/>
            </p:custDataLst>
          </p:nvPr>
        </p:nvSpPr>
        <p:spPr bwMode="gray">
          <a:xfrm>
            <a:off x="7232651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2AA08C8C-9831-4242-9C80-6CE1CFA9D80D}" type="datetime'''''4'''''''',''''''''6''''''''0''''''''6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4,606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9" name="Text Placeholder 109"/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6716714" y="305593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0C5118A-8895-4DBD-9B23-57CBF2BFC33C}" type="datetime'''''''''''''''Fr''''a''''''''''n''''''''''''''ce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5" name="Text Placeholder 105"/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781801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E9ECF62-C756-4CFF-9D5B-5690F31640F2}" type="datetime'''''''''''''''C''''''''h''i''''''''''''''''n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9" name="Rectangle 57"/>
          <p:cNvSpPr>
            <a:spLocks noChangeArrowheads="1"/>
          </p:cNvSpPr>
          <p:nvPr>
            <p:custDataLst>
              <p:tags r:id="rId159"/>
            </p:custDataLst>
          </p:nvPr>
        </p:nvSpPr>
        <p:spPr bwMode="gray">
          <a:xfrm>
            <a:off x="7218364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FF900BC-E786-43A2-A525-0F43210E9261}" type="datetime'''''2'''''''''''''',''''''''4''''''''''''''8''''7''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487</a:t>
            </a:fld>
            <a:endParaRPr lang="en-GB" sz="102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248" name="Rectangle 67"/>
          <p:cNvSpPr>
            <a:spLocks noChangeArrowheads="1"/>
          </p:cNvSpPr>
          <p:nvPr>
            <p:custDataLst>
              <p:tags r:id="rId160"/>
            </p:custDataLst>
          </p:nvPr>
        </p:nvSpPr>
        <p:spPr bwMode="gray">
          <a:xfrm>
            <a:off x="7278688" y="1746250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9668E9A-B741-4462-B6B0-2EC86D233715}" type="datetime'''''1''''0'''''''',''''''''''''''''''3''''''6''2'''">
              <a:rPr lang="en-US" sz="1020">
                <a:solidFill>
                  <a:srgbClr val="000000"/>
                </a:solidFill>
                <a:ea typeface="+mn-ea"/>
                <a:cs typeface="Arial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0,362</a:t>
            </a:fld>
            <a:endParaRPr lang="en-GB" sz="1020" dirty="0">
              <a:solidFill>
                <a:srgbClr val="000000"/>
              </a:solidFill>
              <a:ea typeface="+mn-ea"/>
              <a:cs typeface="Arial"/>
            </a:endParaRPr>
          </a:p>
        </p:txBody>
      </p:sp>
      <p:sp>
        <p:nvSpPr>
          <p:cNvPr id="377" name="Text Placeholder 107"/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6588126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0CB2865-1997-4169-B34C-2A22C0FE1512}" type="datetime'''''G''e''''''''''''''''''r''''''''''''''''m''a''''''''''n''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80" name="Text Placeholder 110"/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6681789" y="3384550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BA3B9EB-5973-4D93-9086-BFC84510268C}" type="datetime'''''''''''''''''A''''SE''''A''''''''''''N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51" name="Rectangle 36"/>
          <p:cNvSpPr>
            <a:spLocks noChangeArrowheads="1"/>
          </p:cNvSpPr>
          <p:nvPr/>
        </p:nvSpPr>
        <p:spPr bwMode="gray">
          <a:xfrm>
            <a:off x="6489570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2014 GDP </a:t>
            </a:r>
          </a:p>
        </p:txBody>
      </p:sp>
      <p:graphicFrame>
        <p:nvGraphicFramePr>
          <p:cNvPr id="252" name="Object 43"/>
          <p:cNvGraphicFramePr>
            <a:graphicFrameLocks/>
          </p:cNvGraphicFramePr>
          <p:nvPr>
            <p:custDataLst>
              <p:tags r:id="rId163"/>
            </p:custDataLst>
            <p:extLst/>
          </p:nvPr>
        </p:nvGraphicFramePr>
        <p:xfrm>
          <a:off x="8534401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4" name="Chart" r:id="rId208" imgW="1381190" imgH="5134050" progId="MSGraph.Chart.8">
                  <p:embed followColorScheme="full"/>
                </p:oleObj>
              </mc:Choice>
              <mc:Fallback>
                <p:oleObj name="Chart" r:id="rId208" imgW="1381190" imgH="5134050" progId="MSGraph.Chart.8">
                  <p:embed followColorScheme="full"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8534401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7" name="Text Placeholder 127"/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8267701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17ABC5D-EFD9-4547-980D-2ECDE1FBDFC8}" type="datetime'''''''B''r''a''''''z''''''''''''''''''''''il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60" name="Rectangle 53"/>
          <p:cNvSpPr>
            <a:spLocks noChangeArrowheads="1"/>
          </p:cNvSpPr>
          <p:nvPr>
            <p:custDataLst>
              <p:tags r:id="rId165"/>
            </p:custDataLst>
          </p:nvPr>
        </p:nvSpPr>
        <p:spPr bwMode="gray">
          <a:xfrm>
            <a:off x="8688389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277980BE-0F4B-46B4-A9DE-4754EB05427E}" type="datetime'''2'',''''''''''0''''''''''''''''''''''''''81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081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6" name="Text Placeholder 126"/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8310563" y="3711575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55ABDF0-C14F-4909-8283-35C4D3EE7FF1}" type="datetime'''''''''''''''''''''In''''''''''''d''''''''''''''''''''ia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2" name="Rectangle 55"/>
          <p:cNvSpPr>
            <a:spLocks noChangeArrowheads="1"/>
          </p:cNvSpPr>
          <p:nvPr>
            <p:custDataLst>
              <p:tags r:id="rId167"/>
            </p:custDataLst>
          </p:nvPr>
        </p:nvSpPr>
        <p:spPr bwMode="gray">
          <a:xfrm>
            <a:off x="8688389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88799F16-F364-4D24-9F47-E1661913555D}" type="datetime'''''''''''''''2'''''''''''''''''''''''',''''''''''2''64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264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5" name="Text Placeholder 125"/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8081963" y="3306764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265" name="Rectangle 57"/>
          <p:cNvSpPr>
            <a:spLocks noChangeArrowheads="1"/>
          </p:cNvSpPr>
          <p:nvPr>
            <p:custDataLst>
              <p:tags r:id="rId169"/>
            </p:custDataLst>
          </p:nvPr>
        </p:nvSpPr>
        <p:spPr bwMode="gray">
          <a:xfrm>
            <a:off x="8688389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31D793A6-B2CE-4356-A2A9-8CDD9EEC885C}" type="datetime'''''''''''2'''',5''''''''''''''''''''''''''''''6''''''''''''5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565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4" name="Text Placeholder 124"/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188326" y="305593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ECE9F9F-07E4-4E52-BDBA-008312A2C313}" type="datetime'''''''F''''''''''''''r''''''''''a''''nc''e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3" name="Rectangle 59"/>
          <p:cNvSpPr>
            <a:spLocks noChangeArrowheads="1"/>
          </p:cNvSpPr>
          <p:nvPr>
            <p:custDataLst>
              <p:tags r:id="rId171"/>
            </p:custDataLst>
          </p:nvPr>
        </p:nvSpPr>
        <p:spPr bwMode="gray">
          <a:xfrm>
            <a:off x="86883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34E9D27C-8807-479A-8405-BE253FBE8AEA}" type="datetime'''2'',5''''''''''75''''''''''''''''''''''''''''''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575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2" name="Text Placeholder 122"/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059739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305FE32-07F5-4E73-95EB-28BE718D696F}" type="datetime'''''''''''''''G''''e''''''rman''y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93" name="Text Placeholder 123"/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8153401" y="2728913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4283252-2967-429B-B67F-6C68128AE569}" type="datetime'AS''''''''''''E''''''''''''''''''''''''A''''''''N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8" name="Rectangle 61"/>
          <p:cNvSpPr>
            <a:spLocks noChangeArrowheads="1"/>
          </p:cNvSpPr>
          <p:nvPr>
            <p:custDataLst>
              <p:tags r:id="rId174"/>
            </p:custDataLst>
          </p:nvPr>
        </p:nvSpPr>
        <p:spPr bwMode="gray">
          <a:xfrm>
            <a:off x="8696326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5A6E6266-8220-4515-829D-4A737C33B2E7}" type="datetime'''''''2'',''''''''7''''1''''7''''''''''''''''''''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2,717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270" name="Rectangle 63"/>
          <p:cNvSpPr>
            <a:spLocks noChangeArrowheads="1"/>
          </p:cNvSpPr>
          <p:nvPr>
            <p:custDataLst>
              <p:tags r:id="rId175"/>
            </p:custDataLst>
          </p:nvPr>
        </p:nvSpPr>
        <p:spPr bwMode="gray">
          <a:xfrm>
            <a:off x="8696326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1C625B2-97EF-4E52-8DFE-E321C8A80AC3}" type="datetime'3'''''''''''''',''6''''''5''''''''''''''''''''''''''''2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3,652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1" name="Text Placeholder 121"/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239125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E4DA572-8191-4CD5-85C1-E4239BB604F9}" type="datetime'''''''''''''''''''''J''''''''''''ap''a''''''''''''''''n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72" name="Rectangle 65"/>
          <p:cNvSpPr>
            <a:spLocks noChangeArrowheads="1"/>
          </p:cNvSpPr>
          <p:nvPr>
            <p:custDataLst>
              <p:tags r:id="rId177"/>
            </p:custDataLst>
          </p:nvPr>
        </p:nvSpPr>
        <p:spPr bwMode="gray">
          <a:xfrm>
            <a:off x="8712201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763A1E35-091B-4253-A2E6-1540430CF97D}" type="datetime'''''''''''''''4,''''''''''''''''''''''''''88''4''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4,884</a:t>
            </a:fld>
            <a:endParaRPr lang="en-GB" sz="1020" dirty="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0" name="Text Placeholder 120"/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253414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D2D4375-0A25-43D9-B775-A0D3ED8F8D5F}" type="datetime'''''C''''''''''''''h''''''''''''''''''i''''''''''''''''n''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4" name="Rectangle 67"/>
          <p:cNvSpPr>
            <a:spLocks noChangeArrowheads="1"/>
          </p:cNvSpPr>
          <p:nvPr>
            <p:custDataLst>
              <p:tags r:id="rId179"/>
            </p:custDataLst>
          </p:nvPr>
        </p:nvSpPr>
        <p:spPr bwMode="gray">
          <a:xfrm>
            <a:off x="8756650" y="1746250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97F1F21F-B9A7-4E52-9704-B97300FA65D3}" type="datetime'1''''''''''''''''''''''''''1'''',9''''3''''''''''''''8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1,938</a:t>
            </a:fld>
            <a:endParaRPr lang="en-GB" sz="1020" dirty="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89" name="Text Placeholder 119"/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8180389" y="1339851"/>
            <a:ext cx="4095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</a:p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76" name="Rectangle 69"/>
          <p:cNvSpPr>
            <a:spLocks noChangeArrowheads="1"/>
          </p:cNvSpPr>
          <p:nvPr>
            <p:custDataLst>
              <p:tags r:id="rId181"/>
            </p:custDataLst>
          </p:nvPr>
        </p:nvSpPr>
        <p:spPr bwMode="gray">
          <a:xfrm>
            <a:off x="8810625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4A8C657E-5947-4398-8014-251E0DA311F1}" type="datetime'''1''''''''''9'''',''''''''''''''63''''''''''''2''''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9,632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258" name="Rectangle 51"/>
          <p:cNvSpPr>
            <a:spLocks noChangeArrowheads="1"/>
          </p:cNvSpPr>
          <p:nvPr>
            <p:custDataLst>
              <p:tags r:id="rId182"/>
            </p:custDataLst>
          </p:nvPr>
        </p:nvSpPr>
        <p:spPr bwMode="gray">
          <a:xfrm>
            <a:off x="8688389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0414B900-6012-4777-BAFD-F9AA570BEBAA}" type="datetime'''''''''''1'''',9''''''''''''2''''''''''''''''''''''''''1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921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402" name="Text Placeholder 132"/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8261351" y="567848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8659EC2-EEF6-437D-A5AE-BE1107405DFF}" type="datetime'''''''''''''''''''''S''p''''''''''''''ain''''''''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98" name="Text Placeholder 128"/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8351839" y="4367213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4650842C-2BAE-4BAB-B8CF-06A522C1F744}" type="datetime'''''''''''''''I''''''''''''''ta''l''''''''y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12" name="Text Placeholder 42"/>
          <p:cNvSpPr>
            <a:spLocks noGrp="1"/>
          </p:cNvSpPr>
          <p:nvPr>
            <p:custDataLst>
              <p:tags r:id="rId185"/>
            </p:custDataLst>
          </p:nvPr>
        </p:nvSpPr>
        <p:spPr bwMode="gray">
          <a:xfrm>
            <a:off x="8680451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280ED0D-07F8-48CF-8661-D666C1FAC9D3}" type="datetime'''''''''''''1'''''''''''''''''''''',3''''''''''''''''''''07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307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403" name="Text Placeholder 133"/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8180388" y="6005513"/>
            <a:ext cx="409796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DA04801-3C8A-4E33-8921-9B4DCA5B1760}" type="datetime'''''M''e''''''''''x''''''''''''''''''''''ic''o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Mexico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01" name="Text Placeholder 131"/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8247063" y="5272089"/>
            <a:ext cx="343386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13" name="Text Placeholder 43"/>
          <p:cNvSpPr>
            <a:spLocks noGrp="1"/>
          </p:cNvSpPr>
          <p:nvPr>
            <p:custDataLst>
              <p:tags r:id="rId188"/>
            </p:custDataLst>
          </p:nvPr>
        </p:nvSpPr>
        <p:spPr bwMode="gray">
          <a:xfrm>
            <a:off x="8680451" y="6005513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55A86C6-BBB8-4DA4-8530-65911005A62E}" type="datetime'1,''''''''''''''1''''4''''''2''''''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142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311" name="Text Placeholder 41"/>
          <p:cNvSpPr>
            <a:spLocks noGrp="1"/>
          </p:cNvSpPr>
          <p:nvPr>
            <p:custDataLst>
              <p:tags r:id="rId189"/>
            </p:custDataLst>
          </p:nvPr>
        </p:nvSpPr>
        <p:spPr bwMode="gray">
          <a:xfrm>
            <a:off x="8680451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78DAE41-5F4E-41AF-B886-A69BED81692F}" type="datetime'''''''''''''''''''''''''''''1'''',''''39''''''0''''''''''''''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390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254" name="Rectangle 47"/>
          <p:cNvSpPr>
            <a:spLocks noChangeArrowheads="1"/>
          </p:cNvSpPr>
          <p:nvPr>
            <p:custDataLst>
              <p:tags r:id="rId190"/>
            </p:custDataLst>
          </p:nvPr>
        </p:nvSpPr>
        <p:spPr bwMode="gray">
          <a:xfrm>
            <a:off x="8680451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E4CD1C5F-A369-4148-919C-1E240CE5DC05}" type="datetime'''''''''''1'''''''''',''52''''''''''9''''''''''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529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400" name="Text Placeholder 130"/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7874001" y="5022850"/>
            <a:ext cx="7159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D977EB8-E7A2-45AB-8063-2EEF1DE19597}" type="datetime'S''''''''''''o''u''th ''''''K''''o''''r''''''''''''ea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South Korea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56" name="Rectangle 49"/>
          <p:cNvSpPr>
            <a:spLocks noChangeArrowheads="1"/>
          </p:cNvSpPr>
          <p:nvPr>
            <p:custDataLst>
              <p:tags r:id="rId192"/>
            </p:custDataLst>
          </p:nvPr>
        </p:nvSpPr>
        <p:spPr bwMode="gray">
          <a:xfrm>
            <a:off x="8688389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fld id="{BB99EA25-BB0E-46D6-93EB-C4BB84944A62}" type="datetime'''1'''''''',6''''''''''''''''''''''''''''''''''''''''''4''0'''">
              <a:rPr lang="en-US" altLang="en-US" sz="1020">
                <a:solidFill>
                  <a:srgbClr val="000000"/>
                </a:solidFill>
                <a:ea typeface="+mn-ea"/>
                <a:cs typeface="Arial" panose="020B0604020202020204" pitchFamily="34" charset="0"/>
              </a:rPr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t>1,640</a:t>
            </a:fld>
            <a:endParaRPr lang="en-GB" sz="1020">
              <a:solidFill>
                <a:srgbClr val="000000"/>
              </a:solidFill>
              <a:ea typeface="+mn-ea"/>
              <a:cs typeface="Arial" panose="020B0604020202020204" pitchFamily="34" charset="0"/>
            </a:endParaRPr>
          </a:p>
        </p:txBody>
      </p:sp>
      <p:sp>
        <p:nvSpPr>
          <p:cNvPr id="399" name="Text Placeholder 129"/>
          <p:cNvSpPr>
            <a:spLocks noGrp="1"/>
          </p:cNvSpPr>
          <p:nvPr>
            <p:custDataLst>
              <p:tags r:id="rId193"/>
            </p:custDataLst>
          </p:nvPr>
        </p:nvSpPr>
        <p:spPr bwMode="auto">
          <a:xfrm>
            <a:off x="8139114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A7A465A-490F-4B91-B48B-35CE8E9E0D8D}" type="datetime'''''''''''''''C''''a''''''''''''''''''''''n''a''''''''d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7" name="Rectangle 36"/>
          <p:cNvSpPr>
            <a:spLocks noChangeArrowheads="1"/>
          </p:cNvSpPr>
          <p:nvPr/>
        </p:nvSpPr>
        <p:spPr bwMode="gray">
          <a:xfrm>
            <a:off x="7962890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  <a:ea typeface="+mn-ea"/>
                <a:cs typeface="+mn-cs"/>
              </a:rPr>
              <a:t>2017 GDP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15118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Object 3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1540" y="204"/>
          <a:ext cx="161964" cy="1619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1540" y="204"/>
                        <a:ext cx="161964" cy="1619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503015" y="235053"/>
            <a:ext cx="8793075" cy="596830"/>
          </a:xfrm>
        </p:spPr>
        <p:txBody>
          <a:bodyPr/>
          <a:lstStyle/>
          <a:p>
            <a:r>
              <a:rPr lang="en-SG" dirty="0"/>
              <a:t>A number of unique aspects will influence technology disruption in ASEAN</a:t>
            </a:r>
            <a:endParaRPr lang="en-US" dirty="0"/>
          </a:p>
        </p:txBody>
      </p:sp>
      <p:cxnSp>
        <p:nvCxnSpPr>
          <p:cNvPr id="60" name="Straight Connector 59"/>
          <p:cNvCxnSpPr>
            <a:cxnSpLocks/>
          </p:cNvCxnSpPr>
          <p:nvPr/>
        </p:nvCxnSpPr>
        <p:spPr>
          <a:xfrm>
            <a:off x="3367519" y="5267086"/>
            <a:ext cx="569566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>
            <a:cxnSpLocks/>
          </p:cNvCxnSpPr>
          <p:nvPr/>
        </p:nvCxnSpPr>
        <p:spPr>
          <a:xfrm>
            <a:off x="3367519" y="3294634"/>
            <a:ext cx="569566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>
            <a:cxnSpLocks/>
          </p:cNvCxnSpPr>
          <p:nvPr/>
        </p:nvCxnSpPr>
        <p:spPr>
          <a:xfrm>
            <a:off x="3367519" y="4232698"/>
            <a:ext cx="569566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>
            <a:cxnSpLocks/>
          </p:cNvCxnSpPr>
          <p:nvPr/>
        </p:nvCxnSpPr>
        <p:spPr>
          <a:xfrm>
            <a:off x="3367519" y="2476639"/>
            <a:ext cx="5695661" cy="0"/>
          </a:xfrm>
          <a:prstGeom prst="line">
            <a:avLst/>
          </a:prstGeom>
          <a:ln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Rectangle 9"/>
          <p:cNvSpPr txBox="1"/>
          <p:nvPr/>
        </p:nvSpPr>
        <p:spPr>
          <a:xfrm>
            <a:off x="724688" y="1334840"/>
            <a:ext cx="230505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ct val="4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000000"/>
                </a:solidFill>
                <a:ea typeface="Arial Unicode MS"/>
                <a:cs typeface="Arial Unicode MS"/>
              </a:rPr>
              <a:t>Asia context</a:t>
            </a:r>
            <a:endParaRPr lang="en-US" sz="16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cxnSp>
        <p:nvCxnSpPr>
          <p:cNvPr id="65" name="Straight Connector 64"/>
          <p:cNvCxnSpPr>
            <a:cxnSpLocks/>
          </p:cNvCxnSpPr>
          <p:nvPr/>
        </p:nvCxnSpPr>
        <p:spPr>
          <a:xfrm flipV="1">
            <a:off x="724688" y="1620553"/>
            <a:ext cx="230505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9"/>
          <p:cNvSpPr txBox="1">
            <a:spLocks/>
          </p:cNvSpPr>
          <p:nvPr/>
        </p:nvSpPr>
        <p:spPr>
          <a:xfrm>
            <a:off x="724689" y="1681863"/>
            <a:ext cx="1755025" cy="803983"/>
          </a:xfrm>
          <a:prstGeom prst="rect">
            <a:avLst/>
          </a:prstGeom>
          <a:solidFill>
            <a:srgbClr val="44546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Rapidly growing affluent middle </a:t>
            </a:r>
            <a:b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</a:b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class </a:t>
            </a:r>
          </a:p>
        </p:txBody>
      </p:sp>
      <p:pic>
        <p:nvPicPr>
          <p:cNvPr id="69" name="Picture 14" descr="1212912_38514992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752" b="10513"/>
          <a:stretch/>
        </p:blipFill>
        <p:spPr bwMode="gray">
          <a:xfrm>
            <a:off x="2421711" y="1826292"/>
            <a:ext cx="792223" cy="575140"/>
          </a:xfrm>
          <a:prstGeom prst="round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2" name="Rectangle 9"/>
          <p:cNvSpPr txBox="1">
            <a:spLocks/>
          </p:cNvSpPr>
          <p:nvPr/>
        </p:nvSpPr>
        <p:spPr>
          <a:xfrm>
            <a:off x="724689" y="2541322"/>
            <a:ext cx="1755025" cy="762519"/>
          </a:xfrm>
          <a:prstGeom prst="rect">
            <a:avLst/>
          </a:prstGeom>
          <a:solidFill>
            <a:srgbClr val="44546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FFFFFF"/>
                </a:solidFill>
              </a:rPr>
              <a:t>Tech loving</a:t>
            </a:r>
            <a:br>
              <a:rPr lang="en-US" sz="1600" b="1" dirty="0">
                <a:solidFill>
                  <a:srgbClr val="FFFFFF"/>
                </a:solidFill>
              </a:rPr>
            </a:br>
            <a:r>
              <a:rPr lang="en-US" sz="1600" b="1" dirty="0">
                <a:solidFill>
                  <a:srgbClr val="FFFFFF"/>
                </a:solidFill>
              </a:rPr>
              <a:t>population</a:t>
            </a:r>
          </a:p>
        </p:txBody>
      </p:sp>
      <p:pic>
        <p:nvPicPr>
          <p:cNvPr id="78" name="Picture 9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544" t="9756" r="9544" b="12216"/>
          <a:stretch/>
        </p:blipFill>
        <p:spPr bwMode="auto">
          <a:xfrm>
            <a:off x="2421711" y="2635010"/>
            <a:ext cx="792223" cy="575140"/>
          </a:xfrm>
          <a:prstGeom prst="round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79" name="Rectangle 9"/>
          <p:cNvSpPr txBox="1">
            <a:spLocks/>
          </p:cNvSpPr>
          <p:nvPr/>
        </p:nvSpPr>
        <p:spPr>
          <a:xfrm>
            <a:off x="724689" y="3359317"/>
            <a:ext cx="1755025" cy="762519"/>
          </a:xfrm>
          <a:prstGeom prst="rect">
            <a:avLst/>
          </a:prstGeom>
          <a:solidFill>
            <a:srgbClr val="44546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FFFFFF"/>
                </a:solidFill>
              </a:rPr>
              <a:t>Supply chain fragmentation </a:t>
            </a:r>
          </a:p>
        </p:txBody>
      </p:sp>
      <p:pic>
        <p:nvPicPr>
          <p:cNvPr id="80" name="Picture 9" descr="1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63" t="4357" r="7763" b="4357"/>
          <a:stretch/>
        </p:blipFill>
        <p:spPr bwMode="auto">
          <a:xfrm>
            <a:off x="2421711" y="3459006"/>
            <a:ext cx="792223" cy="563141"/>
          </a:xfrm>
          <a:prstGeom prst="round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Rectangle 9"/>
          <p:cNvSpPr txBox="1">
            <a:spLocks/>
          </p:cNvSpPr>
          <p:nvPr/>
        </p:nvSpPr>
        <p:spPr>
          <a:xfrm>
            <a:off x="724689" y="4177312"/>
            <a:ext cx="1755025" cy="1062037"/>
          </a:xfrm>
          <a:prstGeom prst="rect">
            <a:avLst/>
          </a:prstGeom>
          <a:solidFill>
            <a:srgbClr val="44546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Skills</a:t>
            </a:r>
            <a:b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</a:b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constraints</a:t>
            </a:r>
          </a:p>
        </p:txBody>
      </p:sp>
      <p:pic>
        <p:nvPicPr>
          <p:cNvPr id="82" name="Picture 11" descr="Photoxpress_5201999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55" t="1" r="4655" b="1570"/>
          <a:stretch/>
        </p:blipFill>
        <p:spPr bwMode="auto">
          <a:xfrm>
            <a:off x="2421711" y="4426760"/>
            <a:ext cx="792223" cy="563141"/>
          </a:xfrm>
          <a:prstGeom prst="round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Rectangle 9"/>
          <p:cNvSpPr txBox="1">
            <a:spLocks/>
          </p:cNvSpPr>
          <p:nvPr/>
        </p:nvSpPr>
        <p:spPr>
          <a:xfrm>
            <a:off x="724689" y="5294823"/>
            <a:ext cx="1755025" cy="762519"/>
          </a:xfrm>
          <a:prstGeom prst="rect">
            <a:avLst/>
          </a:prstGeom>
          <a:solidFill>
            <a:srgbClr val="44546A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Low starting </a:t>
            </a:r>
            <a:b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</a:br>
            <a:r>
              <a:rPr lang="en-US" sz="1600" b="1" dirty="0">
                <a:solidFill>
                  <a:srgbClr val="FFFFFF"/>
                </a:solidFill>
                <a:ea typeface="Arial Unicode MS"/>
                <a:cs typeface="Arial Unicode MS"/>
              </a:rPr>
              <a:t>point </a:t>
            </a:r>
          </a:p>
        </p:txBody>
      </p:sp>
      <p:pic>
        <p:nvPicPr>
          <p:cNvPr id="89" name="Picture 23" descr="http://cdn.bigrigmedia.com/wp-content/uploads/2012/08/mobile-apps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81" b="12981"/>
          <a:stretch/>
        </p:blipFill>
        <p:spPr bwMode="auto">
          <a:xfrm>
            <a:off x="2421711" y="5388511"/>
            <a:ext cx="792223" cy="575140"/>
          </a:xfrm>
          <a:prstGeom prst="round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0" name="Rectangle 9"/>
          <p:cNvSpPr txBox="1"/>
          <p:nvPr/>
        </p:nvSpPr>
        <p:spPr>
          <a:xfrm>
            <a:off x="3367518" y="2541322"/>
            <a:ext cx="5464752" cy="569387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ASEAN is the largest Facebook market</a:t>
            </a:r>
          </a:p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Jakarta is the twitter capital of the world</a:t>
            </a:r>
          </a:p>
        </p:txBody>
      </p:sp>
      <p:sp>
        <p:nvSpPr>
          <p:cNvPr id="91" name="Rectangle 9"/>
          <p:cNvSpPr txBox="1"/>
          <p:nvPr/>
        </p:nvSpPr>
        <p:spPr>
          <a:xfrm>
            <a:off x="3367518" y="3359316"/>
            <a:ext cx="5464752" cy="738664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Aside from Brunei and Singapore, &gt;50% of all grocery markets in ASEAN are still considered traditional grocery retailers</a:t>
            </a:r>
          </a:p>
        </p:txBody>
      </p:sp>
      <p:sp>
        <p:nvSpPr>
          <p:cNvPr id="92" name="Rectangle 9"/>
          <p:cNvSpPr txBox="1"/>
          <p:nvPr/>
        </p:nvSpPr>
        <p:spPr>
          <a:xfrm>
            <a:off x="3367518" y="4408220"/>
            <a:ext cx="5464752" cy="492443"/>
          </a:xfrm>
          <a:prstGeom prst="rect">
            <a:avLst/>
          </a:prstGeom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Only </a:t>
            </a:r>
            <a:r>
              <a:rPr lang="en-US" sz="1600" b="1" dirty="0">
                <a:solidFill>
                  <a:srgbClr val="000000"/>
                </a:solidFill>
              </a:rPr>
              <a:t>~20% </a:t>
            </a:r>
            <a:r>
              <a:rPr lang="en-US" sz="1600" dirty="0">
                <a:solidFill>
                  <a:srgbClr val="000000"/>
                </a:solidFill>
              </a:rPr>
              <a:t>of population above 25 have completed secondary schooling</a:t>
            </a:r>
          </a:p>
        </p:txBody>
      </p:sp>
      <p:sp>
        <p:nvSpPr>
          <p:cNvPr id="93" name="Rectangle 9"/>
          <p:cNvSpPr txBox="1">
            <a:spLocks/>
          </p:cNvSpPr>
          <p:nvPr/>
        </p:nvSpPr>
        <p:spPr>
          <a:xfrm>
            <a:off x="3367518" y="5294823"/>
            <a:ext cx="5464752" cy="49244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b="1" dirty="0">
                <a:solidFill>
                  <a:srgbClr val="000000"/>
                </a:solidFill>
              </a:rPr>
              <a:t>&lt;50% </a:t>
            </a:r>
            <a:r>
              <a:rPr lang="en-US" sz="1600" dirty="0">
                <a:solidFill>
                  <a:srgbClr val="000000"/>
                </a:solidFill>
              </a:rPr>
              <a:t>broadband penetration in all countries except Singapore</a:t>
            </a:r>
          </a:p>
        </p:txBody>
      </p:sp>
      <p:cxnSp>
        <p:nvCxnSpPr>
          <p:cNvPr id="94" name="Straight Connector 93"/>
          <p:cNvCxnSpPr>
            <a:cxnSpLocks/>
          </p:cNvCxnSpPr>
          <p:nvPr/>
        </p:nvCxnSpPr>
        <p:spPr>
          <a:xfrm>
            <a:off x="3367518" y="1620553"/>
            <a:ext cx="2939958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Rectangle 9"/>
          <p:cNvSpPr txBox="1">
            <a:spLocks/>
          </p:cNvSpPr>
          <p:nvPr/>
        </p:nvSpPr>
        <p:spPr>
          <a:xfrm>
            <a:off x="3367518" y="1681863"/>
            <a:ext cx="5464752" cy="246221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80000" indent="-180000" defTabSz="914400" fontAlgn="auto"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Font typeface="Arial"/>
              <a:buChar char="•"/>
            </a:pPr>
            <a:r>
              <a:rPr lang="en-US" sz="1600" dirty="0">
                <a:solidFill>
                  <a:srgbClr val="000000"/>
                </a:solidFill>
              </a:rPr>
              <a:t>Consuming class will </a:t>
            </a:r>
            <a:r>
              <a:rPr lang="en-US" sz="1600" b="1" dirty="0">
                <a:solidFill>
                  <a:srgbClr val="000000"/>
                </a:solidFill>
              </a:rPr>
              <a:t>double</a:t>
            </a:r>
            <a:r>
              <a:rPr lang="en-US" sz="1600" dirty="0">
                <a:solidFill>
                  <a:srgbClr val="000000"/>
                </a:solidFill>
              </a:rPr>
              <a:t> in ASEAN by 2030</a:t>
            </a:r>
          </a:p>
        </p:txBody>
      </p:sp>
      <p:sp>
        <p:nvSpPr>
          <p:cNvPr id="104" name="Rectangle 9"/>
          <p:cNvSpPr txBox="1"/>
          <p:nvPr/>
        </p:nvSpPr>
        <p:spPr>
          <a:xfrm>
            <a:off x="3367519" y="1334840"/>
            <a:ext cx="293995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ct val="4000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600" b="1" dirty="0">
                <a:solidFill>
                  <a:srgbClr val="000000"/>
                </a:solidFill>
                <a:ea typeface="Arial Unicode MS"/>
                <a:cs typeface="Arial Unicode MS"/>
              </a:rPr>
              <a:t>Key facts in ASEAN</a:t>
            </a:r>
            <a:endParaRPr lang="en-US" sz="1600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07" name="Rectangle 106"/>
          <p:cNvSpPr/>
          <p:nvPr/>
        </p:nvSpPr>
        <p:spPr>
          <a:xfrm>
            <a:off x="613850" y="1307860"/>
            <a:ext cx="8624821" cy="480522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dirty="0">
              <a:solidFill>
                <a:srgbClr val="FFFFFF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2280928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2" name="think-cell Slide" r:id="rId37" imgW="270" imgH="270" progId="TCLayout.ActiveDocument.1">
                  <p:embed/>
                </p:oleObj>
              </mc:Choice>
              <mc:Fallback>
                <p:oleObj name="think-cell Slide" r:id="rId3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 hidden="1"/>
          <p:cNvSpPr/>
          <p:nvPr>
            <p:custDataLst>
              <p:tags r:id="rId4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 fontAlgn="auto"/>
            <a:endParaRPr lang="en-GB" sz="1600" dirty="0" err="1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" name="Group 2"/>
          <p:cNvGrpSpPr/>
          <p:nvPr/>
        </p:nvGrpSpPr>
        <p:grpSpPr>
          <a:xfrm>
            <a:off x="381271" y="1257064"/>
            <a:ext cx="9143461" cy="1141875"/>
            <a:chOff x="0" y="1476421"/>
            <a:chExt cx="8961438" cy="1119143"/>
          </a:xfrm>
        </p:grpSpPr>
        <p:sp>
          <p:nvSpPr>
            <p:cNvPr id="58" name="Rectangle 57"/>
            <p:cNvSpPr>
              <a:spLocks/>
            </p:cNvSpPr>
            <p:nvPr/>
          </p:nvSpPr>
          <p:spPr>
            <a:xfrm>
              <a:off x="0" y="1476423"/>
              <a:ext cx="8961438" cy="111914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F0F0F0"/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67" tIns="46633" rIns="93267" bIns="46633"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59" name="Straight Connector 58"/>
            <p:cNvCxnSpPr>
              <a:cxnSpLocks/>
            </p:cNvCxnSpPr>
            <p:nvPr/>
          </p:nvCxnSpPr>
          <p:spPr>
            <a:xfrm>
              <a:off x="0" y="1476421"/>
              <a:ext cx="896143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2" y="234865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EAN ranks highly in terms of global technology adoption</a:t>
            </a:r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auto">
          <a:xfrm>
            <a:off x="541433" y="763684"/>
            <a:ext cx="2694361" cy="4583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37" b="1" dirty="0">
                <a:solidFill>
                  <a:srgbClr val="0066CC"/>
                </a:solidFill>
                <a:latin typeface="Arial"/>
                <a:ea typeface="+mn-ea"/>
                <a:cs typeface="+mn-cs"/>
              </a:rPr>
              <a:t>Internet users</a:t>
            </a:r>
          </a:p>
        </p:txBody>
      </p:sp>
      <p:sp>
        <p:nvSpPr>
          <p:cNvPr id="146" name="AutoShape 250"/>
          <p:cNvSpPr>
            <a:spLocks noChangeArrowheads="1"/>
          </p:cNvSpPr>
          <p:nvPr/>
        </p:nvSpPr>
        <p:spPr bwMode="auto">
          <a:xfrm>
            <a:off x="5475579" y="763684"/>
            <a:ext cx="2694361" cy="4583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no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37" b="1" dirty="0">
                <a:solidFill>
                  <a:srgbClr val="0066CC"/>
                </a:solidFill>
                <a:latin typeface="Arial"/>
                <a:ea typeface="+mn-ea"/>
                <a:cs typeface="+mn-cs"/>
              </a:rPr>
              <a:t>Facebook users</a:t>
            </a:r>
          </a:p>
        </p:txBody>
      </p:sp>
      <p:cxnSp>
        <p:nvCxnSpPr>
          <p:cNvPr id="62" name="Straight Connector 61"/>
          <p:cNvCxnSpPr>
            <a:cxnSpLocks/>
          </p:cNvCxnSpPr>
          <p:nvPr/>
        </p:nvCxnSpPr>
        <p:spPr>
          <a:xfrm>
            <a:off x="381271" y="6277520"/>
            <a:ext cx="914346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0" name="Object 59"/>
          <p:cNvGraphicFramePr>
            <a:graphicFrameLocks/>
          </p:cNvGraphicFramePr>
          <p:nvPr>
            <p:custDataLst>
              <p:tags r:id="rId5"/>
            </p:custDataLst>
            <p:extLst/>
          </p:nvPr>
        </p:nvGraphicFramePr>
        <p:xfrm>
          <a:off x="2209800" y="1295400"/>
          <a:ext cx="2316444" cy="48539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3" name="Chart" r:id="rId39" imgW="2314499" imgH="4857840" progId="MSGraph.Chart.8">
                  <p:embed followColorScheme="full"/>
                </p:oleObj>
              </mc:Choice>
              <mc:Fallback>
                <p:oleObj name="Chart" r:id="rId39" imgW="2314499" imgH="485784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2209800" y="1295400"/>
                        <a:ext cx="2316444" cy="485395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8" name="Rectangle 137">
            <a:extLst>
              <a:ext uri="{FF2B5EF4-FFF2-40B4-BE49-F238E27FC236}">
                <a16:creationId xmlns:a16="http://schemas.microsoft.com/office/drawing/2014/main" id="{22E704DC-14EE-480F-8B7E-599BE7FF7FA7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828801" y="3987801"/>
            <a:ext cx="415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1C6AC24-69A3-46B0-A50D-EC1866CBCB6E}" type="datetime'''''U''''''''''''''''''''''''''''''''S''''''''A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US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FDD2A0FD-67DD-420B-BA26-14B3B6CDDEE5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1716088" y="1663701"/>
            <a:ext cx="5286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3481681-01EB-4881-A76F-D0E58FE642DB}" type="datetime'''''''''''''''''''C''''''h''i''''''n''''''''''''''''''''''''a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Chin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3F72B8FE-696A-4D40-A27A-D05E6A0A1636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1558925" y="3209926"/>
            <a:ext cx="6858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A914275-2A28-4ACE-AC31-ADCF73AC01B7}" type="datetime'A''S''''''''''E''''''''''''''''''''''''A''''''''''''''''N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ASEAN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9" name="Rectangle 138">
            <a:extLst>
              <a:ext uri="{FF2B5EF4-FFF2-40B4-BE49-F238E27FC236}">
                <a16:creationId xmlns:a16="http://schemas.microsoft.com/office/drawing/2014/main" id="{987F262F-0E19-444D-A6E1-78EBE09C9C57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1738314" y="4760914"/>
            <a:ext cx="5064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AD2597A-4AC3-4E36-BCDB-1554C7B82C13}" type="datetime'''''''B''''''r''''az''''''''''''''''i''''''''''''l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Brazil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6" name="Rectangle 135">
            <a:extLst>
              <a:ext uri="{FF2B5EF4-FFF2-40B4-BE49-F238E27FC236}">
                <a16:creationId xmlns:a16="http://schemas.microsoft.com/office/drawing/2014/main" id="{73056896-BFAE-455E-9B7A-514818DCD5EC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1804988" y="2436814"/>
            <a:ext cx="4397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185699E-EB75-4193-9DCE-1D8C4EC13EA9}" type="datetime'''''I''''''''''''''''n''d''i''''''''''a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Indi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692FCD7D-58A5-4F8F-83E6-02675F636864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1625601" y="5534026"/>
            <a:ext cx="6191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8B397CD-6725-4ED1-A6BF-664F5A23B963}" type="datetime'''''''''''''R''''''''''''''us''s''''''i''''''''''''''a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Russi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8" name="Text Placeholder 36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2714625" y="4759326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A6E4AAD-03EF-4534-B338-26DF93EEF891}" type="datetime'''''''''''''''1''''''''''''''''24''''''''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24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70" name="Text Placeholder 32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3049588" y="3986214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388F719-7C7E-4E21-87EA-5A9CFE61F244}" type="datetime'''2''''''''''''''''''''''''''''''''''''45''''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45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61" name="Text Placeholder 13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346450" y="3208339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7B5F017-431B-404C-92B4-A895B096D566}" type="datetime'''''''''''''''3''5''''1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351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66" name="Text Placeholder 37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68589" y="5532439"/>
            <a:ext cx="392113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945E1C5-5371-4FAC-B64F-0C07C4E8A70C}" type="datetime'''''''''''''''''1''''''''''''''1''''''''''''''''''0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10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74" name="Text Placeholder 30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460750" y="2435226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A9AF7AE1-C3B1-4483-A197-E514849530F2}" type="datetime'''3''9''''''1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391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76" name="Text Placeholder 29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459288" y="1662114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46396D58-65F2-43AF-BFD3-05C2978ABE9D}" type="datetime'''''''7''''''''''''4''''''''''''''''''''''''''''7''''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747</a:t>
            </a:fld>
            <a:endParaRPr lang="en-US" sz="1632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graphicFrame>
        <p:nvGraphicFramePr>
          <p:cNvPr id="77" name="Object 76"/>
          <p:cNvGraphicFramePr>
            <a:graphicFrameLocks/>
          </p:cNvGraphicFramePr>
          <p:nvPr>
            <p:custDataLst>
              <p:tags r:id="rId18"/>
            </p:custDataLst>
            <p:extLst/>
          </p:nvPr>
        </p:nvGraphicFramePr>
        <p:xfrm>
          <a:off x="6858000" y="1333500"/>
          <a:ext cx="2141182" cy="49530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4" name="Chart" r:id="rId41" imgW="2143235" imgH="4952880" progId="MSGraph.Chart.8">
                  <p:embed followColorScheme="full"/>
                </p:oleObj>
              </mc:Choice>
              <mc:Fallback>
                <p:oleObj name="Chart" r:id="rId41" imgW="2143235" imgH="495288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6858000" y="1333500"/>
                        <a:ext cx="2141182" cy="495309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8" name="Text Placeholder 7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010525" y="3395664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345B9C8-AEB0-40B4-AF37-AC4239B89CAF}" type="datetime'''''''''''''1''''''''''''''''''''''''''''''''''30''''''''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30</a:t>
            </a:fld>
            <a:endParaRPr lang="en-US" sz="1632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31CEDA5-B5CF-418A-AEB8-0FF55FA795EA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8010525" y="2805113"/>
            <a:ext cx="407988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EAA0A14-466B-4407-B0B5-11672D9CB5E2}" type="datetime'''''''''1''''''''''3''''''''''''''''''''''''''''''0''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130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EF0184FB-1412-4F20-8143-CB77A7E33EE0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7431088" y="5175250"/>
            <a:ext cx="292100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F40EC7B-AB40-4CA4-8853-9557D9C04592}" type="datetime'''''''''''''''''''''''''''5''5''''''''''''''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55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5AB056E7-83FA-4ABA-8A1D-B26541EF7CBB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7651750" y="3989388"/>
            <a:ext cx="292100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F104186-B325-4541-A108-D61C84667442}" type="datetime'''''8''''''''''''''''''''''''''''''''''3''''''''''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83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46D319E1-7B03-4850-9DFA-01DB0A4CC9D7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7531100" y="4584700"/>
            <a:ext cx="292100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ACC8A3C-C972-424F-A882-D2D32099511D}" type="datetime'''''''''''''6''''''''''''''''7''''''''''''''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67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CFAB5A8F-FA61-401D-B511-54241E80E7AA}"/>
              </a:ext>
            </a:extLst>
          </p:cNvPr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7400925" y="5765800"/>
            <a:ext cx="292100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1A8CB4C-EE99-4C50-A683-049B85ED7C89}" type="datetime'''''''''5''''''''''''''''''''''''''''''''''''''''''''''1''''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51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7358643B-41DF-4DB7-80E7-7373A63BED1F}"/>
              </a:ext>
            </a:extLst>
          </p:cNvPr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8780463" y="2214563"/>
            <a:ext cx="407988" cy="249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48EC218-34F2-40BC-9C61-04030699EC5F}" type="datetime'''2''''3''''''''''''''''''''''''''''''''''0'">
              <a:rPr lang="en-GB" altLang="en-US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  <a:sym typeface="+mn-lt"/>
              </a:rPr>
              <a:pPr>
                <a:buClr>
                  <a:srgbClr val="002960"/>
                </a:buClr>
              </a:pPr>
              <a:t>230</a:t>
            </a:fld>
            <a:endParaRPr lang="en-GB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+mn-lt"/>
            </a:endParaRPr>
          </a:p>
        </p:txBody>
      </p:sp>
      <p:sp>
        <p:nvSpPr>
          <p:cNvPr id="128" name="Rectangle 127">
            <a:extLst>
              <a:ext uri="{FF2B5EF4-FFF2-40B4-BE49-F238E27FC236}">
                <a16:creationId xmlns:a16="http://schemas.microsoft.com/office/drawing/2014/main" id="{554064EB-7765-4535-92C1-4E610A3E9678}"/>
              </a:ext>
            </a:extLst>
          </p:cNvPr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auto">
          <a:xfrm>
            <a:off x="6192838" y="3990976"/>
            <a:ext cx="7000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ED34699-7A6D-49B0-99F9-4F4659710576}" type="datetime'M''''''''''''e''xi''''''''c''o'''''''''''' ''''''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Mexico 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9" name="Rectangle 128">
            <a:extLst>
              <a:ext uri="{FF2B5EF4-FFF2-40B4-BE49-F238E27FC236}">
                <a16:creationId xmlns:a16="http://schemas.microsoft.com/office/drawing/2014/main" id="{944C3BC2-F261-433E-9EB1-8EFF22727B67}"/>
              </a:ext>
            </a:extLst>
          </p:cNvPr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5915025" y="4586289"/>
            <a:ext cx="97790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44E8A6CA-D96C-4DA5-82DB-CAAE05E20D56}" type="datetime'''''''''P''h''i''li''''p''''p''''''''''i''''''''''''ne''s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Philippines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88FE76D4-14A5-48DF-91D9-BEC5D0164B9F}"/>
              </a:ext>
            </a:extLst>
          </p:cNvPr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auto">
          <a:xfrm>
            <a:off x="6151564" y="5176839"/>
            <a:ext cx="74136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DEEF495-EB2A-4E4E-B1EC-75F62A07B1AB}" type="datetime'''''''''''''''V''''''ie''t''''''''''n''''a''m''''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Vietnam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5" name="Rectangle 124">
            <a:extLst>
              <a:ext uri="{FF2B5EF4-FFF2-40B4-BE49-F238E27FC236}">
                <a16:creationId xmlns:a16="http://schemas.microsoft.com/office/drawing/2014/main" id="{CD2EA2EA-ED55-4811-BBF5-77D2DA8CD25F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6013451" y="3397251"/>
            <a:ext cx="87947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9A85CE2-055A-4A6E-A6B3-145423F9F871}" type="datetime'I''''''''''nd''''''''''''o''''''n''e''si''a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Indonesi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4" name="Rectangle 123">
            <a:extLst>
              <a:ext uri="{FF2B5EF4-FFF2-40B4-BE49-F238E27FC236}">
                <a16:creationId xmlns:a16="http://schemas.microsoft.com/office/drawing/2014/main" id="{77D6BAB6-4A5D-4010-9A2F-7DAF2AB4CD01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6386514" y="2806701"/>
            <a:ext cx="5064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7764553-0FC8-4B12-80E8-149CDF932FAF}" type="datetime'''''''''''''''''B''r''''az''''''''''il''''''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Brazil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2" name="Rectangle 121">
            <a:extLst>
              <a:ext uri="{FF2B5EF4-FFF2-40B4-BE49-F238E27FC236}">
                <a16:creationId xmlns:a16="http://schemas.microsoft.com/office/drawing/2014/main" id="{F0A62821-BE39-4FC5-9F9F-D08FEC69D654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6453188" y="1620839"/>
            <a:ext cx="43973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8575D53-5D43-4E8D-B491-215B5CA79907}" type="datetime'''''''I''''''''''''''''''''n''''d''''''i''''a''''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Indi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76FCAFD3-1A6C-497C-9B95-0774A889C589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6116638" y="5767389"/>
            <a:ext cx="776288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B5A5DE7-66E2-417E-880E-693CB36195D8}" type="datetime'''''''''Tha''''''''''''''''i''''''la''n''''''''d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Thailand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id="{17124906-BA62-4DD7-AF74-CAE8804F8B7D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6477001" y="2216151"/>
            <a:ext cx="415925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5356E81-5847-40C2-B7BD-4A831434CB89}" type="datetime'''''''U''''S''''''''''''''''''''''''''''''A'''''''''''''''''">
              <a:rPr lang="en-GB" altLang="en-US" sz="1600">
                <a:solidFill>
                  <a:srgbClr val="000000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buClr>
                  <a:srgbClr val="002960"/>
                </a:buClr>
              </a:pPr>
              <a:t>USA</a:t>
            </a:fld>
            <a:endParaRPr lang="en-GB" sz="1600" dirty="0">
              <a:solidFill>
                <a:srgbClr val="000000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4" name="Text Placeholder 5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8932863" y="1619251"/>
            <a:ext cx="407988" cy="24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30163" tIns="0" rIns="30163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FC0B5C8-8122-4406-B9A3-9B37D11D3DD3}" type="datetime'''''''2''''50'''''''''''''''''''''''''''''''''''''''''''''''''">
              <a:rPr lang="en-US" altLang="en-US" sz="1632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50</a:t>
            </a:fld>
            <a:endParaRPr lang="en-US" sz="1632" dirty="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107" name="AutoShape 250"/>
          <p:cNvSpPr>
            <a:spLocks noChangeArrowheads="1"/>
          </p:cNvSpPr>
          <p:nvPr/>
        </p:nvSpPr>
        <p:spPr bwMode="auto">
          <a:xfrm>
            <a:off x="511097" y="467099"/>
            <a:ext cx="1936969" cy="30729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837" dirty="0">
                <a:solidFill>
                  <a:srgbClr val="808080"/>
                </a:solidFill>
                <a:latin typeface="Arial"/>
                <a:ea typeface="+mn-ea"/>
                <a:cs typeface="+mn-cs"/>
              </a:rPr>
              <a:t>2018, millions</a:t>
            </a:r>
          </a:p>
        </p:txBody>
      </p:sp>
      <p:pic>
        <p:nvPicPr>
          <p:cNvPr id="114" name="Picture 113"/>
          <p:cNvPicPr>
            <a:picLocks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9" y="1534194"/>
            <a:ext cx="500294" cy="500294"/>
          </a:xfrm>
          <a:prstGeom prst="rect">
            <a:avLst/>
          </a:prstGeom>
        </p:spPr>
      </p:pic>
      <p:pic>
        <p:nvPicPr>
          <p:cNvPr id="116" name="Picture 115"/>
          <p:cNvPicPr>
            <a:picLocks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9" y="2322162"/>
            <a:ext cx="500294" cy="500294"/>
          </a:xfrm>
          <a:prstGeom prst="rect">
            <a:avLst/>
          </a:prstGeom>
        </p:spPr>
      </p:pic>
      <p:pic>
        <p:nvPicPr>
          <p:cNvPr id="117" name="Picture 116"/>
          <p:cNvPicPr>
            <a:picLocks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520" y="1516351"/>
            <a:ext cx="500294" cy="500294"/>
          </a:xfrm>
          <a:prstGeom prst="rect">
            <a:avLst/>
          </a:prstGeom>
        </p:spPr>
      </p:pic>
      <p:pic>
        <p:nvPicPr>
          <p:cNvPr id="118" name="Picture 117"/>
          <p:cNvPicPr>
            <a:picLocks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9" y="3898098"/>
            <a:ext cx="500294" cy="500294"/>
          </a:xfrm>
          <a:prstGeom prst="rect">
            <a:avLst/>
          </a:prstGeom>
        </p:spPr>
      </p:pic>
      <p:pic>
        <p:nvPicPr>
          <p:cNvPr id="119" name="Picture 118"/>
          <p:cNvPicPr>
            <a:picLocks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520" y="2086001"/>
            <a:ext cx="500294" cy="500294"/>
          </a:xfrm>
          <a:prstGeom prst="rect">
            <a:avLst/>
          </a:prstGeom>
        </p:spPr>
      </p:pic>
      <p:pic>
        <p:nvPicPr>
          <p:cNvPr id="120" name="Picture 119"/>
          <p:cNvPicPr>
            <a:picLocks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9" y="4686066"/>
            <a:ext cx="500294" cy="500294"/>
          </a:xfrm>
          <a:prstGeom prst="rect">
            <a:avLst/>
          </a:prstGeom>
        </p:spPr>
      </p:pic>
      <p:pic>
        <p:nvPicPr>
          <p:cNvPr id="121" name="Picture 120"/>
          <p:cNvPicPr>
            <a:picLocks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520" y="2655651"/>
            <a:ext cx="500294" cy="500294"/>
          </a:xfrm>
          <a:prstGeom prst="rect">
            <a:avLst/>
          </a:prstGeom>
        </p:spPr>
      </p:pic>
      <p:pic>
        <p:nvPicPr>
          <p:cNvPr id="126" name="Picture 125"/>
          <p:cNvPicPr>
            <a:picLocks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099" y="5474032"/>
            <a:ext cx="500294" cy="500294"/>
          </a:xfrm>
          <a:prstGeom prst="rect">
            <a:avLst/>
          </a:prstGeom>
        </p:spPr>
      </p:pic>
      <p:pic>
        <p:nvPicPr>
          <p:cNvPr id="11" name="Picture 10"/>
          <p:cNvPicPr>
            <a:picLocks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7520" y="3820239"/>
            <a:ext cx="500294" cy="500294"/>
          </a:xfrm>
          <a:prstGeom prst="rect">
            <a:avLst/>
          </a:prstGeom>
        </p:spPr>
      </p:pic>
      <p:pic>
        <p:nvPicPr>
          <p:cNvPr id="132" name="Picture 35" descr="http://worldflags.me/Bottons/ASEAN_Flag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099" y="3110130"/>
            <a:ext cx="500296" cy="5002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1" name="Picture 6">
            <a:extLst>
              <a:ext uri="{FF2B5EF4-FFF2-40B4-BE49-F238E27FC236}">
                <a16:creationId xmlns:a16="http://schemas.microsoft.com/office/drawing/2014/main" id="{0D9B4AD5-876C-415A-BF51-452486D38DF2}"/>
              </a:ext>
            </a:extLst>
          </p:cNvPr>
          <p:cNvPicPr>
            <a:picLocks noChangeAspect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82104" y="3225301"/>
            <a:ext cx="603300" cy="525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2" name="Picture 6">
            <a:extLst>
              <a:ext uri="{FF2B5EF4-FFF2-40B4-BE49-F238E27FC236}">
                <a16:creationId xmlns:a16="http://schemas.microsoft.com/office/drawing/2014/main" id="{778DA4DA-6FBC-40BD-BD0B-8C890B33881B}"/>
              </a:ext>
            </a:extLst>
          </p:cNvPr>
          <p:cNvPicPr>
            <a:picLocks noChangeAspect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82103" y="4436069"/>
            <a:ext cx="603300" cy="525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" name="Picture 6">
            <a:extLst>
              <a:ext uri="{FF2B5EF4-FFF2-40B4-BE49-F238E27FC236}">
                <a16:creationId xmlns:a16="http://schemas.microsoft.com/office/drawing/2014/main" id="{45A7D7C8-76A1-4588-8547-BA5723A0BC1D}"/>
              </a:ext>
            </a:extLst>
          </p:cNvPr>
          <p:cNvPicPr>
            <a:picLocks noChangeAspect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91340" y="5667186"/>
            <a:ext cx="612190" cy="533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4" name="Picture 143">
            <a:extLst>
              <a:ext uri="{FF2B5EF4-FFF2-40B4-BE49-F238E27FC236}">
                <a16:creationId xmlns:a16="http://schemas.microsoft.com/office/drawing/2014/main" id="{F7BE9232-F353-428A-B1E5-1C78F9ACAC28}"/>
              </a:ext>
            </a:extLst>
          </p:cNvPr>
          <p:cNvPicPr>
            <a:picLocks noChangeAspect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82104" y="5064504"/>
            <a:ext cx="612190" cy="533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805963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" name="Object 5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1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4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381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4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37" dirty="0" err="1">
              <a:solidFill>
                <a:srgbClr val="000000"/>
              </a:solidFill>
              <a:ea typeface="ＭＳ Ｐゴシック"/>
              <a:sym typeface="Arial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381271" y="3"/>
            <a:ext cx="9143461" cy="6857999"/>
          </a:xfrm>
          <a:prstGeom prst="rect">
            <a:avLst/>
          </a:prstGeom>
          <a:solidFill>
            <a:schemeClr val="accent4">
              <a:lumMod val="90000"/>
              <a:lumOff val="1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37" dirty="0" err="1">
              <a:solidFill>
                <a:srgbClr val="000000"/>
              </a:solidFill>
            </a:endParaRPr>
          </a:p>
        </p:txBody>
      </p:sp>
      <p:sp>
        <p:nvSpPr>
          <p:cNvPr id="10" name="Rectangle 8"/>
          <p:cNvSpPr>
            <a:spLocks noChangeArrowheads="1"/>
          </p:cNvSpPr>
          <p:nvPr/>
        </p:nvSpPr>
        <p:spPr bwMode="gray">
          <a:xfrm>
            <a:off x="486060" y="5509384"/>
            <a:ext cx="1590244" cy="9646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  <a:extLst/>
        </p:spPr>
        <p:txBody>
          <a:bodyPr wrap="square" lIns="73472" tIns="73472" rIns="73472" bIns="73472" anchor="ctr" anchorCtr="0">
            <a:noAutofit/>
          </a:bodyPr>
          <a:lstStyle>
            <a:lvl1pPr defTabSz="895350">
              <a:buSzPct val="120000"/>
              <a:defRPr sz="2000">
                <a:solidFill>
                  <a:schemeClr val="tx1"/>
                </a:solidFill>
                <a:latin typeface="Trebuchet MS" pitchFamily="34" charset="0"/>
              </a:defRPr>
            </a:lvl1pPr>
            <a:lvl2pPr marL="280988" indent="-279400" defTabSz="895350">
              <a:buClr>
                <a:schemeClr val="folHlink"/>
              </a:buClr>
              <a:buSzPct val="9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Trebuchet MS" pitchFamily="34" charset="0"/>
              </a:defRPr>
            </a:lvl2pPr>
            <a:lvl3pPr marL="471488" indent="-188913" defTabSz="895350">
              <a:buClr>
                <a:schemeClr val="folHlink"/>
              </a:buClr>
              <a:buFont typeface="Symbol" pitchFamily="18" charset="2"/>
              <a:buChar char="·"/>
              <a:defRPr sz="2000">
                <a:solidFill>
                  <a:schemeClr val="tx1"/>
                </a:solidFill>
                <a:latin typeface="Trebuchet MS" pitchFamily="34" charset="0"/>
              </a:defRPr>
            </a:lvl3pPr>
            <a:lvl4pPr marL="1835150" indent="-134938" defTabSz="895350">
              <a:buSzPct val="89000"/>
              <a:buChar char="•"/>
              <a:defRPr sz="2200">
                <a:solidFill>
                  <a:schemeClr val="tx1"/>
                </a:solidFill>
                <a:latin typeface="Trebuchet MS" pitchFamily="34" charset="0"/>
              </a:defRPr>
            </a:lvl4pPr>
            <a:lvl5pPr marL="2098675" indent="-149225" defTabSz="895350">
              <a:buSzPct val="75000"/>
              <a:buChar char="–"/>
              <a:defRPr sz="2200">
                <a:solidFill>
                  <a:schemeClr val="tx1"/>
                </a:solidFill>
                <a:latin typeface="Trebuchet MS" pitchFamily="34" charset="0"/>
              </a:defRPr>
            </a:lvl5pPr>
            <a:lvl6pPr marL="2555875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2200">
                <a:solidFill>
                  <a:schemeClr val="tx1"/>
                </a:solidFill>
                <a:latin typeface="Trebuchet MS" pitchFamily="34" charset="0"/>
              </a:defRPr>
            </a:lvl6pPr>
            <a:lvl7pPr marL="3013075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2200">
                <a:solidFill>
                  <a:schemeClr val="tx1"/>
                </a:solidFill>
                <a:latin typeface="Trebuchet MS" pitchFamily="34" charset="0"/>
              </a:defRPr>
            </a:lvl7pPr>
            <a:lvl8pPr marL="3470275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2200">
                <a:solidFill>
                  <a:schemeClr val="tx1"/>
                </a:solidFill>
                <a:latin typeface="Trebuchet MS" pitchFamily="34" charset="0"/>
              </a:defRPr>
            </a:lvl8pPr>
            <a:lvl9pPr marL="3927475" indent="-149225" defTabSz="895350" fontAlgn="base">
              <a:spcBef>
                <a:spcPct val="0"/>
              </a:spcBef>
              <a:spcAft>
                <a:spcPct val="0"/>
              </a:spcAft>
              <a:buSzPct val="75000"/>
              <a:buChar char="–"/>
              <a:defRPr sz="2200">
                <a:solidFill>
                  <a:schemeClr val="tx1"/>
                </a:solidFill>
                <a:latin typeface="Trebuchet MS" pitchFamily="34" charset="0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2041" b="1" dirty="0">
                <a:solidFill>
                  <a:srgbClr val="073E87"/>
                </a:solidFill>
                <a:latin typeface="Arial"/>
                <a:ea typeface="+mn-ea"/>
                <a:cs typeface="+mn-cs"/>
              </a:rPr>
              <a:t>Economic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GB" sz="2041" b="1" dirty="0">
                <a:solidFill>
                  <a:srgbClr val="073E87"/>
                </a:solidFill>
                <a:latin typeface="Arial"/>
                <a:ea typeface="+mn-ea"/>
                <a:cs typeface="+mn-cs"/>
              </a:rPr>
              <a:t>Impact ($billion)</a:t>
            </a:r>
            <a:endParaRPr lang="en-US" sz="2041" dirty="0">
              <a:solidFill>
                <a:srgbClr val="00000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7" name="Rectangle 27"/>
          <p:cNvSpPr txBox="1">
            <a:spLocks/>
          </p:cNvSpPr>
          <p:nvPr/>
        </p:nvSpPr>
        <p:spPr>
          <a:xfrm>
            <a:off x="3087463" y="4010892"/>
            <a:ext cx="843173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Financial services</a:t>
            </a:r>
          </a:p>
        </p:txBody>
      </p:sp>
      <p:sp>
        <p:nvSpPr>
          <p:cNvPr id="102" name="Rectangle 27"/>
          <p:cNvSpPr txBox="1">
            <a:spLocks/>
          </p:cNvSpPr>
          <p:nvPr/>
        </p:nvSpPr>
        <p:spPr>
          <a:xfrm>
            <a:off x="3997436" y="4010893"/>
            <a:ext cx="843173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Education</a:t>
            </a:r>
          </a:p>
        </p:txBody>
      </p:sp>
      <p:sp>
        <p:nvSpPr>
          <p:cNvPr id="103" name="Rectangle 27"/>
          <p:cNvSpPr txBox="1">
            <a:spLocks/>
          </p:cNvSpPr>
          <p:nvPr/>
        </p:nvSpPr>
        <p:spPr>
          <a:xfrm>
            <a:off x="4904992" y="4010892"/>
            <a:ext cx="843173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Manu-</a:t>
            </a:r>
            <a:r>
              <a:rPr lang="en-US" sz="1224" b="1" dirty="0" err="1">
                <a:solidFill>
                  <a:srgbClr val="FFFFFF"/>
                </a:solidFill>
                <a:ea typeface="+mn-ea"/>
                <a:cs typeface="+mn-cs"/>
              </a:rPr>
              <a:t>facturing</a:t>
            </a:r>
            <a:endParaRPr lang="en-US" sz="1224" b="1" dirty="0">
              <a:solidFill>
                <a:srgbClr val="FFFFFF"/>
              </a:solidFill>
              <a:ea typeface="+mn-ea"/>
              <a:cs typeface="+mn-cs"/>
            </a:endParaRPr>
          </a:p>
        </p:txBody>
      </p:sp>
      <p:sp>
        <p:nvSpPr>
          <p:cNvPr id="104" name="Rectangle 27"/>
          <p:cNvSpPr txBox="1">
            <a:spLocks/>
          </p:cNvSpPr>
          <p:nvPr/>
        </p:nvSpPr>
        <p:spPr>
          <a:xfrm>
            <a:off x="5812549" y="4010892"/>
            <a:ext cx="843173" cy="188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Agriculture</a:t>
            </a:r>
          </a:p>
        </p:txBody>
      </p:sp>
      <p:sp>
        <p:nvSpPr>
          <p:cNvPr id="105" name="Rectangle 27"/>
          <p:cNvSpPr txBox="1">
            <a:spLocks/>
          </p:cNvSpPr>
          <p:nvPr/>
        </p:nvSpPr>
        <p:spPr>
          <a:xfrm>
            <a:off x="6720105" y="4010893"/>
            <a:ext cx="843173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Healthcare</a:t>
            </a:r>
          </a:p>
        </p:txBody>
      </p:sp>
      <p:sp>
        <p:nvSpPr>
          <p:cNvPr id="106" name="Rectangle 27"/>
          <p:cNvSpPr txBox="1">
            <a:spLocks/>
          </p:cNvSpPr>
          <p:nvPr/>
        </p:nvSpPr>
        <p:spPr>
          <a:xfrm>
            <a:off x="7627661" y="4010892"/>
            <a:ext cx="843173" cy="5766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Govern-</a:t>
            </a:r>
            <a:r>
              <a:rPr lang="en-US" sz="1224" b="1" dirty="0" err="1">
                <a:solidFill>
                  <a:srgbClr val="FFFFFF"/>
                </a:solidFill>
                <a:ea typeface="+mn-ea"/>
                <a:cs typeface="+mn-cs"/>
              </a:rPr>
              <a:t>ment</a:t>
            </a: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 services</a:t>
            </a:r>
          </a:p>
        </p:txBody>
      </p:sp>
      <p:sp>
        <p:nvSpPr>
          <p:cNvPr id="107" name="Rectangle 27"/>
          <p:cNvSpPr txBox="1">
            <a:spLocks/>
          </p:cNvSpPr>
          <p:nvPr/>
        </p:nvSpPr>
        <p:spPr>
          <a:xfrm>
            <a:off x="8535214" y="4010892"/>
            <a:ext cx="843173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Consumer and retail</a:t>
            </a:r>
          </a:p>
        </p:txBody>
      </p:sp>
      <p:grpSp>
        <p:nvGrpSpPr>
          <p:cNvPr id="108" name="Group 107"/>
          <p:cNvGrpSpPr/>
          <p:nvPr/>
        </p:nvGrpSpPr>
        <p:grpSpPr bwMode="gray">
          <a:xfrm>
            <a:off x="3251336" y="4670036"/>
            <a:ext cx="515427" cy="515427"/>
            <a:chOff x="453221" y="4864442"/>
            <a:chExt cx="505166" cy="505166"/>
          </a:xfrm>
        </p:grpSpPr>
        <p:sp>
          <p:nvSpPr>
            <p:cNvPr id="109" name="Oval 108"/>
            <p:cNvSpPr/>
            <p:nvPr/>
          </p:nvSpPr>
          <p:spPr bwMode="gray">
            <a:xfrm>
              <a:off x="45322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grpSp>
          <p:nvGrpSpPr>
            <p:cNvPr id="110" name="Group 109"/>
            <p:cNvGrpSpPr>
              <a:grpSpLocks/>
            </p:cNvGrpSpPr>
            <p:nvPr/>
          </p:nvGrpSpPr>
          <p:grpSpPr bwMode="gray">
            <a:xfrm>
              <a:off x="530342" y="4910610"/>
              <a:ext cx="349454" cy="369669"/>
              <a:chOff x="10108050" y="3071796"/>
              <a:chExt cx="1831538" cy="1937490"/>
            </a:xfrm>
          </p:grpSpPr>
          <p:pic>
            <p:nvPicPr>
              <p:cNvPr id="111" name="Picture 7" descr="suitcase, work icon"/>
              <p:cNvPicPr>
                <a:picLocks noChangeAspect="1" noChangeArrowheads="1"/>
              </p:cNvPicPr>
              <p:nvPr/>
            </p:nvPicPr>
            <p:blipFill>
              <a:blip r:embed="rId9" cstate="screen">
                <a:extLst>
                  <a:ext uri="{BEBA8EAE-BF5A-486C-A8C5-ECC9F3942E4B}">
                    <a14:imgProps xmlns:a14="http://schemas.microsoft.com/office/drawing/2010/main">
                      <a14:imgLayer r:embed="rId10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0108050" y="3071796"/>
                <a:ext cx="1831538" cy="19374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12" name="Group 111"/>
              <p:cNvGrpSpPr/>
              <p:nvPr/>
            </p:nvGrpSpPr>
            <p:grpSpPr bwMode="gray">
              <a:xfrm>
                <a:off x="10404709" y="3554498"/>
                <a:ext cx="1238220" cy="1238216"/>
                <a:chOff x="10404709" y="3554498"/>
                <a:chExt cx="1238220" cy="1238216"/>
              </a:xfrm>
            </p:grpSpPr>
            <p:sp>
              <p:nvSpPr>
                <p:cNvPr id="113" name="Oval 112"/>
                <p:cNvSpPr/>
                <p:nvPr/>
              </p:nvSpPr>
              <p:spPr bwMode="gray">
                <a:xfrm>
                  <a:off x="10404709" y="3554498"/>
                  <a:ext cx="1238220" cy="1238216"/>
                </a:xfrm>
                <a:prstGeom prst="ellipse">
                  <a:avLst/>
                </a:prstGeom>
                <a:solidFill>
                  <a:srgbClr val="1F558A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37" dirty="0" err="1">
                    <a:solidFill>
                      <a:srgbClr val="000000"/>
                    </a:solidFill>
                  </a:endParaRPr>
                </a:p>
              </p:txBody>
            </p:sp>
            <p:pic>
              <p:nvPicPr>
                <p:cNvPr id="114" name="Picture 12" descr="currency, dollar icon"/>
                <p:cNvPicPr>
                  <a:picLocks noChangeAspect="1" noChangeArrowheads="1"/>
                </p:cNvPicPr>
                <p:nvPr/>
              </p:nvPicPr>
              <p:blipFill>
                <a:blip r:embed="rId11" cstate="screen">
                  <a:extLst>
                    <a:ext uri="{BEBA8EAE-BF5A-486C-A8C5-ECC9F3942E4B}">
                      <a14:imgProps xmlns:a14="http://schemas.microsoft.com/office/drawing/2010/main">
                        <a14:imgLayer r:embed="rId12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10495113" y="3644900"/>
                  <a:ext cx="1057412" cy="105741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15" name="Group 114"/>
          <p:cNvGrpSpPr/>
          <p:nvPr/>
        </p:nvGrpSpPr>
        <p:grpSpPr bwMode="gray">
          <a:xfrm>
            <a:off x="4161309" y="4670036"/>
            <a:ext cx="515427" cy="515427"/>
            <a:chOff x="1611461" y="4864442"/>
            <a:chExt cx="505166" cy="505166"/>
          </a:xfrm>
        </p:grpSpPr>
        <p:sp>
          <p:nvSpPr>
            <p:cNvPr id="116" name="Oval 115"/>
            <p:cNvSpPr/>
            <p:nvPr/>
          </p:nvSpPr>
          <p:spPr bwMode="gray">
            <a:xfrm>
              <a:off x="161146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17" name="Picture 20" descr="book, ebook, education, learning, library, reading, school, science, study, text icon"/>
            <p:cNvPicPr>
              <a:picLocks noChangeAspect="1" noChangeArrowheads="1"/>
            </p:cNvPicPr>
            <p:nvPr/>
          </p:nvPicPr>
          <p:blipFill>
            <a:blip r:embed="rId13" cstate="screen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76768" y="4918733"/>
              <a:ext cx="374552" cy="396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8" name="Group 117"/>
          <p:cNvGrpSpPr/>
          <p:nvPr/>
        </p:nvGrpSpPr>
        <p:grpSpPr bwMode="gray">
          <a:xfrm>
            <a:off x="6883978" y="4670036"/>
            <a:ext cx="515427" cy="515427"/>
            <a:chOff x="2000081" y="4864442"/>
            <a:chExt cx="505166" cy="505166"/>
          </a:xfrm>
        </p:grpSpPr>
        <p:sp>
          <p:nvSpPr>
            <p:cNvPr id="119" name="Oval 118"/>
            <p:cNvSpPr/>
            <p:nvPr/>
          </p:nvSpPr>
          <p:spPr bwMode="gray">
            <a:xfrm>
              <a:off x="200008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20" name="Picture 22" descr="health, medicine icon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BEBA8EAE-BF5A-486C-A8C5-ECC9F3942E4B}">
                  <a14:imgProps xmlns:a14="http://schemas.microsoft.com/office/drawing/2010/main">
                    <a14:imgLayer r:embed="rId16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5022" y="4924423"/>
              <a:ext cx="395284" cy="347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21" name="Group 120"/>
          <p:cNvGrpSpPr/>
          <p:nvPr/>
        </p:nvGrpSpPr>
        <p:grpSpPr bwMode="gray">
          <a:xfrm>
            <a:off x="5976422" y="4670036"/>
            <a:ext cx="515427" cy="515427"/>
            <a:chOff x="2905046" y="4864442"/>
            <a:chExt cx="505166" cy="505166"/>
          </a:xfrm>
        </p:grpSpPr>
        <p:sp>
          <p:nvSpPr>
            <p:cNvPr id="122" name="Oval 121"/>
            <p:cNvSpPr/>
            <p:nvPr/>
          </p:nvSpPr>
          <p:spPr bwMode="gray">
            <a:xfrm>
              <a:off x="2905046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23" name="Picture 57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98177" y="4954002"/>
              <a:ext cx="318904" cy="3189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31" name="Group 130"/>
          <p:cNvGrpSpPr/>
          <p:nvPr/>
        </p:nvGrpSpPr>
        <p:grpSpPr bwMode="gray">
          <a:xfrm>
            <a:off x="8699087" y="4670036"/>
            <a:ext cx="515427" cy="515427"/>
            <a:chOff x="5927725" y="5007317"/>
            <a:chExt cx="505166" cy="505166"/>
          </a:xfrm>
        </p:grpSpPr>
        <p:sp>
          <p:nvSpPr>
            <p:cNvPr id="133" name="Oval 132"/>
            <p:cNvSpPr/>
            <p:nvPr/>
          </p:nvSpPr>
          <p:spPr bwMode="gray">
            <a:xfrm>
              <a:off x="5927725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34" name="Picture 69" descr="buy, cart, ecommerce, online shop, purchase, shop, shopping icon"/>
            <p:cNvPicPr>
              <a:picLocks noChangeAspect="1" noChangeArrowheads="1"/>
            </p:cNvPicPr>
            <p:nvPr/>
          </p:nvPicPr>
          <p:blipFill>
            <a:blip r:embed="rId18" cstate="screen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000343" y="5084595"/>
              <a:ext cx="388503" cy="388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5" name="Group 134"/>
          <p:cNvGrpSpPr/>
          <p:nvPr/>
        </p:nvGrpSpPr>
        <p:grpSpPr bwMode="gray">
          <a:xfrm>
            <a:off x="5068865" y="4670036"/>
            <a:ext cx="515427" cy="515427"/>
            <a:chOff x="5870404" y="5007317"/>
            <a:chExt cx="505166" cy="505166"/>
          </a:xfrm>
        </p:grpSpPr>
        <p:sp>
          <p:nvSpPr>
            <p:cNvPr id="136" name="Oval 135"/>
            <p:cNvSpPr/>
            <p:nvPr/>
          </p:nvSpPr>
          <p:spPr bwMode="gray">
            <a:xfrm>
              <a:off x="5870404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37" name="Picture 72" descr="factory icon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940708" y="5075448"/>
              <a:ext cx="365578" cy="3655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38" name="Group 137"/>
          <p:cNvGrpSpPr/>
          <p:nvPr/>
        </p:nvGrpSpPr>
        <p:grpSpPr bwMode="gray">
          <a:xfrm>
            <a:off x="7791534" y="4670036"/>
            <a:ext cx="515427" cy="515427"/>
            <a:chOff x="6666706" y="5007317"/>
            <a:chExt cx="505166" cy="505166"/>
          </a:xfrm>
        </p:grpSpPr>
        <p:sp>
          <p:nvSpPr>
            <p:cNvPr id="139" name="Oval 138"/>
            <p:cNvSpPr/>
            <p:nvPr/>
          </p:nvSpPr>
          <p:spPr bwMode="gray">
            <a:xfrm>
              <a:off x="6666706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40" name="Picture 75" descr="Courthouse, Building, Black, Silhouette, Government"/>
            <p:cNvPicPr>
              <a:picLocks noChangeAspect="1" noChangeArrowheads="1"/>
            </p:cNvPicPr>
            <p:nvPr/>
          </p:nvPicPr>
          <p:blipFill>
            <a:blip r:embed="rId22" cstate="screen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748808" y="5063543"/>
              <a:ext cx="340962" cy="32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4" name="Group 143"/>
          <p:cNvGrpSpPr/>
          <p:nvPr/>
        </p:nvGrpSpPr>
        <p:grpSpPr bwMode="gray">
          <a:xfrm>
            <a:off x="3306730" y="5925176"/>
            <a:ext cx="404639" cy="404639"/>
            <a:chOff x="453221" y="4864442"/>
            <a:chExt cx="505166" cy="505166"/>
          </a:xfrm>
        </p:grpSpPr>
        <p:sp>
          <p:nvSpPr>
            <p:cNvPr id="145" name="Oval 144"/>
            <p:cNvSpPr/>
            <p:nvPr/>
          </p:nvSpPr>
          <p:spPr bwMode="gray">
            <a:xfrm>
              <a:off x="45322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grpSp>
          <p:nvGrpSpPr>
            <p:cNvPr id="146" name="Group 145"/>
            <p:cNvGrpSpPr>
              <a:grpSpLocks/>
            </p:cNvGrpSpPr>
            <p:nvPr/>
          </p:nvGrpSpPr>
          <p:grpSpPr bwMode="gray">
            <a:xfrm>
              <a:off x="530342" y="4910610"/>
              <a:ext cx="349454" cy="369669"/>
              <a:chOff x="10108050" y="3071796"/>
              <a:chExt cx="1831538" cy="1937490"/>
            </a:xfrm>
          </p:grpSpPr>
          <p:pic>
            <p:nvPicPr>
              <p:cNvPr id="147" name="Picture 7" descr="suitcase, work icon"/>
              <p:cNvPicPr>
                <a:picLocks noChangeAspect="1" noChangeArrowheads="1"/>
              </p:cNvPicPr>
              <p:nvPr/>
            </p:nvPicPr>
            <p:blipFill>
              <a:blip r:embed="rId24" cstate="screen">
                <a:extLst>
                  <a:ext uri="{BEBA8EAE-BF5A-486C-A8C5-ECC9F3942E4B}">
                    <a14:imgProps xmlns:a14="http://schemas.microsoft.com/office/drawing/2010/main">
                      <a14:imgLayer r:embed="rId25">
                        <a14:imgEffect>
                          <a14:brightnessContrast bright="10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0108050" y="3071796"/>
                <a:ext cx="1831538" cy="193749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148" name="Group 147"/>
              <p:cNvGrpSpPr/>
              <p:nvPr/>
            </p:nvGrpSpPr>
            <p:grpSpPr bwMode="gray">
              <a:xfrm>
                <a:off x="10404709" y="3554498"/>
                <a:ext cx="1238220" cy="1238216"/>
                <a:chOff x="10404709" y="3554498"/>
                <a:chExt cx="1238220" cy="1238216"/>
              </a:xfrm>
            </p:grpSpPr>
            <p:sp>
              <p:nvSpPr>
                <p:cNvPr id="149" name="Oval 148"/>
                <p:cNvSpPr/>
                <p:nvPr/>
              </p:nvSpPr>
              <p:spPr bwMode="gray">
                <a:xfrm>
                  <a:off x="10404709" y="3554498"/>
                  <a:ext cx="1238220" cy="1238216"/>
                </a:xfrm>
                <a:prstGeom prst="ellipse">
                  <a:avLst/>
                </a:prstGeom>
                <a:solidFill>
                  <a:srgbClr val="1F558A"/>
                </a:solidFill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914400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837" dirty="0" err="1">
                    <a:solidFill>
                      <a:srgbClr val="0066CC"/>
                    </a:solidFill>
                  </a:endParaRPr>
                </a:p>
              </p:txBody>
            </p:sp>
            <p:pic>
              <p:nvPicPr>
                <p:cNvPr id="150" name="Picture 12" descr="currency, dollar icon"/>
                <p:cNvPicPr>
                  <a:picLocks noChangeAspect="1" noChangeArrowheads="1"/>
                </p:cNvPicPr>
                <p:nvPr/>
              </p:nvPicPr>
              <p:blipFill>
                <a:blip r:embed="rId26" cstate="screen">
                  <a:extLst>
                    <a:ext uri="{BEBA8EAE-BF5A-486C-A8C5-ECC9F3942E4B}">
                      <a14:imgProps xmlns:a14="http://schemas.microsoft.com/office/drawing/2010/main">
                        <a14:imgLayer r:embed="rId27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gray">
                <a:xfrm>
                  <a:off x="10495113" y="3644900"/>
                  <a:ext cx="1057412" cy="105741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</p:grpSp>
      </p:grpSp>
      <p:grpSp>
        <p:nvGrpSpPr>
          <p:cNvPr id="151" name="Group 150"/>
          <p:cNvGrpSpPr/>
          <p:nvPr/>
        </p:nvGrpSpPr>
        <p:grpSpPr bwMode="gray">
          <a:xfrm>
            <a:off x="4216703" y="5925176"/>
            <a:ext cx="404639" cy="404639"/>
            <a:chOff x="1611461" y="4864442"/>
            <a:chExt cx="505166" cy="505166"/>
          </a:xfrm>
        </p:grpSpPr>
        <p:sp>
          <p:nvSpPr>
            <p:cNvPr id="152" name="Oval 151"/>
            <p:cNvSpPr/>
            <p:nvPr/>
          </p:nvSpPr>
          <p:spPr bwMode="gray">
            <a:xfrm>
              <a:off x="161146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53" name="Picture 20" descr="book, ebook, education, learning, library, reading, school, science, study, text icon"/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BEBA8EAE-BF5A-486C-A8C5-ECC9F3942E4B}">
                  <a14:imgProps xmlns:a14="http://schemas.microsoft.com/office/drawing/2010/main">
                    <a14:imgLayer r:embed="rId29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676768" y="4918733"/>
              <a:ext cx="374552" cy="39658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4" name="Group 153"/>
          <p:cNvGrpSpPr/>
          <p:nvPr/>
        </p:nvGrpSpPr>
        <p:grpSpPr bwMode="gray">
          <a:xfrm>
            <a:off x="6939372" y="5925176"/>
            <a:ext cx="404639" cy="404639"/>
            <a:chOff x="2000081" y="4864442"/>
            <a:chExt cx="505166" cy="505166"/>
          </a:xfrm>
        </p:grpSpPr>
        <p:sp>
          <p:nvSpPr>
            <p:cNvPr id="155" name="Oval 154"/>
            <p:cNvSpPr/>
            <p:nvPr/>
          </p:nvSpPr>
          <p:spPr bwMode="gray">
            <a:xfrm>
              <a:off x="2000081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56" name="Picture 22" descr="health, medicine icon"/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BEBA8EAE-BF5A-486C-A8C5-ECC9F3942E4B}">
                  <a14:imgProps xmlns:a14="http://schemas.microsoft.com/office/drawing/2010/main">
                    <a14:imgLayer r:embed="rId31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055022" y="4924423"/>
              <a:ext cx="395284" cy="347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7" name="Group 156"/>
          <p:cNvGrpSpPr/>
          <p:nvPr/>
        </p:nvGrpSpPr>
        <p:grpSpPr bwMode="gray">
          <a:xfrm>
            <a:off x="6031816" y="5925176"/>
            <a:ext cx="404639" cy="404639"/>
            <a:chOff x="2905046" y="4864442"/>
            <a:chExt cx="505166" cy="505166"/>
          </a:xfrm>
        </p:grpSpPr>
        <p:sp>
          <p:nvSpPr>
            <p:cNvPr id="158" name="Oval 157"/>
            <p:cNvSpPr/>
            <p:nvPr/>
          </p:nvSpPr>
          <p:spPr bwMode="gray">
            <a:xfrm>
              <a:off x="2905046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59" name="Picture 57"/>
            <p:cNvPicPr>
              <a:picLocks noChangeAspect="1" noChangeArrowheads="1"/>
            </p:cNvPicPr>
            <p:nvPr/>
          </p:nvPicPr>
          <p:blipFill>
            <a:blip r:embed="rId17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2998177" y="4954002"/>
              <a:ext cx="318904" cy="31890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63" name="Group 162"/>
          <p:cNvGrpSpPr/>
          <p:nvPr/>
        </p:nvGrpSpPr>
        <p:grpSpPr bwMode="gray">
          <a:xfrm>
            <a:off x="8754481" y="5925176"/>
            <a:ext cx="404639" cy="404639"/>
            <a:chOff x="5927725" y="5007317"/>
            <a:chExt cx="505166" cy="505166"/>
          </a:xfrm>
        </p:grpSpPr>
        <p:sp>
          <p:nvSpPr>
            <p:cNvPr id="164" name="Oval 163"/>
            <p:cNvSpPr/>
            <p:nvPr/>
          </p:nvSpPr>
          <p:spPr bwMode="gray">
            <a:xfrm>
              <a:off x="5927725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65" name="Picture 69" descr="buy, cart, ecommerce, online shop, purchase, shop, shopping icon"/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BEBA8EAE-BF5A-486C-A8C5-ECC9F3942E4B}">
                  <a14:imgProps xmlns:a14="http://schemas.microsoft.com/office/drawing/2010/main">
                    <a14:imgLayer r:embed="rId3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000343" y="5084595"/>
              <a:ext cx="388503" cy="38850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6" name="Group 165"/>
          <p:cNvGrpSpPr/>
          <p:nvPr/>
        </p:nvGrpSpPr>
        <p:grpSpPr bwMode="gray">
          <a:xfrm>
            <a:off x="5124259" y="5925176"/>
            <a:ext cx="404639" cy="404639"/>
            <a:chOff x="5870404" y="5007317"/>
            <a:chExt cx="505166" cy="505166"/>
          </a:xfrm>
        </p:grpSpPr>
        <p:sp>
          <p:nvSpPr>
            <p:cNvPr id="167" name="Oval 166"/>
            <p:cNvSpPr/>
            <p:nvPr/>
          </p:nvSpPr>
          <p:spPr bwMode="gray">
            <a:xfrm>
              <a:off x="5870404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68" name="Picture 72" descr="factory icon"/>
            <p:cNvPicPr>
              <a:picLocks noChangeAspect="1" noChangeArrowheads="1"/>
            </p:cNvPicPr>
            <p:nvPr/>
          </p:nvPicPr>
          <p:blipFill>
            <a:blip r:embed="rId34" cstate="screen">
              <a:extLst>
                <a:ext uri="{BEBA8EAE-BF5A-486C-A8C5-ECC9F3942E4B}">
                  <a14:imgProps xmlns:a14="http://schemas.microsoft.com/office/drawing/2010/main">
                    <a14:imgLayer r:embed="rId35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5940708" y="5075448"/>
              <a:ext cx="365578" cy="3655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69" name="Group 168"/>
          <p:cNvGrpSpPr/>
          <p:nvPr/>
        </p:nvGrpSpPr>
        <p:grpSpPr bwMode="gray">
          <a:xfrm>
            <a:off x="7846928" y="5925176"/>
            <a:ext cx="404639" cy="404639"/>
            <a:chOff x="6666706" y="5007317"/>
            <a:chExt cx="505166" cy="505166"/>
          </a:xfrm>
        </p:grpSpPr>
        <p:sp>
          <p:nvSpPr>
            <p:cNvPr id="170" name="Oval 169"/>
            <p:cNvSpPr/>
            <p:nvPr/>
          </p:nvSpPr>
          <p:spPr bwMode="gray">
            <a:xfrm>
              <a:off x="6666706" y="5007317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71" name="Picture 75" descr="Courthouse, Building, Black, Silhouette, Government"/>
            <p:cNvPicPr>
              <a:picLocks noChangeAspect="1" noChangeArrowheads="1"/>
            </p:cNvPicPr>
            <p:nvPr/>
          </p:nvPicPr>
          <p:blipFill>
            <a:blip r:embed="rId36" cstate="screen">
              <a:extLst>
                <a:ext uri="{BEBA8EAE-BF5A-486C-A8C5-ECC9F3942E4B}">
                  <a14:imgProps xmlns:a14="http://schemas.microsoft.com/office/drawing/2010/main">
                    <a14:imgLayer r:embed="rId37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6748808" y="5063543"/>
              <a:ext cx="340962" cy="3260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4"/>
          <p:cNvSpPr txBox="1">
            <a:spLocks/>
          </p:cNvSpPr>
          <p:nvPr/>
        </p:nvSpPr>
        <p:spPr>
          <a:xfrm>
            <a:off x="3087463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28-74</a:t>
            </a:r>
          </a:p>
        </p:txBody>
      </p:sp>
      <p:sp>
        <p:nvSpPr>
          <p:cNvPr id="92" name="Rectangle 24"/>
          <p:cNvSpPr txBox="1">
            <a:spLocks/>
          </p:cNvSpPr>
          <p:nvPr/>
        </p:nvSpPr>
        <p:spPr>
          <a:xfrm>
            <a:off x="3997435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36-53</a:t>
            </a:r>
          </a:p>
        </p:txBody>
      </p:sp>
      <p:sp>
        <p:nvSpPr>
          <p:cNvPr id="93" name="Rectangle 24"/>
          <p:cNvSpPr txBox="1">
            <a:spLocks/>
          </p:cNvSpPr>
          <p:nvPr/>
        </p:nvSpPr>
        <p:spPr>
          <a:xfrm>
            <a:off x="4904990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25-45</a:t>
            </a:r>
          </a:p>
        </p:txBody>
      </p:sp>
      <p:sp>
        <p:nvSpPr>
          <p:cNvPr id="94" name="Rectangle 24"/>
          <p:cNvSpPr txBox="1">
            <a:spLocks/>
          </p:cNvSpPr>
          <p:nvPr/>
        </p:nvSpPr>
        <p:spPr>
          <a:xfrm>
            <a:off x="5812547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24-48</a:t>
            </a:r>
          </a:p>
        </p:txBody>
      </p:sp>
      <p:sp>
        <p:nvSpPr>
          <p:cNvPr id="95" name="Rectangle 24"/>
          <p:cNvSpPr txBox="1">
            <a:spLocks/>
          </p:cNvSpPr>
          <p:nvPr/>
        </p:nvSpPr>
        <p:spPr>
          <a:xfrm>
            <a:off x="6720102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20-53</a:t>
            </a:r>
          </a:p>
        </p:txBody>
      </p:sp>
      <p:sp>
        <p:nvSpPr>
          <p:cNvPr id="96" name="Rectangle 24"/>
          <p:cNvSpPr txBox="1">
            <a:spLocks/>
          </p:cNvSpPr>
          <p:nvPr/>
        </p:nvSpPr>
        <p:spPr>
          <a:xfrm>
            <a:off x="7627657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15-33</a:t>
            </a:r>
          </a:p>
        </p:txBody>
      </p:sp>
      <p:sp>
        <p:nvSpPr>
          <p:cNvPr id="97" name="Rectangle 24"/>
          <p:cNvSpPr txBox="1">
            <a:spLocks/>
          </p:cNvSpPr>
          <p:nvPr/>
        </p:nvSpPr>
        <p:spPr>
          <a:xfrm>
            <a:off x="8535214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7-39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2" y="234865"/>
            <a:ext cx="8793595" cy="320439"/>
          </a:xfrm>
        </p:spPr>
        <p:txBody>
          <a:bodyPr/>
          <a:lstStyle/>
          <a:p>
            <a:r>
              <a:rPr lang="en-GB" sz="2041" dirty="0">
                <a:solidFill>
                  <a:schemeClr val="bg1"/>
                </a:solidFill>
              </a:rPr>
              <a:t>The “disruptive dozen” will impact every sector in ASEAN</a:t>
            </a:r>
            <a:endParaRPr lang="en-US" dirty="0"/>
          </a:p>
        </p:txBody>
      </p:sp>
      <p:sp>
        <p:nvSpPr>
          <p:cNvPr id="98" name="Rectangle 27"/>
          <p:cNvSpPr txBox="1">
            <a:spLocks/>
          </p:cNvSpPr>
          <p:nvPr/>
        </p:nvSpPr>
        <p:spPr>
          <a:xfrm>
            <a:off x="2184741" y="4010892"/>
            <a:ext cx="843173" cy="3844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+mn-ea"/>
                <a:cs typeface="+mn-cs"/>
              </a:rPr>
              <a:t>Infra-structure</a:t>
            </a:r>
          </a:p>
        </p:txBody>
      </p:sp>
      <p:grpSp>
        <p:nvGrpSpPr>
          <p:cNvPr id="99" name="Group 98"/>
          <p:cNvGrpSpPr/>
          <p:nvPr/>
        </p:nvGrpSpPr>
        <p:grpSpPr bwMode="gray">
          <a:xfrm>
            <a:off x="2348614" y="4670036"/>
            <a:ext cx="515427" cy="515427"/>
            <a:chOff x="4726226" y="4864442"/>
            <a:chExt cx="505166" cy="505166"/>
          </a:xfrm>
        </p:grpSpPr>
        <p:sp>
          <p:nvSpPr>
            <p:cNvPr id="100" name="Oval 99"/>
            <p:cNvSpPr/>
            <p:nvPr/>
          </p:nvSpPr>
          <p:spPr bwMode="gray">
            <a:xfrm>
              <a:off x="4726226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pic>
          <p:nvPicPr>
            <p:cNvPr id="124" name="Picture 65"/>
            <p:cNvPicPr>
              <a:picLocks noChangeArrowheads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811113" y="4914964"/>
              <a:ext cx="337150" cy="337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25" name="Group 124"/>
          <p:cNvGrpSpPr/>
          <p:nvPr/>
        </p:nvGrpSpPr>
        <p:grpSpPr bwMode="gray">
          <a:xfrm>
            <a:off x="2404008" y="5925176"/>
            <a:ext cx="404639" cy="404639"/>
            <a:chOff x="4726226" y="4864442"/>
            <a:chExt cx="505166" cy="505166"/>
          </a:xfrm>
        </p:grpSpPr>
        <p:sp>
          <p:nvSpPr>
            <p:cNvPr id="126" name="Oval 125"/>
            <p:cNvSpPr/>
            <p:nvPr/>
          </p:nvSpPr>
          <p:spPr bwMode="gray">
            <a:xfrm>
              <a:off x="4726226" y="4864442"/>
              <a:ext cx="505166" cy="505166"/>
            </a:xfrm>
            <a:prstGeom prst="ellipse">
              <a:avLst/>
            </a:prstGeom>
            <a:solidFill>
              <a:srgbClr val="1F558A"/>
            </a:solidFill>
            <a:ln w="38100">
              <a:solidFill>
                <a:srgbClr val="94AEC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66CC"/>
                </a:solidFill>
              </a:endParaRPr>
            </a:p>
          </p:txBody>
        </p:sp>
        <p:pic>
          <p:nvPicPr>
            <p:cNvPr id="128" name="Picture 65"/>
            <p:cNvPicPr>
              <a:picLocks noChangeArrowheads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811113" y="4914964"/>
              <a:ext cx="337150" cy="33715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132" name="Rectangle 24"/>
          <p:cNvSpPr txBox="1">
            <a:spLocks/>
          </p:cNvSpPr>
          <p:nvPr/>
        </p:nvSpPr>
        <p:spPr>
          <a:xfrm>
            <a:off x="2184740" y="5509384"/>
            <a:ext cx="843173" cy="964676"/>
          </a:xfrm>
          <a:prstGeom prst="wedgeRectCallout">
            <a:avLst>
              <a:gd name="adj1" fmla="val 17478"/>
              <a:gd name="adj2" fmla="val -65108"/>
            </a:avLst>
          </a:prstGeom>
          <a:solidFill>
            <a:schemeClr val="bg1">
              <a:alpha val="79000"/>
            </a:schemeClr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3472" tIns="73472" rIns="73472" bIns="73472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735" b="1" dirty="0">
                <a:solidFill>
                  <a:srgbClr val="0066CC"/>
                </a:solidFill>
                <a:ea typeface="+mn-ea"/>
                <a:cs typeface="+mn-cs"/>
              </a:rPr>
              <a:t>47-74</a:t>
            </a:r>
          </a:p>
        </p:txBody>
      </p:sp>
      <p:sp>
        <p:nvSpPr>
          <p:cNvPr id="88" name="Rectangle 87"/>
          <p:cNvSpPr/>
          <p:nvPr/>
        </p:nvSpPr>
        <p:spPr>
          <a:xfrm>
            <a:off x="616158" y="776848"/>
            <a:ext cx="8340642" cy="2757145"/>
          </a:xfrm>
          <a:prstGeom prst="rect">
            <a:avLst/>
          </a:prstGeom>
          <a:solidFill>
            <a:schemeClr val="bg2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37" dirty="0" err="1">
              <a:solidFill>
                <a:srgbClr val="000000"/>
              </a:solidFill>
            </a:endParaRPr>
          </a:p>
        </p:txBody>
      </p:sp>
      <p:pic>
        <p:nvPicPr>
          <p:cNvPr id="89" name="Picture 37"/>
          <p:cNvPicPr>
            <a:picLocks noChangeArrowheads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70" y="934982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0" name="Picture 39"/>
          <p:cNvPicPr>
            <a:picLocks noChangeArrowheads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70" y="1552036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1" name="Picture 41"/>
          <p:cNvPicPr>
            <a:picLocks noChangeArrowheads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70" y="2278873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1" name="Picture 42"/>
          <p:cNvPicPr>
            <a:picLocks noChangeArrowheads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7470" y="2951627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7" name="Picture 39"/>
          <p:cNvPicPr>
            <a:picLocks noChangeArrowheads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771" y="2952309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9" name="Picture 40"/>
          <p:cNvPicPr>
            <a:picLocks noChangeArrowheads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652" y="2944602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0" name="Picture 41"/>
          <p:cNvPicPr>
            <a:picLocks noChangeArrowheads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771" y="981632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1" name="Picture 39"/>
          <p:cNvPicPr>
            <a:picLocks noChangeArrowheads="1"/>
          </p:cNvPicPr>
          <p:nvPr/>
        </p:nvPicPr>
        <p:blipFill rotWithShape="1"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110652" y="2267735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2" name="Picture 40"/>
          <p:cNvPicPr>
            <a:picLocks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652" y="990539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3" name="Picture 41"/>
          <p:cNvPicPr>
            <a:picLocks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0652" y="1731301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0" name="Picture 37"/>
          <p:cNvPicPr>
            <a:picLocks noChangeArrowheads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771" y="1629101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1" name="Picture 38"/>
          <p:cNvPicPr>
            <a:picLocks noChangeArrowheads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6771" y="2307505"/>
            <a:ext cx="366062" cy="2879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2" name="Rectangle 161"/>
          <p:cNvSpPr>
            <a:spLocks noGrp="1" noChangeArrowheads="1"/>
          </p:cNvSpPr>
          <p:nvPr/>
        </p:nvSpPr>
        <p:spPr bwMode="auto">
          <a:xfrm>
            <a:off x="1280430" y="2919234"/>
            <a:ext cx="1109526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A8CE8E2-7E52-40E1-BAA0-75B8652D93B0}" type="datetime'''Aut''''oma''''t''''''''io''n ''o''f&#10;kn''o''wledge wor''k''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Automation of
knowledge work</a:t>
            </a:fld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72" name="Rectangle 171"/>
          <p:cNvSpPr>
            <a:spLocks noGrp="1" noChangeArrowheads="1"/>
          </p:cNvSpPr>
          <p:nvPr/>
        </p:nvSpPr>
        <p:spPr bwMode="auto">
          <a:xfrm>
            <a:off x="6553612" y="2319568"/>
            <a:ext cx="1051215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A9FBBBD-25A7-4945-BCB3-44E4EF0D41EF}" type="datetime'E''''''''ne''r''''gy'''' ''s''t''''ora''''''ge''''''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Energy storage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3" name="Rectangle 172"/>
          <p:cNvSpPr>
            <a:spLocks noGrp="1" noChangeArrowheads="1"/>
          </p:cNvSpPr>
          <p:nvPr/>
        </p:nvSpPr>
        <p:spPr bwMode="auto">
          <a:xfrm>
            <a:off x="6553613" y="2904110"/>
            <a:ext cx="1415461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491FD6D-8B5E-4B07-AA01-A87238780B07}" type="datetime'''A''u''''tonomous and n''ea''r''-&#10;aut''o''nom''ous vehicles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Autonomous and near-
autonomous vehicles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4" name="Rectangle 173"/>
          <p:cNvSpPr>
            <a:spLocks noGrp="1" noChangeArrowheads="1"/>
          </p:cNvSpPr>
          <p:nvPr/>
        </p:nvSpPr>
        <p:spPr bwMode="auto">
          <a:xfrm>
            <a:off x="4009731" y="3010621"/>
            <a:ext cx="1274740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695DB21-4805-4C94-9FAE-4B737040497C}" type="datetime'Ad''''''''''''v''''''''''a''''n''c''''ed r''''ob''o''''''tics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Advanced robotics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5" name="Rectangle 174"/>
          <p:cNvSpPr>
            <a:spLocks noGrp="1" noChangeArrowheads="1"/>
          </p:cNvSpPr>
          <p:nvPr/>
        </p:nvSpPr>
        <p:spPr bwMode="auto">
          <a:xfrm>
            <a:off x="4009732" y="1036704"/>
            <a:ext cx="74832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19559B9-A689-4909-BE35-D4AB1B8B8EFD}" type="datetime'3''''''''''''''''D'''''''''''''''''''''' pr''inti''''n''g''''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D printing</a:t>
            </a:fld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76" name="Rectangle 175"/>
          <p:cNvSpPr>
            <a:spLocks noGrp="1" noChangeArrowheads="1"/>
          </p:cNvSpPr>
          <p:nvPr/>
        </p:nvSpPr>
        <p:spPr bwMode="auto">
          <a:xfrm>
            <a:off x="6553612" y="1779894"/>
            <a:ext cx="1289317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3F3B9FA-C5FE-4FAD-A164-EF57E648AF5C}" type="datetime'R''''''e''n''''ew''''abl''''e ''''e''''n''''''e''rg''''''''y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Renewable energy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7" name="Rectangle 176"/>
          <p:cNvSpPr>
            <a:spLocks noGrp="1" noChangeArrowheads="1"/>
          </p:cNvSpPr>
          <p:nvPr/>
        </p:nvSpPr>
        <p:spPr bwMode="auto">
          <a:xfrm>
            <a:off x="4009732" y="1578890"/>
            <a:ext cx="1101427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B1557990-F83B-4460-9342-E0D312593331}" type="datetime'''Ne''x''t-g''''e''ner''at''ion''''''''''&#10;''genomi''cs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Next-generation
genomics</a:t>
            </a:fld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78" name="Rectangle 177"/>
          <p:cNvSpPr>
            <a:spLocks noGrp="1" noChangeArrowheads="1"/>
          </p:cNvSpPr>
          <p:nvPr/>
        </p:nvSpPr>
        <p:spPr bwMode="auto">
          <a:xfrm>
            <a:off x="6553613" y="943568"/>
            <a:ext cx="1695873" cy="3725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2D84945-3572-4499-93F6-FFD2D347E3B3}" type="datetime'Advanc''ed'' oil and g''''as''&#10;e''xploration'' and recovery''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Advanced oil and gas
exploration and recovery</a:t>
            </a:fld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79" name="Rectangle 178"/>
          <p:cNvSpPr>
            <a:spLocks noGrp="1" noChangeArrowheads="1"/>
          </p:cNvSpPr>
          <p:nvPr/>
        </p:nvSpPr>
        <p:spPr bwMode="auto">
          <a:xfrm>
            <a:off x="4009731" y="2348000"/>
            <a:ext cx="1360586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4AEF876-3D02-4C6E-8B0D-A7C16932600C}" type="datetime'Ad''v''a''n''ce''''''''''''d'''''' ''mate''r''''i''''''als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Advanced materials</a:t>
            </a:fld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80" name="Rectangle 179"/>
          <p:cNvSpPr>
            <a:spLocks noGrp="1" noChangeArrowheads="1"/>
          </p:cNvSpPr>
          <p:nvPr/>
        </p:nvSpPr>
        <p:spPr bwMode="auto">
          <a:xfrm>
            <a:off x="1280430" y="2340424"/>
            <a:ext cx="1208330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3CB4C73-A477-4F8A-B3AB-C497936425A6}" type="datetime'I''n''''t''er''n''et'' o''''f'' T''''h''i''''n''gs''''''''''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Internet of Things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1" name="Rectangle 180"/>
          <p:cNvSpPr>
            <a:spLocks noGrp="1" noChangeArrowheads="1"/>
          </p:cNvSpPr>
          <p:nvPr/>
        </p:nvSpPr>
        <p:spPr bwMode="auto">
          <a:xfrm>
            <a:off x="1280430" y="1616827"/>
            <a:ext cx="1195372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5C3E7EF-21E8-4BC0-8CD4-536090D5ED0B}" type="datetime'Cl''''o''u''d'' t''''''e''''c''''''''h''nol''''''''''og''''y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Cloud technology</a:t>
            </a:fld>
            <a:r>
              <a:rPr lang="en-US" sz="1632" dirty="0">
                <a:solidFill>
                  <a:srgbClr val="000000"/>
                </a:solidFill>
                <a:cs typeface="Arial"/>
              </a:rPr>
              <a:t> </a:t>
            </a:r>
          </a:p>
          <a:p>
            <a:pPr>
              <a:buClr>
                <a:srgbClr val="002960"/>
              </a:buClr>
            </a:pPr>
            <a:r>
              <a:rPr lang="en-US" sz="1632" dirty="0">
                <a:solidFill>
                  <a:srgbClr val="000000"/>
                </a:solidFill>
                <a:cs typeface="Arial"/>
              </a:rPr>
              <a:t>and big data</a:t>
            </a:r>
            <a:endParaRPr lang="en-US" sz="1632" dirty="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182" name="Rectangle 181"/>
          <p:cNvSpPr>
            <a:spLocks noGrp="1" noChangeArrowheads="1"/>
          </p:cNvSpPr>
          <p:nvPr/>
        </p:nvSpPr>
        <p:spPr bwMode="auto">
          <a:xfrm>
            <a:off x="1280431" y="1004633"/>
            <a:ext cx="1025299" cy="186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4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4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4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EAE2BEB-41A2-4533-AD0B-D6646938D66C}" type="datetime'''Mo''''''b''i''le'''''' I''n''''''t''er''''''n''''''''''e''t'">
              <a:rPr lang="en-US" sz="1632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Mobile Internet</a:t>
            </a:fld>
            <a:endParaRPr lang="en-US" sz="1632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" name="Down Arrow 2"/>
          <p:cNvSpPr/>
          <p:nvPr/>
        </p:nvSpPr>
        <p:spPr>
          <a:xfrm>
            <a:off x="4269015" y="3427381"/>
            <a:ext cx="1101303" cy="583510"/>
          </a:xfrm>
          <a:prstGeom prst="downArrow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837" dirty="0" err="1">
              <a:solidFill>
                <a:srgbClr val="00000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03388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4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1" name="Rectangle 7"/>
          <p:cNvSpPr txBox="1">
            <a:spLocks/>
          </p:cNvSpPr>
          <p:nvPr/>
        </p:nvSpPr>
        <p:spPr bwMode="gray">
          <a:xfrm>
            <a:off x="3027758" y="1540732"/>
            <a:ext cx="1040218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Infrastructure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sp>
        <p:nvSpPr>
          <p:cNvPr id="183" name="Rectangle 7"/>
          <p:cNvSpPr txBox="1">
            <a:spLocks/>
          </p:cNvSpPr>
          <p:nvPr/>
        </p:nvSpPr>
        <p:spPr bwMode="gray">
          <a:xfrm>
            <a:off x="4328320" y="1540732"/>
            <a:ext cx="853764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Agriculture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sp>
        <p:nvSpPr>
          <p:cNvPr id="186" name="Rectangle 7"/>
          <p:cNvSpPr txBox="1">
            <a:spLocks/>
          </p:cNvSpPr>
          <p:nvPr/>
        </p:nvSpPr>
        <p:spPr bwMode="gray">
          <a:xfrm>
            <a:off x="5487519" y="1540732"/>
            <a:ext cx="435061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Retail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sp>
        <p:nvSpPr>
          <p:cNvPr id="190" name="Rectangle 7"/>
          <p:cNvSpPr txBox="1">
            <a:spLocks/>
          </p:cNvSpPr>
          <p:nvPr/>
        </p:nvSpPr>
        <p:spPr bwMode="gray">
          <a:xfrm>
            <a:off x="6244368" y="1540732"/>
            <a:ext cx="1131426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Manufacturing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pic>
        <p:nvPicPr>
          <p:cNvPr id="139" name="Picture 7" descr="suitcase, work icon"/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75228" y="959401"/>
            <a:ext cx="356552" cy="377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3" name="Rectangle 7"/>
          <p:cNvSpPr txBox="1">
            <a:spLocks/>
          </p:cNvSpPr>
          <p:nvPr/>
        </p:nvSpPr>
        <p:spPr bwMode="gray">
          <a:xfrm>
            <a:off x="7652493" y="1540732"/>
            <a:ext cx="603524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Finance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sp>
        <p:nvSpPr>
          <p:cNvPr id="48" name="Rectangle 7"/>
          <p:cNvSpPr txBox="1">
            <a:spLocks/>
          </p:cNvSpPr>
          <p:nvPr/>
        </p:nvSpPr>
        <p:spPr bwMode="gray">
          <a:xfrm>
            <a:off x="573494" y="1538834"/>
            <a:ext cx="2172658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lvl="0" defTabSz="895350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Technologies</a:t>
            </a:r>
          </a:p>
        </p:txBody>
      </p:sp>
      <p:sp>
        <p:nvSpPr>
          <p:cNvPr id="196" name="Rectangle 7"/>
          <p:cNvSpPr txBox="1">
            <a:spLocks/>
          </p:cNvSpPr>
          <p:nvPr/>
        </p:nvSpPr>
        <p:spPr bwMode="gray">
          <a:xfrm>
            <a:off x="8524538" y="1540732"/>
            <a:ext cx="816146" cy="1922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224" b="1" dirty="0">
                <a:solidFill>
                  <a:srgbClr val="0066CC"/>
                </a:solidFill>
                <a:ea typeface="+mn-ea"/>
                <a:cs typeface="+mn-cs"/>
              </a:rPr>
              <a:t>Healthcare</a:t>
            </a:r>
            <a:endParaRPr lang="en-GB" sz="1224" b="1" dirty="0">
              <a:solidFill>
                <a:srgbClr val="0066CC"/>
              </a:solidFill>
              <a:ea typeface="+mn-ea"/>
              <a:cs typeface="+mn-cs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381271" y="1779847"/>
            <a:ext cx="9143461" cy="1141875"/>
            <a:chOff x="0" y="1476421"/>
            <a:chExt cx="8961438" cy="1119143"/>
          </a:xfrm>
        </p:grpSpPr>
        <p:sp>
          <p:nvSpPr>
            <p:cNvPr id="130" name="Rectangle 129"/>
            <p:cNvSpPr>
              <a:spLocks/>
            </p:cNvSpPr>
            <p:nvPr/>
          </p:nvSpPr>
          <p:spPr>
            <a:xfrm>
              <a:off x="0" y="1476423"/>
              <a:ext cx="8961438" cy="1119141"/>
            </a:xfrm>
            <a:prstGeom prst="rect">
              <a:avLst/>
            </a:prstGeom>
            <a:gradFill flip="none" rotWithShape="1">
              <a:gsLst>
                <a:gs pos="0">
                  <a:schemeClr val="bg1">
                    <a:alpha val="0"/>
                  </a:schemeClr>
                </a:gs>
                <a:gs pos="100000">
                  <a:srgbClr val="F0F0F0"/>
                </a:gs>
              </a:gsLst>
              <a:lin ang="16200000" scaled="1"/>
              <a:tileRect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3267" tIns="46633" rIns="93267" bIns="46633" rtlCol="0"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837" dirty="0" err="1">
                <a:solidFill>
                  <a:srgbClr val="000000"/>
                </a:solidFill>
              </a:endParaRPr>
            </a:p>
          </p:txBody>
        </p:sp>
        <p:cxnSp>
          <p:nvCxnSpPr>
            <p:cNvPr id="131" name="Straight Connector 130"/>
            <p:cNvCxnSpPr>
              <a:cxnSpLocks/>
            </p:cNvCxnSpPr>
            <p:nvPr/>
          </p:nvCxnSpPr>
          <p:spPr>
            <a:xfrm>
              <a:off x="0" y="1476421"/>
              <a:ext cx="8961438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2752" y="234865"/>
            <a:ext cx="8793595" cy="29832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Certain disruptive technologies stand out for their relevance in ASEAN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7082630" y="573416"/>
            <a:ext cx="2213716" cy="192211"/>
            <a:chOff x="6748928" y="609297"/>
            <a:chExt cx="2169647" cy="188385"/>
          </a:xfrm>
        </p:grpSpPr>
        <p:sp>
          <p:nvSpPr>
            <p:cNvPr id="42" name="Freeform 99"/>
            <p:cNvSpPr>
              <a:spLocks noChangeAspect="1"/>
            </p:cNvSpPr>
            <p:nvPr/>
          </p:nvSpPr>
          <p:spPr bwMode="gray">
            <a:xfrm>
              <a:off x="6748928" y="622057"/>
              <a:ext cx="167762" cy="159146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428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tangle 7"/>
            <p:cNvSpPr txBox="1"/>
            <p:nvPr/>
          </p:nvSpPr>
          <p:spPr bwMode="gray">
            <a:xfrm>
              <a:off x="7007069" y="609297"/>
              <a:ext cx="56265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Key role</a:t>
              </a:r>
              <a:endParaRPr lang="en-US" sz="1224" baseline="3000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45" name="Rectangle 7"/>
            <p:cNvSpPr txBox="1"/>
            <p:nvPr/>
          </p:nvSpPr>
          <p:spPr bwMode="gray">
            <a:xfrm>
              <a:off x="7848583" y="609297"/>
              <a:ext cx="1069992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lvl="0" defTabSz="895350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Supporting role</a:t>
              </a:r>
              <a:endParaRPr lang="en-US" sz="1224" baseline="30000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43" name="Oval 42"/>
            <p:cNvSpPr>
              <a:spLocks noChangeAspect="1"/>
            </p:cNvSpPr>
            <p:nvPr/>
          </p:nvSpPr>
          <p:spPr bwMode="gray">
            <a:xfrm>
              <a:off x="7660103" y="652580"/>
              <a:ext cx="98100" cy="9810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428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cxnSp>
        <p:nvCxnSpPr>
          <p:cNvPr id="141" name="Straight Connector 140"/>
          <p:cNvCxnSpPr>
            <a:cxnSpLocks/>
          </p:cNvCxnSpPr>
          <p:nvPr/>
        </p:nvCxnSpPr>
        <p:spPr bwMode="gray">
          <a:xfrm>
            <a:off x="573496" y="2139000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>
            <a:cxnSpLocks/>
          </p:cNvCxnSpPr>
          <p:nvPr/>
        </p:nvCxnSpPr>
        <p:spPr bwMode="gray">
          <a:xfrm>
            <a:off x="573496" y="2474077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>
            <a:cxnSpLocks/>
          </p:cNvCxnSpPr>
          <p:nvPr/>
        </p:nvCxnSpPr>
        <p:spPr bwMode="gray">
          <a:xfrm>
            <a:off x="573496" y="3635753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cxnSpLocks/>
          </p:cNvCxnSpPr>
          <p:nvPr/>
        </p:nvCxnSpPr>
        <p:spPr bwMode="gray">
          <a:xfrm>
            <a:off x="573496" y="3970829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Straight Connector 145"/>
          <p:cNvCxnSpPr>
            <a:cxnSpLocks/>
          </p:cNvCxnSpPr>
          <p:nvPr/>
        </p:nvCxnSpPr>
        <p:spPr bwMode="gray">
          <a:xfrm>
            <a:off x="573496" y="4797429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Straight Connector 146"/>
          <p:cNvCxnSpPr>
            <a:cxnSpLocks/>
          </p:cNvCxnSpPr>
          <p:nvPr/>
        </p:nvCxnSpPr>
        <p:spPr bwMode="gray">
          <a:xfrm>
            <a:off x="573496" y="5132505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Straight Connector 147"/>
          <p:cNvCxnSpPr>
            <a:cxnSpLocks/>
          </p:cNvCxnSpPr>
          <p:nvPr/>
        </p:nvCxnSpPr>
        <p:spPr bwMode="gray">
          <a:xfrm>
            <a:off x="573496" y="5467582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Straight Connector 148"/>
          <p:cNvCxnSpPr>
            <a:cxnSpLocks/>
          </p:cNvCxnSpPr>
          <p:nvPr/>
        </p:nvCxnSpPr>
        <p:spPr bwMode="gray">
          <a:xfrm>
            <a:off x="573496" y="4305906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0" name="Straight Connector 149"/>
          <p:cNvCxnSpPr>
            <a:cxnSpLocks/>
          </p:cNvCxnSpPr>
          <p:nvPr/>
        </p:nvCxnSpPr>
        <p:spPr bwMode="gray">
          <a:xfrm>
            <a:off x="573496" y="2809153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Straight Connector 150"/>
          <p:cNvCxnSpPr>
            <a:cxnSpLocks/>
          </p:cNvCxnSpPr>
          <p:nvPr/>
        </p:nvCxnSpPr>
        <p:spPr bwMode="gray">
          <a:xfrm>
            <a:off x="573496" y="5802658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>
            <a:cxnSpLocks/>
          </p:cNvCxnSpPr>
          <p:nvPr/>
        </p:nvCxnSpPr>
        <p:spPr bwMode="gray">
          <a:xfrm>
            <a:off x="573496" y="6137735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0" name="Group 229"/>
          <p:cNvGrpSpPr/>
          <p:nvPr/>
        </p:nvGrpSpPr>
        <p:grpSpPr>
          <a:xfrm>
            <a:off x="573494" y="5189851"/>
            <a:ext cx="2172658" cy="220387"/>
            <a:chOff x="188398" y="5129900"/>
            <a:chExt cx="2129406" cy="216000"/>
          </a:xfrm>
        </p:grpSpPr>
        <p:sp>
          <p:nvSpPr>
            <p:cNvPr id="66" name="Rectangle 7"/>
            <p:cNvSpPr txBox="1">
              <a:spLocks/>
            </p:cNvSpPr>
            <p:nvPr/>
          </p:nvSpPr>
          <p:spPr bwMode="gray">
            <a:xfrm>
              <a:off x="188398" y="5129900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10</a:t>
              </a:r>
            </a:p>
          </p:txBody>
        </p:sp>
        <p:sp>
          <p:nvSpPr>
            <p:cNvPr id="65" name="Rectangle 7"/>
            <p:cNvSpPr txBox="1">
              <a:spLocks/>
            </p:cNvSpPr>
            <p:nvPr/>
          </p:nvSpPr>
          <p:spPr bwMode="gray">
            <a:xfrm>
              <a:off x="453357" y="5145567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GB" sz="1224" dirty="0">
                  <a:solidFill>
                    <a:srgbClr val="000000"/>
                  </a:solidFill>
                  <a:ea typeface="+mn-ea"/>
                  <a:cs typeface="+mn-cs"/>
                </a:rPr>
                <a:t>Advanced oil and gas</a:t>
              </a:r>
            </a:p>
          </p:txBody>
        </p:sp>
      </p:grpSp>
      <p:cxnSp>
        <p:nvCxnSpPr>
          <p:cNvPr id="154" name="Straight Connector 153"/>
          <p:cNvCxnSpPr>
            <a:cxnSpLocks/>
          </p:cNvCxnSpPr>
          <p:nvPr/>
        </p:nvCxnSpPr>
        <p:spPr bwMode="gray">
          <a:xfrm>
            <a:off x="573496" y="3300676"/>
            <a:ext cx="8759011" cy="0"/>
          </a:xfrm>
          <a:prstGeom prst="line">
            <a:avLst/>
          </a:prstGeom>
          <a:ln w="9525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7" name="Group 226"/>
          <p:cNvGrpSpPr/>
          <p:nvPr/>
        </p:nvGrpSpPr>
        <p:grpSpPr>
          <a:xfrm>
            <a:off x="573495" y="4363251"/>
            <a:ext cx="3033714" cy="384423"/>
            <a:chOff x="188398" y="4332892"/>
            <a:chExt cx="2973321" cy="376770"/>
          </a:xfrm>
        </p:grpSpPr>
        <p:sp>
          <p:nvSpPr>
            <p:cNvPr id="64" name="Rectangle 7"/>
            <p:cNvSpPr txBox="1">
              <a:spLocks/>
            </p:cNvSpPr>
            <p:nvPr/>
          </p:nvSpPr>
          <p:spPr bwMode="gray">
            <a:xfrm>
              <a:off x="188398" y="4332892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/>
                <a:t>8</a:t>
              </a:r>
              <a:endParaRPr lang="en-GB" sz="1224" dirty="0"/>
            </a:p>
          </p:txBody>
        </p:sp>
        <p:sp>
          <p:nvSpPr>
            <p:cNvPr id="63" name="Rectangle 7"/>
            <p:cNvSpPr txBox="1">
              <a:spLocks/>
            </p:cNvSpPr>
            <p:nvPr/>
          </p:nvSpPr>
          <p:spPr bwMode="gray">
            <a:xfrm>
              <a:off x="453357" y="4332892"/>
              <a:ext cx="1864447" cy="376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Autonomous and near autonomous vehicles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99" name="Oval 198"/>
            <p:cNvSpPr>
              <a:spLocks/>
            </p:cNvSpPr>
            <p:nvPr/>
          </p:nvSpPr>
          <p:spPr bwMode="gray">
            <a:xfrm>
              <a:off x="3024559" y="4332892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233" name="Group 232"/>
          <p:cNvGrpSpPr/>
          <p:nvPr/>
        </p:nvGrpSpPr>
        <p:grpSpPr>
          <a:xfrm>
            <a:off x="573495" y="6195092"/>
            <a:ext cx="8429088" cy="220387"/>
            <a:chOff x="188398" y="6095411"/>
            <a:chExt cx="8261287" cy="216000"/>
          </a:xfrm>
        </p:grpSpPr>
        <p:sp>
          <p:nvSpPr>
            <p:cNvPr id="175" name="Rectangle 7"/>
            <p:cNvSpPr txBox="1">
              <a:spLocks/>
            </p:cNvSpPr>
            <p:nvPr/>
          </p:nvSpPr>
          <p:spPr bwMode="gray">
            <a:xfrm>
              <a:off x="453357" y="6111078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GB" sz="1224" dirty="0">
                  <a:solidFill>
                    <a:srgbClr val="000000"/>
                  </a:solidFill>
                  <a:ea typeface="+mn-ea"/>
                  <a:cs typeface="+mn-cs"/>
                </a:rPr>
                <a:t>Advanced robotics</a:t>
              </a:r>
            </a:p>
          </p:txBody>
        </p:sp>
        <p:sp>
          <p:nvSpPr>
            <p:cNvPr id="178" name="Rectangle 7"/>
            <p:cNvSpPr txBox="1">
              <a:spLocks/>
            </p:cNvSpPr>
            <p:nvPr/>
          </p:nvSpPr>
          <p:spPr bwMode="gray">
            <a:xfrm>
              <a:off x="188398" y="6095411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13</a:t>
              </a:r>
            </a:p>
          </p:txBody>
        </p:sp>
        <p:sp>
          <p:nvSpPr>
            <p:cNvPr id="201" name="Oval 200"/>
            <p:cNvSpPr>
              <a:spLocks/>
            </p:cNvSpPr>
            <p:nvPr/>
          </p:nvSpPr>
          <p:spPr bwMode="gray">
            <a:xfrm>
              <a:off x="8312525" y="6134831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225" name="Group 224"/>
          <p:cNvGrpSpPr/>
          <p:nvPr/>
        </p:nvGrpSpPr>
        <p:grpSpPr>
          <a:xfrm>
            <a:off x="573495" y="4028175"/>
            <a:ext cx="8429088" cy="220387"/>
            <a:chOff x="188398" y="4011054"/>
            <a:chExt cx="8261287" cy="216000"/>
          </a:xfrm>
        </p:grpSpPr>
        <p:sp>
          <p:nvSpPr>
            <p:cNvPr id="57" name="Rectangle 7"/>
            <p:cNvSpPr txBox="1">
              <a:spLocks/>
            </p:cNvSpPr>
            <p:nvPr/>
          </p:nvSpPr>
          <p:spPr bwMode="gray">
            <a:xfrm>
              <a:off x="188398" y="4011054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7</a:t>
              </a:r>
            </a:p>
          </p:txBody>
        </p:sp>
        <p:sp>
          <p:nvSpPr>
            <p:cNvPr id="58" name="Rectangle 7"/>
            <p:cNvSpPr txBox="1">
              <a:spLocks/>
            </p:cNvSpPr>
            <p:nvPr/>
          </p:nvSpPr>
          <p:spPr bwMode="gray">
            <a:xfrm>
              <a:off x="453357" y="4026721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Advanced materials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97" name="Oval 196"/>
            <p:cNvSpPr>
              <a:spLocks/>
            </p:cNvSpPr>
            <p:nvPr/>
          </p:nvSpPr>
          <p:spPr bwMode="gray">
            <a:xfrm>
              <a:off x="3024559" y="4050474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98" name="Oval 197"/>
            <p:cNvSpPr>
              <a:spLocks/>
            </p:cNvSpPr>
            <p:nvPr/>
          </p:nvSpPr>
          <p:spPr bwMode="gray">
            <a:xfrm>
              <a:off x="8312525" y="4050474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95" name="Oval 194"/>
            <p:cNvSpPr>
              <a:spLocks/>
            </p:cNvSpPr>
            <p:nvPr/>
          </p:nvSpPr>
          <p:spPr bwMode="gray">
            <a:xfrm>
              <a:off x="6232250" y="4050474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573495" y="5860004"/>
            <a:ext cx="4243503" cy="220387"/>
            <a:chOff x="188398" y="5773576"/>
            <a:chExt cx="4159026" cy="216000"/>
          </a:xfrm>
        </p:grpSpPr>
        <p:sp>
          <p:nvSpPr>
            <p:cNvPr id="72" name="Rectangle 7"/>
            <p:cNvSpPr txBox="1">
              <a:spLocks/>
            </p:cNvSpPr>
            <p:nvPr/>
          </p:nvSpPr>
          <p:spPr bwMode="gray">
            <a:xfrm>
              <a:off x="188398" y="5773576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12</a:t>
              </a:r>
            </a:p>
          </p:txBody>
        </p:sp>
        <p:sp>
          <p:nvSpPr>
            <p:cNvPr id="71" name="Rectangle 7"/>
            <p:cNvSpPr txBox="1">
              <a:spLocks/>
            </p:cNvSpPr>
            <p:nvPr/>
          </p:nvSpPr>
          <p:spPr bwMode="gray">
            <a:xfrm>
              <a:off x="453357" y="5789243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defRPr/>
              </a:pPr>
              <a:r>
                <a:rPr lang="en-GB" sz="1224" dirty="0">
                  <a:solidFill>
                    <a:srgbClr val="000000"/>
                  </a:solidFill>
                  <a:ea typeface="+mn-ea"/>
                  <a:cs typeface="+mn-cs"/>
                </a:rPr>
                <a:t>Advanced energy storage</a:t>
              </a:r>
            </a:p>
          </p:txBody>
        </p:sp>
        <p:sp>
          <p:nvSpPr>
            <p:cNvPr id="204" name="Oval 203"/>
            <p:cNvSpPr>
              <a:spLocks/>
            </p:cNvSpPr>
            <p:nvPr/>
          </p:nvSpPr>
          <p:spPr bwMode="gray">
            <a:xfrm>
              <a:off x="3024559" y="5812996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205" name="Oval 204"/>
            <p:cNvSpPr>
              <a:spLocks/>
            </p:cNvSpPr>
            <p:nvPr/>
          </p:nvSpPr>
          <p:spPr bwMode="gray">
            <a:xfrm>
              <a:off x="4210264" y="5812996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229" name="Group 228"/>
          <p:cNvGrpSpPr/>
          <p:nvPr/>
        </p:nvGrpSpPr>
        <p:grpSpPr>
          <a:xfrm>
            <a:off x="573495" y="4854775"/>
            <a:ext cx="8429088" cy="220387"/>
            <a:chOff x="188398" y="4808062"/>
            <a:chExt cx="8261287" cy="216000"/>
          </a:xfrm>
        </p:grpSpPr>
        <p:sp>
          <p:nvSpPr>
            <p:cNvPr id="55" name="Rectangle 7"/>
            <p:cNvSpPr txBox="1">
              <a:spLocks/>
            </p:cNvSpPr>
            <p:nvPr/>
          </p:nvSpPr>
          <p:spPr bwMode="gray">
            <a:xfrm>
              <a:off x="188398" y="4808062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9</a:t>
              </a:r>
            </a:p>
          </p:txBody>
        </p:sp>
        <p:sp>
          <p:nvSpPr>
            <p:cNvPr id="56" name="Rectangle 7"/>
            <p:cNvSpPr txBox="1">
              <a:spLocks/>
            </p:cNvSpPr>
            <p:nvPr/>
          </p:nvSpPr>
          <p:spPr bwMode="gray">
            <a:xfrm>
              <a:off x="453357" y="4823729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Next-gen genomics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203" name="Oval 202"/>
            <p:cNvSpPr>
              <a:spLocks/>
            </p:cNvSpPr>
            <p:nvPr/>
          </p:nvSpPr>
          <p:spPr bwMode="gray">
            <a:xfrm>
              <a:off x="8312525" y="4847482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218" name="Oval 217"/>
            <p:cNvSpPr>
              <a:spLocks/>
            </p:cNvSpPr>
            <p:nvPr/>
          </p:nvSpPr>
          <p:spPr bwMode="gray">
            <a:xfrm>
              <a:off x="4210264" y="4847482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573495" y="2866499"/>
            <a:ext cx="8468161" cy="384423"/>
            <a:chOff x="188398" y="2892208"/>
            <a:chExt cx="8299582" cy="376770"/>
          </a:xfrm>
        </p:grpSpPr>
        <p:sp>
          <p:nvSpPr>
            <p:cNvPr id="54" name="Rectangle 7"/>
            <p:cNvSpPr txBox="1">
              <a:spLocks/>
            </p:cNvSpPr>
            <p:nvPr/>
          </p:nvSpPr>
          <p:spPr bwMode="gray">
            <a:xfrm>
              <a:off x="188398" y="2892208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/>
                <a:t>4</a:t>
              </a:r>
              <a:endParaRPr lang="en-GB" sz="1224" dirty="0"/>
            </a:p>
          </p:txBody>
        </p:sp>
        <p:sp>
          <p:nvSpPr>
            <p:cNvPr id="53" name="Rectangle 7"/>
            <p:cNvSpPr txBox="1">
              <a:spLocks/>
            </p:cNvSpPr>
            <p:nvPr/>
          </p:nvSpPr>
          <p:spPr bwMode="gray">
            <a:xfrm>
              <a:off x="453357" y="2892208"/>
              <a:ext cx="1864447" cy="3767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Automation of </a:t>
              </a:r>
              <a:b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</a:b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knowledge work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216" name="Freeform 99"/>
            <p:cNvSpPr>
              <a:spLocks noChangeAspect="1"/>
            </p:cNvSpPr>
            <p:nvPr/>
          </p:nvSpPr>
          <p:spPr bwMode="gray">
            <a:xfrm>
              <a:off x="7315352" y="2892208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99"/>
            <p:cNvSpPr>
              <a:spLocks noChangeAspect="1"/>
            </p:cNvSpPr>
            <p:nvPr/>
          </p:nvSpPr>
          <p:spPr bwMode="gray">
            <a:xfrm>
              <a:off x="8274231" y="2892208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573495" y="3358022"/>
            <a:ext cx="8468161" cy="220387"/>
            <a:chOff x="188398" y="3367378"/>
            <a:chExt cx="8299582" cy="216000"/>
          </a:xfrm>
        </p:grpSpPr>
        <p:sp>
          <p:nvSpPr>
            <p:cNvPr id="52" name="Rectangle 7"/>
            <p:cNvSpPr txBox="1">
              <a:spLocks/>
            </p:cNvSpPr>
            <p:nvPr/>
          </p:nvSpPr>
          <p:spPr bwMode="gray">
            <a:xfrm>
              <a:off x="188398" y="3367378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5</a:t>
              </a:r>
            </a:p>
          </p:txBody>
        </p:sp>
        <p:sp>
          <p:nvSpPr>
            <p:cNvPr id="51" name="Rectangle 7"/>
            <p:cNvSpPr txBox="1">
              <a:spLocks/>
            </p:cNvSpPr>
            <p:nvPr/>
          </p:nvSpPr>
          <p:spPr bwMode="gray">
            <a:xfrm>
              <a:off x="453357" y="3383045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Cloud technology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87" name="Oval 186"/>
            <p:cNvSpPr>
              <a:spLocks/>
            </p:cNvSpPr>
            <p:nvPr/>
          </p:nvSpPr>
          <p:spPr bwMode="gray">
            <a:xfrm>
              <a:off x="5149216" y="3406798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07" name="Oval 106"/>
            <p:cNvSpPr>
              <a:spLocks/>
            </p:cNvSpPr>
            <p:nvPr/>
          </p:nvSpPr>
          <p:spPr bwMode="gray">
            <a:xfrm>
              <a:off x="3024559" y="3406798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84" name="Oval 183"/>
            <p:cNvSpPr>
              <a:spLocks/>
            </p:cNvSpPr>
            <p:nvPr/>
          </p:nvSpPr>
          <p:spPr bwMode="gray">
            <a:xfrm>
              <a:off x="6232250" y="3406798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29" name="Oval 128"/>
            <p:cNvSpPr>
              <a:spLocks/>
            </p:cNvSpPr>
            <p:nvPr/>
          </p:nvSpPr>
          <p:spPr bwMode="gray">
            <a:xfrm>
              <a:off x="4210264" y="3406798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226" name="Freeform 99"/>
            <p:cNvSpPr>
              <a:spLocks noChangeAspect="1"/>
            </p:cNvSpPr>
            <p:nvPr/>
          </p:nvSpPr>
          <p:spPr bwMode="gray">
            <a:xfrm>
              <a:off x="7315352" y="3395017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8" name="Freeform 99"/>
            <p:cNvSpPr>
              <a:spLocks noChangeAspect="1"/>
            </p:cNvSpPr>
            <p:nvPr/>
          </p:nvSpPr>
          <p:spPr bwMode="gray">
            <a:xfrm>
              <a:off x="8274231" y="3395017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73495" y="1861270"/>
            <a:ext cx="8468161" cy="220387"/>
            <a:chOff x="188398" y="1926694"/>
            <a:chExt cx="8299582" cy="216000"/>
          </a:xfrm>
        </p:grpSpPr>
        <p:sp>
          <p:nvSpPr>
            <p:cNvPr id="49" name="Rectangle 7"/>
            <p:cNvSpPr txBox="1">
              <a:spLocks/>
            </p:cNvSpPr>
            <p:nvPr/>
          </p:nvSpPr>
          <p:spPr bwMode="gray">
            <a:xfrm>
              <a:off x="188398" y="1926694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1</a:t>
              </a:r>
            </a:p>
          </p:txBody>
        </p:sp>
        <p:sp>
          <p:nvSpPr>
            <p:cNvPr id="50" name="Rectangle 7"/>
            <p:cNvSpPr txBox="1">
              <a:spLocks/>
            </p:cNvSpPr>
            <p:nvPr/>
          </p:nvSpPr>
          <p:spPr bwMode="gray">
            <a:xfrm>
              <a:off x="453357" y="1940502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Mobile internet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76" name="Freeform 99"/>
            <p:cNvSpPr>
              <a:spLocks noChangeAspect="1"/>
            </p:cNvSpPr>
            <p:nvPr/>
          </p:nvSpPr>
          <p:spPr bwMode="gray">
            <a:xfrm>
              <a:off x="7315352" y="1954333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3" name="Freeform 99"/>
            <p:cNvSpPr>
              <a:spLocks noChangeAspect="1"/>
            </p:cNvSpPr>
            <p:nvPr/>
          </p:nvSpPr>
          <p:spPr bwMode="gray">
            <a:xfrm>
              <a:off x="5110922" y="1954333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99"/>
            <p:cNvSpPr>
              <a:spLocks noChangeAspect="1"/>
            </p:cNvSpPr>
            <p:nvPr/>
          </p:nvSpPr>
          <p:spPr bwMode="gray">
            <a:xfrm>
              <a:off x="8274231" y="1954333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7" name="Freeform 99"/>
            <p:cNvSpPr>
              <a:spLocks noChangeAspect="1"/>
            </p:cNvSpPr>
            <p:nvPr/>
          </p:nvSpPr>
          <p:spPr bwMode="gray">
            <a:xfrm>
              <a:off x="4171970" y="1954333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573495" y="2531423"/>
            <a:ext cx="8468161" cy="220387"/>
            <a:chOff x="188398" y="2570370"/>
            <a:chExt cx="8299582" cy="216000"/>
          </a:xfrm>
        </p:grpSpPr>
        <p:sp>
          <p:nvSpPr>
            <p:cNvPr id="62" name="Rectangle 7"/>
            <p:cNvSpPr txBox="1">
              <a:spLocks/>
            </p:cNvSpPr>
            <p:nvPr/>
          </p:nvSpPr>
          <p:spPr bwMode="gray">
            <a:xfrm>
              <a:off x="453357" y="2586037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Internet of things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60" name="Rectangle 7"/>
            <p:cNvSpPr txBox="1">
              <a:spLocks/>
            </p:cNvSpPr>
            <p:nvPr/>
          </p:nvSpPr>
          <p:spPr bwMode="gray">
            <a:xfrm>
              <a:off x="188398" y="2570370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3</a:t>
              </a:r>
            </a:p>
          </p:txBody>
        </p:sp>
        <p:sp>
          <p:nvSpPr>
            <p:cNvPr id="194" name="Freeform 99"/>
            <p:cNvSpPr>
              <a:spLocks noChangeAspect="1"/>
            </p:cNvSpPr>
            <p:nvPr/>
          </p:nvSpPr>
          <p:spPr bwMode="gray">
            <a:xfrm>
              <a:off x="5110922" y="2598009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99"/>
            <p:cNvSpPr>
              <a:spLocks noChangeAspect="1"/>
            </p:cNvSpPr>
            <p:nvPr/>
          </p:nvSpPr>
          <p:spPr bwMode="gray">
            <a:xfrm>
              <a:off x="2986265" y="2598009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Freeform 99"/>
            <p:cNvSpPr>
              <a:spLocks noChangeAspect="1"/>
            </p:cNvSpPr>
            <p:nvPr/>
          </p:nvSpPr>
          <p:spPr bwMode="gray">
            <a:xfrm>
              <a:off x="8274231" y="2598009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1" name="Freeform 99"/>
            <p:cNvSpPr>
              <a:spLocks noChangeAspect="1"/>
            </p:cNvSpPr>
            <p:nvPr/>
          </p:nvSpPr>
          <p:spPr bwMode="gray">
            <a:xfrm>
              <a:off x="6193956" y="2598009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99"/>
            <p:cNvSpPr>
              <a:spLocks noChangeAspect="1"/>
            </p:cNvSpPr>
            <p:nvPr/>
          </p:nvSpPr>
          <p:spPr bwMode="gray">
            <a:xfrm>
              <a:off x="4171970" y="2598009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573495" y="2196346"/>
            <a:ext cx="8468161" cy="220387"/>
            <a:chOff x="188398" y="2248532"/>
            <a:chExt cx="8299582" cy="216000"/>
          </a:xfrm>
        </p:grpSpPr>
        <p:sp>
          <p:nvSpPr>
            <p:cNvPr id="67" name="Rectangle 7"/>
            <p:cNvSpPr txBox="1">
              <a:spLocks/>
            </p:cNvSpPr>
            <p:nvPr/>
          </p:nvSpPr>
          <p:spPr bwMode="gray">
            <a:xfrm>
              <a:off x="188398" y="2248532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2</a:t>
              </a:r>
            </a:p>
          </p:txBody>
        </p:sp>
        <p:sp>
          <p:nvSpPr>
            <p:cNvPr id="68" name="Rectangle 7"/>
            <p:cNvSpPr txBox="1">
              <a:spLocks/>
            </p:cNvSpPr>
            <p:nvPr/>
          </p:nvSpPr>
          <p:spPr bwMode="gray">
            <a:xfrm>
              <a:off x="453357" y="2264199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Big data 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08" name="Freeform 99"/>
            <p:cNvSpPr>
              <a:spLocks noChangeAspect="1"/>
            </p:cNvSpPr>
            <p:nvPr/>
          </p:nvSpPr>
          <p:spPr bwMode="gray">
            <a:xfrm>
              <a:off x="7315352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8" name="Freeform 99"/>
            <p:cNvSpPr>
              <a:spLocks noChangeAspect="1"/>
            </p:cNvSpPr>
            <p:nvPr/>
          </p:nvSpPr>
          <p:spPr bwMode="gray">
            <a:xfrm>
              <a:off x="5110922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9" name="Freeform 99"/>
            <p:cNvSpPr>
              <a:spLocks noChangeAspect="1"/>
            </p:cNvSpPr>
            <p:nvPr/>
          </p:nvSpPr>
          <p:spPr bwMode="gray">
            <a:xfrm>
              <a:off x="2986265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2" name="Freeform 99"/>
            <p:cNvSpPr>
              <a:spLocks noChangeAspect="1"/>
            </p:cNvSpPr>
            <p:nvPr/>
          </p:nvSpPr>
          <p:spPr bwMode="gray">
            <a:xfrm>
              <a:off x="8274231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7" name="Freeform 99"/>
            <p:cNvSpPr>
              <a:spLocks noChangeAspect="1"/>
            </p:cNvSpPr>
            <p:nvPr/>
          </p:nvSpPr>
          <p:spPr bwMode="gray">
            <a:xfrm>
              <a:off x="6193956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7" name="Freeform 99"/>
            <p:cNvSpPr>
              <a:spLocks noChangeAspect="1"/>
            </p:cNvSpPr>
            <p:nvPr/>
          </p:nvSpPr>
          <p:spPr bwMode="gray">
            <a:xfrm>
              <a:off x="4171970" y="2276171"/>
              <a:ext cx="213749" cy="160722"/>
            </a:xfrm>
            <a:custGeom>
              <a:avLst/>
              <a:gdLst>
                <a:gd name="T0" fmla="*/ 3040 w 3040"/>
                <a:gd name="T1" fmla="*/ 109 h 2884"/>
                <a:gd name="T2" fmla="*/ 2860 w 3040"/>
                <a:gd name="T3" fmla="*/ 256 h 2884"/>
                <a:gd name="T4" fmla="*/ 2673 w 3040"/>
                <a:gd name="T5" fmla="*/ 428 h 2884"/>
                <a:gd name="T6" fmla="*/ 2479 w 3040"/>
                <a:gd name="T7" fmla="*/ 627 h 2884"/>
                <a:gd name="T8" fmla="*/ 2277 w 3040"/>
                <a:gd name="T9" fmla="*/ 853 h 2884"/>
                <a:gd name="T10" fmla="*/ 2067 w 3040"/>
                <a:gd name="T11" fmla="*/ 1106 h 2884"/>
                <a:gd name="T12" fmla="*/ 1926 w 3040"/>
                <a:gd name="T13" fmla="*/ 1287 h 2884"/>
                <a:gd name="T14" fmla="*/ 1727 w 3040"/>
                <a:gd name="T15" fmla="*/ 1556 h 2884"/>
                <a:gd name="T16" fmla="*/ 1546 w 3040"/>
                <a:gd name="T17" fmla="*/ 1819 h 2884"/>
                <a:gd name="T18" fmla="*/ 1385 w 3040"/>
                <a:gd name="T19" fmla="*/ 2076 h 2884"/>
                <a:gd name="T20" fmla="*/ 1243 w 3040"/>
                <a:gd name="T21" fmla="*/ 2324 h 2884"/>
                <a:gd name="T22" fmla="*/ 1120 w 3040"/>
                <a:gd name="T23" fmla="*/ 2567 h 2884"/>
                <a:gd name="T24" fmla="*/ 865 w 3040"/>
                <a:gd name="T25" fmla="*/ 2741 h 2884"/>
                <a:gd name="T26" fmla="*/ 704 w 3040"/>
                <a:gd name="T27" fmla="*/ 2867 h 2884"/>
                <a:gd name="T28" fmla="*/ 675 w 3040"/>
                <a:gd name="T29" fmla="*/ 2856 h 2884"/>
                <a:gd name="T30" fmla="*/ 603 w 3040"/>
                <a:gd name="T31" fmla="*/ 2655 h 2884"/>
                <a:gd name="T32" fmla="*/ 498 w 3040"/>
                <a:gd name="T33" fmla="*/ 2404 h 2884"/>
                <a:gd name="T34" fmla="*/ 401 w 3040"/>
                <a:gd name="T35" fmla="*/ 2197 h 2884"/>
                <a:gd name="T36" fmla="*/ 311 w 3040"/>
                <a:gd name="T37" fmla="*/ 2034 h 2884"/>
                <a:gd name="T38" fmla="*/ 253 w 3040"/>
                <a:gd name="T39" fmla="*/ 1950 h 2884"/>
                <a:gd name="T40" fmla="*/ 164 w 3040"/>
                <a:gd name="T41" fmla="*/ 1855 h 2884"/>
                <a:gd name="T42" fmla="*/ 69 w 3040"/>
                <a:gd name="T43" fmla="*/ 1786 h 2884"/>
                <a:gd name="T44" fmla="*/ 0 w 3040"/>
                <a:gd name="T45" fmla="*/ 1757 h 2884"/>
                <a:gd name="T46" fmla="*/ 87 w 3040"/>
                <a:gd name="T47" fmla="*/ 1672 h 2884"/>
                <a:gd name="T48" fmla="*/ 172 w 3040"/>
                <a:gd name="T49" fmla="*/ 1605 h 2884"/>
                <a:gd name="T50" fmla="*/ 254 w 3040"/>
                <a:gd name="T51" fmla="*/ 1555 h 2884"/>
                <a:gd name="T52" fmla="*/ 332 w 3040"/>
                <a:gd name="T53" fmla="*/ 1523 h 2884"/>
                <a:gd name="T54" fmla="*/ 409 w 3040"/>
                <a:gd name="T55" fmla="*/ 1508 h 2884"/>
                <a:gd name="T56" fmla="*/ 444 w 3040"/>
                <a:gd name="T57" fmla="*/ 1507 h 2884"/>
                <a:gd name="T58" fmla="*/ 476 w 3040"/>
                <a:gd name="T59" fmla="*/ 1513 h 2884"/>
                <a:gd name="T60" fmla="*/ 543 w 3040"/>
                <a:gd name="T61" fmla="*/ 1551 h 2884"/>
                <a:gd name="T62" fmla="*/ 612 w 3040"/>
                <a:gd name="T63" fmla="*/ 1621 h 2884"/>
                <a:gd name="T64" fmla="*/ 683 w 3040"/>
                <a:gd name="T65" fmla="*/ 1723 h 2884"/>
                <a:gd name="T66" fmla="*/ 757 w 3040"/>
                <a:gd name="T67" fmla="*/ 1858 h 2884"/>
                <a:gd name="T68" fmla="*/ 877 w 3040"/>
                <a:gd name="T69" fmla="*/ 2117 h 2884"/>
                <a:gd name="T70" fmla="*/ 973 w 3040"/>
                <a:gd name="T71" fmla="*/ 1963 h 2884"/>
                <a:gd name="T72" fmla="*/ 1129 w 3040"/>
                <a:gd name="T73" fmla="*/ 1731 h 2884"/>
                <a:gd name="T74" fmla="*/ 1299 w 3040"/>
                <a:gd name="T75" fmla="*/ 1503 h 2884"/>
                <a:gd name="T76" fmla="*/ 1485 w 3040"/>
                <a:gd name="T77" fmla="*/ 1277 h 2884"/>
                <a:gd name="T78" fmla="*/ 1685 w 3040"/>
                <a:gd name="T79" fmla="*/ 1052 h 2884"/>
                <a:gd name="T80" fmla="*/ 1828 w 3040"/>
                <a:gd name="T81" fmla="*/ 904 h 2884"/>
                <a:gd name="T82" fmla="*/ 2045 w 3040"/>
                <a:gd name="T83" fmla="*/ 693 h 2884"/>
                <a:gd name="T84" fmla="*/ 2260 w 3040"/>
                <a:gd name="T85" fmla="*/ 502 h 2884"/>
                <a:gd name="T86" fmla="*/ 2474 w 3040"/>
                <a:gd name="T87" fmla="*/ 328 h 2884"/>
                <a:gd name="T88" fmla="*/ 2685 w 3040"/>
                <a:gd name="T89" fmla="*/ 175 h 2884"/>
                <a:gd name="T90" fmla="*/ 2893 w 3040"/>
                <a:gd name="T91" fmla="*/ 4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0" h="2884">
                  <a:moveTo>
                    <a:pt x="2963" y="0"/>
                  </a:moveTo>
                  <a:lnTo>
                    <a:pt x="3040" y="109"/>
                  </a:lnTo>
                  <a:lnTo>
                    <a:pt x="3040" y="109"/>
                  </a:lnTo>
                  <a:lnTo>
                    <a:pt x="2981" y="155"/>
                  </a:lnTo>
                  <a:lnTo>
                    <a:pt x="2922" y="203"/>
                  </a:lnTo>
                  <a:lnTo>
                    <a:pt x="2860" y="256"/>
                  </a:lnTo>
                  <a:lnTo>
                    <a:pt x="2799" y="309"/>
                  </a:lnTo>
                  <a:lnTo>
                    <a:pt x="2736" y="367"/>
                  </a:lnTo>
                  <a:lnTo>
                    <a:pt x="2673" y="428"/>
                  </a:lnTo>
                  <a:lnTo>
                    <a:pt x="2610" y="491"/>
                  </a:lnTo>
                  <a:lnTo>
                    <a:pt x="2545" y="557"/>
                  </a:lnTo>
                  <a:lnTo>
                    <a:pt x="2479" y="627"/>
                  </a:lnTo>
                  <a:lnTo>
                    <a:pt x="2413" y="699"/>
                  </a:lnTo>
                  <a:lnTo>
                    <a:pt x="2346" y="775"/>
                  </a:lnTo>
                  <a:lnTo>
                    <a:pt x="2277" y="853"/>
                  </a:lnTo>
                  <a:lnTo>
                    <a:pt x="2209" y="934"/>
                  </a:lnTo>
                  <a:lnTo>
                    <a:pt x="2139" y="1018"/>
                  </a:lnTo>
                  <a:lnTo>
                    <a:pt x="2067" y="1106"/>
                  </a:lnTo>
                  <a:lnTo>
                    <a:pt x="1996" y="1196"/>
                  </a:lnTo>
                  <a:lnTo>
                    <a:pt x="1996" y="1196"/>
                  </a:lnTo>
                  <a:lnTo>
                    <a:pt x="1926" y="1287"/>
                  </a:lnTo>
                  <a:lnTo>
                    <a:pt x="1858" y="1377"/>
                  </a:lnTo>
                  <a:lnTo>
                    <a:pt x="1790" y="1468"/>
                  </a:lnTo>
                  <a:lnTo>
                    <a:pt x="1727" y="1556"/>
                  </a:lnTo>
                  <a:lnTo>
                    <a:pt x="1664" y="1645"/>
                  </a:lnTo>
                  <a:lnTo>
                    <a:pt x="1605" y="1733"/>
                  </a:lnTo>
                  <a:lnTo>
                    <a:pt x="1546" y="1819"/>
                  </a:lnTo>
                  <a:lnTo>
                    <a:pt x="1490" y="1905"/>
                  </a:lnTo>
                  <a:lnTo>
                    <a:pt x="1437" y="1991"/>
                  </a:lnTo>
                  <a:lnTo>
                    <a:pt x="1385" y="2076"/>
                  </a:lnTo>
                  <a:lnTo>
                    <a:pt x="1336" y="2159"/>
                  </a:lnTo>
                  <a:lnTo>
                    <a:pt x="1289" y="2242"/>
                  </a:lnTo>
                  <a:lnTo>
                    <a:pt x="1243" y="2324"/>
                  </a:lnTo>
                  <a:lnTo>
                    <a:pt x="1200" y="2405"/>
                  </a:lnTo>
                  <a:lnTo>
                    <a:pt x="1160" y="2486"/>
                  </a:lnTo>
                  <a:lnTo>
                    <a:pt x="1120" y="2567"/>
                  </a:lnTo>
                  <a:lnTo>
                    <a:pt x="958" y="2676"/>
                  </a:lnTo>
                  <a:lnTo>
                    <a:pt x="958" y="2676"/>
                  </a:lnTo>
                  <a:lnTo>
                    <a:pt x="865" y="2741"/>
                  </a:lnTo>
                  <a:lnTo>
                    <a:pt x="788" y="2798"/>
                  </a:lnTo>
                  <a:lnTo>
                    <a:pt x="728" y="2845"/>
                  </a:lnTo>
                  <a:lnTo>
                    <a:pt x="704" y="2867"/>
                  </a:lnTo>
                  <a:lnTo>
                    <a:pt x="683" y="2884"/>
                  </a:lnTo>
                  <a:lnTo>
                    <a:pt x="683" y="2884"/>
                  </a:lnTo>
                  <a:lnTo>
                    <a:pt x="675" y="2856"/>
                  </a:lnTo>
                  <a:lnTo>
                    <a:pt x="666" y="2825"/>
                  </a:lnTo>
                  <a:lnTo>
                    <a:pt x="639" y="2748"/>
                  </a:lnTo>
                  <a:lnTo>
                    <a:pt x="603" y="2655"/>
                  </a:lnTo>
                  <a:lnTo>
                    <a:pt x="560" y="2546"/>
                  </a:lnTo>
                  <a:lnTo>
                    <a:pt x="498" y="2404"/>
                  </a:lnTo>
                  <a:lnTo>
                    <a:pt x="498" y="2404"/>
                  </a:lnTo>
                  <a:lnTo>
                    <a:pt x="465" y="2330"/>
                  </a:lnTo>
                  <a:lnTo>
                    <a:pt x="433" y="2261"/>
                  </a:lnTo>
                  <a:lnTo>
                    <a:pt x="401" y="2197"/>
                  </a:lnTo>
                  <a:lnTo>
                    <a:pt x="371" y="2137"/>
                  </a:lnTo>
                  <a:lnTo>
                    <a:pt x="340" y="2084"/>
                  </a:lnTo>
                  <a:lnTo>
                    <a:pt x="311" y="2034"/>
                  </a:lnTo>
                  <a:lnTo>
                    <a:pt x="281" y="1991"/>
                  </a:lnTo>
                  <a:lnTo>
                    <a:pt x="253" y="1950"/>
                  </a:lnTo>
                  <a:lnTo>
                    <a:pt x="253" y="1950"/>
                  </a:lnTo>
                  <a:lnTo>
                    <a:pt x="225" y="1915"/>
                  </a:lnTo>
                  <a:lnTo>
                    <a:pt x="195" y="1885"/>
                  </a:lnTo>
                  <a:lnTo>
                    <a:pt x="164" y="1855"/>
                  </a:lnTo>
                  <a:lnTo>
                    <a:pt x="133" y="1829"/>
                  </a:lnTo>
                  <a:lnTo>
                    <a:pt x="101" y="1807"/>
                  </a:lnTo>
                  <a:lnTo>
                    <a:pt x="69" y="1786"/>
                  </a:lnTo>
                  <a:lnTo>
                    <a:pt x="35" y="1770"/>
                  </a:lnTo>
                  <a:lnTo>
                    <a:pt x="0" y="1757"/>
                  </a:lnTo>
                  <a:lnTo>
                    <a:pt x="0" y="1757"/>
                  </a:lnTo>
                  <a:lnTo>
                    <a:pt x="30" y="1726"/>
                  </a:lnTo>
                  <a:lnTo>
                    <a:pt x="59" y="1698"/>
                  </a:lnTo>
                  <a:lnTo>
                    <a:pt x="87" y="1672"/>
                  </a:lnTo>
                  <a:lnTo>
                    <a:pt x="116" y="1646"/>
                  </a:lnTo>
                  <a:lnTo>
                    <a:pt x="144" y="1625"/>
                  </a:lnTo>
                  <a:lnTo>
                    <a:pt x="172" y="1605"/>
                  </a:lnTo>
                  <a:lnTo>
                    <a:pt x="199" y="1586"/>
                  </a:lnTo>
                  <a:lnTo>
                    <a:pt x="227" y="1568"/>
                  </a:lnTo>
                  <a:lnTo>
                    <a:pt x="254" y="1555"/>
                  </a:lnTo>
                  <a:lnTo>
                    <a:pt x="281" y="1542"/>
                  </a:lnTo>
                  <a:lnTo>
                    <a:pt x="307" y="1531"/>
                  </a:lnTo>
                  <a:lnTo>
                    <a:pt x="332" y="1523"/>
                  </a:lnTo>
                  <a:lnTo>
                    <a:pt x="359" y="1516"/>
                  </a:lnTo>
                  <a:lnTo>
                    <a:pt x="385" y="1511"/>
                  </a:lnTo>
                  <a:lnTo>
                    <a:pt x="409" y="1508"/>
                  </a:lnTo>
                  <a:lnTo>
                    <a:pt x="434" y="1507"/>
                  </a:lnTo>
                  <a:lnTo>
                    <a:pt x="434" y="1507"/>
                  </a:lnTo>
                  <a:lnTo>
                    <a:pt x="444" y="1507"/>
                  </a:lnTo>
                  <a:lnTo>
                    <a:pt x="455" y="1508"/>
                  </a:lnTo>
                  <a:lnTo>
                    <a:pt x="465" y="1511"/>
                  </a:lnTo>
                  <a:lnTo>
                    <a:pt x="476" y="1513"/>
                  </a:lnTo>
                  <a:lnTo>
                    <a:pt x="499" y="1523"/>
                  </a:lnTo>
                  <a:lnTo>
                    <a:pt x="521" y="1535"/>
                  </a:lnTo>
                  <a:lnTo>
                    <a:pt x="543" y="1551"/>
                  </a:lnTo>
                  <a:lnTo>
                    <a:pt x="566" y="1571"/>
                  </a:lnTo>
                  <a:lnTo>
                    <a:pt x="589" y="1594"/>
                  </a:lnTo>
                  <a:lnTo>
                    <a:pt x="612" y="1621"/>
                  </a:lnTo>
                  <a:lnTo>
                    <a:pt x="636" y="1652"/>
                  </a:lnTo>
                  <a:lnTo>
                    <a:pt x="659" y="1685"/>
                  </a:lnTo>
                  <a:lnTo>
                    <a:pt x="683" y="1723"/>
                  </a:lnTo>
                  <a:lnTo>
                    <a:pt x="708" y="1763"/>
                  </a:lnTo>
                  <a:lnTo>
                    <a:pt x="733" y="1809"/>
                  </a:lnTo>
                  <a:lnTo>
                    <a:pt x="757" y="1858"/>
                  </a:lnTo>
                  <a:lnTo>
                    <a:pt x="783" y="1909"/>
                  </a:lnTo>
                  <a:lnTo>
                    <a:pt x="808" y="1964"/>
                  </a:lnTo>
                  <a:lnTo>
                    <a:pt x="877" y="2117"/>
                  </a:lnTo>
                  <a:lnTo>
                    <a:pt x="877" y="2117"/>
                  </a:lnTo>
                  <a:lnTo>
                    <a:pt x="924" y="2039"/>
                  </a:lnTo>
                  <a:lnTo>
                    <a:pt x="973" y="1963"/>
                  </a:lnTo>
                  <a:lnTo>
                    <a:pt x="1024" y="1885"/>
                  </a:lnTo>
                  <a:lnTo>
                    <a:pt x="1075" y="1808"/>
                  </a:lnTo>
                  <a:lnTo>
                    <a:pt x="1129" y="1731"/>
                  </a:lnTo>
                  <a:lnTo>
                    <a:pt x="1184" y="1655"/>
                  </a:lnTo>
                  <a:lnTo>
                    <a:pt x="1242" y="1578"/>
                  </a:lnTo>
                  <a:lnTo>
                    <a:pt x="1299" y="1503"/>
                  </a:lnTo>
                  <a:lnTo>
                    <a:pt x="1360" y="1427"/>
                  </a:lnTo>
                  <a:lnTo>
                    <a:pt x="1422" y="1351"/>
                  </a:lnTo>
                  <a:lnTo>
                    <a:pt x="1485" y="1277"/>
                  </a:lnTo>
                  <a:lnTo>
                    <a:pt x="1551" y="1201"/>
                  </a:lnTo>
                  <a:lnTo>
                    <a:pt x="1618" y="1127"/>
                  </a:lnTo>
                  <a:lnTo>
                    <a:pt x="1685" y="1052"/>
                  </a:lnTo>
                  <a:lnTo>
                    <a:pt x="1757" y="978"/>
                  </a:lnTo>
                  <a:lnTo>
                    <a:pt x="1828" y="904"/>
                  </a:lnTo>
                  <a:lnTo>
                    <a:pt x="1828" y="904"/>
                  </a:lnTo>
                  <a:lnTo>
                    <a:pt x="1901" y="831"/>
                  </a:lnTo>
                  <a:lnTo>
                    <a:pt x="1973" y="761"/>
                  </a:lnTo>
                  <a:lnTo>
                    <a:pt x="2045" y="693"/>
                  </a:lnTo>
                  <a:lnTo>
                    <a:pt x="2117" y="627"/>
                  </a:lnTo>
                  <a:lnTo>
                    <a:pt x="2189" y="564"/>
                  </a:lnTo>
                  <a:lnTo>
                    <a:pt x="2260" y="502"/>
                  </a:lnTo>
                  <a:lnTo>
                    <a:pt x="2331" y="441"/>
                  </a:lnTo>
                  <a:lnTo>
                    <a:pt x="2402" y="383"/>
                  </a:lnTo>
                  <a:lnTo>
                    <a:pt x="2474" y="328"/>
                  </a:lnTo>
                  <a:lnTo>
                    <a:pt x="2544" y="274"/>
                  </a:lnTo>
                  <a:lnTo>
                    <a:pt x="2614" y="223"/>
                  </a:lnTo>
                  <a:lnTo>
                    <a:pt x="2685" y="175"/>
                  </a:lnTo>
                  <a:lnTo>
                    <a:pt x="2755" y="128"/>
                  </a:lnTo>
                  <a:lnTo>
                    <a:pt x="2825" y="83"/>
                  </a:lnTo>
                  <a:lnTo>
                    <a:pt x="2893" y="40"/>
                  </a:lnTo>
                  <a:lnTo>
                    <a:pt x="2963" y="0"/>
                  </a:lnTo>
                  <a:lnTo>
                    <a:pt x="2963" y="0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ffectLst/>
            <a:extLst/>
          </p:spPr>
          <p:txBody>
            <a:bodyPr vert="horz" wrap="square" lIns="95191" tIns="47596" rIns="95191" bIns="47596" numCol="1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 dirty="0">
                <a:solidFill>
                  <a:sysClr val="windowText" lastClr="000000"/>
                </a:solidFill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31" name="Group 230"/>
          <p:cNvGrpSpPr/>
          <p:nvPr/>
        </p:nvGrpSpPr>
        <p:grpSpPr>
          <a:xfrm>
            <a:off x="573495" y="5524928"/>
            <a:ext cx="4243503" cy="220387"/>
            <a:chOff x="188398" y="5451738"/>
            <a:chExt cx="4159026" cy="216000"/>
          </a:xfrm>
        </p:grpSpPr>
        <p:sp>
          <p:nvSpPr>
            <p:cNvPr id="69" name="Rectangle 7"/>
            <p:cNvSpPr txBox="1">
              <a:spLocks/>
            </p:cNvSpPr>
            <p:nvPr/>
          </p:nvSpPr>
          <p:spPr bwMode="gray">
            <a:xfrm>
              <a:off x="188398" y="5451738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non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 dirty="0"/>
                <a:t>11</a:t>
              </a:r>
            </a:p>
          </p:txBody>
        </p:sp>
        <p:sp>
          <p:nvSpPr>
            <p:cNvPr id="70" name="Rectangle 7"/>
            <p:cNvSpPr txBox="1">
              <a:spLocks/>
            </p:cNvSpPr>
            <p:nvPr/>
          </p:nvSpPr>
          <p:spPr bwMode="gray">
            <a:xfrm>
              <a:off x="453357" y="5467405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Renewable energy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215" name="Oval 214"/>
            <p:cNvSpPr>
              <a:spLocks/>
            </p:cNvSpPr>
            <p:nvPr/>
          </p:nvSpPr>
          <p:spPr bwMode="gray">
            <a:xfrm>
              <a:off x="4210264" y="5491158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grpSp>
        <p:nvGrpSpPr>
          <p:cNvPr id="224" name="Group 223"/>
          <p:cNvGrpSpPr/>
          <p:nvPr/>
        </p:nvGrpSpPr>
        <p:grpSpPr>
          <a:xfrm>
            <a:off x="573495" y="3693099"/>
            <a:ext cx="8429088" cy="220387"/>
            <a:chOff x="188398" y="3689216"/>
            <a:chExt cx="8261287" cy="216000"/>
          </a:xfrm>
        </p:grpSpPr>
        <p:sp>
          <p:nvSpPr>
            <p:cNvPr id="61" name="Rectangle 7"/>
            <p:cNvSpPr txBox="1">
              <a:spLocks/>
            </p:cNvSpPr>
            <p:nvPr/>
          </p:nvSpPr>
          <p:spPr bwMode="gray">
            <a:xfrm>
              <a:off x="188398" y="3689216"/>
              <a:ext cx="216000" cy="216000"/>
            </a:xfrm>
            <a:prstGeom prst="ellipse">
              <a:avLst/>
            </a:prstGeom>
            <a:gradFill flip="none" rotWithShape="1"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  <a:tileRect/>
            </a:gra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algn="ctr" defTabSz="877350">
                <a:buClr>
                  <a:srgbClr val="93A9B9"/>
                </a:buClr>
                <a:defRPr sz="1400" b="1">
                  <a:solidFill>
                    <a:srgbClr val="FFFFFF"/>
                  </a:solidFill>
                  <a:latin typeface="Arial"/>
                  <a:ea typeface="Arial Unicode MS" pitchFamily="34" charset="-128"/>
                  <a:cs typeface="Arial Unicode MS" pitchFamily="34" charset="-128"/>
                </a:defRPr>
              </a:lvl1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en-GB" sz="1224"/>
                <a:t>6</a:t>
              </a:r>
              <a:endParaRPr lang="en-GB" sz="1224" dirty="0"/>
            </a:p>
          </p:txBody>
        </p:sp>
        <p:sp>
          <p:nvSpPr>
            <p:cNvPr id="59" name="Rectangle 7"/>
            <p:cNvSpPr txBox="1">
              <a:spLocks/>
            </p:cNvSpPr>
            <p:nvPr/>
          </p:nvSpPr>
          <p:spPr bwMode="gray">
            <a:xfrm>
              <a:off x="453357" y="3704883"/>
              <a:ext cx="1864447" cy="188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r>
                <a:rPr lang="en-US" sz="1224" dirty="0">
                  <a:solidFill>
                    <a:srgbClr val="000000"/>
                  </a:solidFill>
                  <a:ea typeface="+mn-ea"/>
                  <a:cs typeface="+mn-cs"/>
                </a:rPr>
                <a:t>3D printing</a:t>
              </a:r>
              <a:endParaRPr lang="en-GB" sz="1224" dirty="0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sp>
          <p:nvSpPr>
            <p:cNvPr id="188" name="Oval 187"/>
            <p:cNvSpPr>
              <a:spLocks/>
            </p:cNvSpPr>
            <p:nvPr/>
          </p:nvSpPr>
          <p:spPr bwMode="gray">
            <a:xfrm>
              <a:off x="5149216" y="3728636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202" name="Oval 201"/>
            <p:cNvSpPr>
              <a:spLocks/>
            </p:cNvSpPr>
            <p:nvPr/>
          </p:nvSpPr>
          <p:spPr bwMode="gray">
            <a:xfrm>
              <a:off x="8312525" y="3728636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224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  <p:sp>
          <p:nvSpPr>
            <p:cNvPr id="120" name="Oval 119"/>
            <p:cNvSpPr>
              <a:spLocks/>
            </p:cNvSpPr>
            <p:nvPr/>
          </p:nvSpPr>
          <p:spPr bwMode="gray">
            <a:xfrm>
              <a:off x="6232250" y="3728636"/>
              <a:ext cx="137160" cy="137160"/>
            </a:xfrm>
            <a:prstGeom prst="ellipse">
              <a:avLst/>
            </a:prstGeom>
            <a:solidFill>
              <a:schemeClr val="accent4"/>
            </a:solidFill>
            <a:ln w="3175" cap="flat" cmpd="sng" algn="ctr">
              <a:noFill/>
              <a:prstDash val="solid"/>
              <a:miter lim="800000"/>
              <a:headEnd type="none" w="sm" len="sm"/>
              <a:tailEnd type="triangle" w="med" len="med"/>
            </a:ln>
            <a:effectLst/>
          </p:spPr>
          <p:txBody>
            <a:bodyPr vert="horz" wrap="none" lIns="93297" tIns="46649" rIns="93297" bIns="46649" numCol="1" rtlCol="0" anchor="t" anchorCtr="0" compatLnSpc="1">
              <a:prstTxWarp prst="textNoShape">
                <a:avLst/>
              </a:prstTxWarp>
            </a:bodyPr>
            <a:lstStyle/>
            <a:p>
              <a:pPr defTabSz="914400" fontAlgn="auto">
                <a:spcBef>
                  <a:spcPts val="0"/>
                </a:spcBef>
                <a:spcAft>
                  <a:spcPts val="0"/>
                </a:spcAft>
              </a:pPr>
              <a:endParaRPr lang="en-US" sz="1326" kern="0">
                <a:solidFill>
                  <a:srgbClr val="000000"/>
                </a:solidFill>
                <a:latin typeface="Arial" pitchFamily="-110" charset="0"/>
                <a:ea typeface="+mn-ea"/>
                <a:cs typeface="+mn-cs"/>
              </a:endParaRPr>
            </a:p>
          </p:txBody>
        </p:sp>
      </p:grpSp>
      <p:cxnSp>
        <p:nvCxnSpPr>
          <p:cNvPr id="153" name="Straight Connector 152"/>
          <p:cNvCxnSpPr>
            <a:cxnSpLocks/>
          </p:cNvCxnSpPr>
          <p:nvPr/>
        </p:nvCxnSpPr>
        <p:spPr>
          <a:xfrm>
            <a:off x="381271" y="6491326"/>
            <a:ext cx="914346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5" name="Group 234"/>
          <p:cNvGrpSpPr/>
          <p:nvPr/>
        </p:nvGrpSpPr>
        <p:grpSpPr>
          <a:xfrm>
            <a:off x="3279523" y="912296"/>
            <a:ext cx="513135" cy="513135"/>
            <a:chOff x="1455706" y="791312"/>
            <a:chExt cx="502920" cy="502920"/>
          </a:xfrm>
        </p:grpSpPr>
        <p:sp>
          <p:nvSpPr>
            <p:cNvPr id="171" name="Oval 18"/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455706" y="791312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15" name="Picture 71" descr="http://www.iconpng.com/png/mono-business/company-building.png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BEBA8EAE-BF5A-486C-A8C5-ECC9F3942E4B}">
                  <a14:imgProps xmlns:a14="http://schemas.microsoft.com/office/drawing/2010/main">
                    <a14:imgLayer r:embed="rId17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14920" y="850526"/>
              <a:ext cx="384492" cy="3844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7" name="Group 236"/>
          <p:cNvGrpSpPr/>
          <p:nvPr/>
        </p:nvGrpSpPr>
        <p:grpSpPr>
          <a:xfrm>
            <a:off x="4489312" y="912296"/>
            <a:ext cx="513135" cy="513135"/>
            <a:chOff x="2042319" y="617537"/>
            <a:chExt cx="502920" cy="502920"/>
          </a:xfrm>
        </p:grpSpPr>
        <p:sp>
          <p:nvSpPr>
            <p:cNvPr id="185" name="Oval 18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2042319" y="617537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17" name="Picture 73" descr="https://cdn2.iconfinder.com/data/icons/windows-8-metro-style/512/wheat.png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91373" y="666591"/>
              <a:ext cx="404813" cy="40481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9" name="Group 238"/>
          <p:cNvGrpSpPr/>
          <p:nvPr/>
        </p:nvGrpSpPr>
        <p:grpSpPr>
          <a:xfrm>
            <a:off x="5447336" y="912296"/>
            <a:ext cx="513135" cy="513135"/>
            <a:chOff x="3266439" y="617537"/>
            <a:chExt cx="502920" cy="502920"/>
          </a:xfrm>
        </p:grpSpPr>
        <p:sp>
          <p:nvSpPr>
            <p:cNvPr id="200" name="Oval 18"/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3266439" y="617537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20" name="Picture 76" descr="https://cdn0.iconfinder.com/data/icons/typicons-2/24/shopping-cart-128.png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BEBA8EAE-BF5A-486C-A8C5-ECC9F3942E4B}">
                  <a14:imgProps xmlns:a14="http://schemas.microsoft.com/office/drawing/2010/main">
                    <a14:imgLayer r:embed="rId21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89696" y="640794"/>
              <a:ext cx="456406" cy="4564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2" name="Group 241"/>
          <p:cNvGrpSpPr/>
          <p:nvPr/>
        </p:nvGrpSpPr>
        <p:grpSpPr>
          <a:xfrm>
            <a:off x="6552368" y="912296"/>
            <a:ext cx="513135" cy="513135"/>
            <a:chOff x="5290344" y="573087"/>
            <a:chExt cx="502920" cy="502920"/>
          </a:xfrm>
        </p:grpSpPr>
        <p:sp>
          <p:nvSpPr>
            <p:cNvPr id="206" name="Oval 18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290344" y="573087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22" name="Picture 78" descr="http://simpleicon.com/wp-content/uploads/factory-1.png"/>
            <p:cNvPicPr>
              <a:picLocks noChangeAspect="1" noChangeArrowheads="1"/>
            </p:cNvPicPr>
            <p:nvPr/>
          </p:nvPicPr>
          <p:blipFill>
            <a:blip r:embed="rId22" cstate="print">
              <a:extLst>
                <a:ext uri="{BEBA8EAE-BF5A-486C-A8C5-ECC9F3942E4B}">
                  <a14:imgProps xmlns:a14="http://schemas.microsoft.com/office/drawing/2010/main">
                    <a14:imgLayer r:embed="rId23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54082" y="636825"/>
              <a:ext cx="375444" cy="3754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4" name="Group 243"/>
          <p:cNvGrpSpPr/>
          <p:nvPr/>
        </p:nvGrpSpPr>
        <p:grpSpPr>
          <a:xfrm>
            <a:off x="7696542" y="912296"/>
            <a:ext cx="513135" cy="513135"/>
            <a:chOff x="1985169" y="774699"/>
            <a:chExt cx="502920" cy="502920"/>
          </a:xfrm>
        </p:grpSpPr>
        <p:sp>
          <p:nvSpPr>
            <p:cNvPr id="189" name="Oval 1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985169" y="774699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25" name="Picture 81" descr="https://cdn2.iconfinder.com/data/icons/windows-8-metro-style/512/money_bag.png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BEBA8EAE-BF5A-486C-A8C5-ECC9F3942E4B}">
                  <a14:imgProps xmlns:a14="http://schemas.microsoft.com/office/drawing/2010/main">
                    <a14:imgLayer r:embed="rId25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44542" y="834072"/>
              <a:ext cx="384175" cy="3841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46" name="Group 245"/>
          <p:cNvGrpSpPr/>
          <p:nvPr/>
        </p:nvGrpSpPr>
        <p:grpSpPr>
          <a:xfrm>
            <a:off x="8674897" y="912296"/>
            <a:ext cx="513135" cy="513135"/>
            <a:chOff x="1356519" y="769937"/>
            <a:chExt cx="502920" cy="502920"/>
          </a:xfrm>
        </p:grpSpPr>
        <p:sp>
          <p:nvSpPr>
            <p:cNvPr id="192" name="Oval 18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356519" y="769937"/>
              <a:ext cx="502920" cy="502920"/>
            </a:xfrm>
            <a:prstGeom prst="roundRect">
              <a:avLst/>
            </a:prstGeom>
            <a:gradFill>
              <a:gsLst>
                <a:gs pos="100000">
                  <a:schemeClr val="accent3">
                    <a:lumMod val="75000"/>
                  </a:schemeClr>
                </a:gs>
                <a:gs pos="0">
                  <a:schemeClr val="accent3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>
              <a:noAutofit/>
            </a:bodyPr>
            <a:lstStyle>
              <a:lvl1pPr defTabSz="895350">
                <a:buClr>
                  <a:schemeClr val="tx2"/>
                </a:buClr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193675" indent="-192088" defTabSz="895350">
                <a:buClr>
                  <a:schemeClr val="tx2"/>
                </a:buClr>
                <a:buSzPct val="125000"/>
                <a:buFont typeface="Arial" charset="0"/>
                <a:buChar char="▪"/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457200" indent="-261938" defTabSz="895350">
                <a:buClr>
                  <a:schemeClr val="tx2"/>
                </a:buClr>
                <a:buSzPct val="120000"/>
                <a:buFont typeface="Arial" charset="0"/>
                <a:buChar char="–"/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614363" indent="-155575" defTabSz="895350">
                <a:buClr>
                  <a:schemeClr val="tx2"/>
                </a:buClr>
                <a:buSzPct val="120000"/>
                <a:buFont typeface="Arial" charset="0"/>
                <a:buChar char="▫"/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746125" indent="-130175" defTabSz="895350"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</a:pPr>
              <a:endParaRPr lang="en-US" sz="1632">
                <a:solidFill>
                  <a:srgbClr val="000000"/>
                </a:solidFill>
                <a:ea typeface="+mn-ea"/>
                <a:cs typeface="+mn-cs"/>
              </a:endParaRPr>
            </a:p>
          </p:txBody>
        </p:sp>
        <p:pic>
          <p:nvPicPr>
            <p:cNvPr id="595027" name="Picture 83" descr="https://cdn2.iconfinder.com/data/icons/windows-8-metro-style/128/doctor_suitecase.png"/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BEBA8EAE-BF5A-486C-A8C5-ECC9F3942E4B}">
                  <a14:imgProps xmlns:a14="http://schemas.microsoft.com/office/drawing/2010/main">
                    <a14:imgLayer r:embed="rId27">
                      <a14:imgEffect>
                        <a14:brightnessContrast bright="100000" contras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5256" y="818673"/>
              <a:ext cx="405447" cy="405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custDataLst>
      <p:tags r:id="rId2"/>
    </p:custDataLst>
    <p:extLst>
      <p:ext uri="{BB962C8B-B14F-4D97-AF65-F5344CB8AC3E}">
        <p14:creationId xmlns:p14="http://schemas.microsoft.com/office/powerpoint/2010/main" val="38045992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8" name="think-cell Slide" r:id="rId29" imgW="270" imgH="270" progId="TCLayout.ActiveDocument.1">
                  <p:embed/>
                </p:oleObj>
              </mc:Choice>
              <mc:Fallback>
                <p:oleObj name="think-cell Slide" r:id="rId2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 hidden="1"/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 fontAlgn="auto"/>
            <a:endParaRPr lang="en-US" sz="1224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502752" y="234865"/>
            <a:ext cx="8793595" cy="59665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Millions of non-farm jobs could be affected by new technologies, </a:t>
            </a:r>
            <a:br>
              <a:rPr lang="en-US" dirty="0"/>
            </a:br>
            <a:r>
              <a:rPr lang="en-US" dirty="0"/>
              <a:t>implying a need for new employment opportunities and training</a:t>
            </a:r>
          </a:p>
        </p:txBody>
      </p:sp>
      <p:sp>
        <p:nvSpPr>
          <p:cNvPr id="5" name="McK 3. Unit of measure"/>
          <p:cNvSpPr txBox="1">
            <a:spLocks noChangeArrowheads="1"/>
          </p:cNvSpPr>
          <p:nvPr/>
        </p:nvSpPr>
        <p:spPr bwMode="auto">
          <a:xfrm>
            <a:off x="502751" y="845308"/>
            <a:ext cx="8793595" cy="5768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baseline="0">
                <a:solidFill>
                  <a:srgbClr val="808080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37" b="1" dirty="0">
                <a:ea typeface="+mn-ea"/>
                <a:cs typeface="+mn-cs"/>
              </a:rPr>
              <a:t>Non-farm jobs potentially impacted by technology in ASEAN, 2030</a:t>
            </a:r>
            <a:endParaRPr lang="en-US" sz="1837" baseline="30000" dirty="0">
              <a:ea typeface="+mn-ea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1837" dirty="0">
                <a:ea typeface="+mn-ea"/>
                <a:cs typeface="+mn-cs"/>
              </a:rPr>
              <a:t>Million</a:t>
            </a:r>
          </a:p>
        </p:txBody>
      </p:sp>
      <p:cxnSp>
        <p:nvCxnSpPr>
          <p:cNvPr id="11" name="Straight Connector 10"/>
          <p:cNvCxnSpPr/>
          <p:nvPr>
            <p:custDataLst>
              <p:tags r:id="rId4"/>
            </p:custDataLst>
          </p:nvPr>
        </p:nvCxnSpPr>
        <p:spPr bwMode="auto">
          <a:xfrm>
            <a:off x="6529388" y="3413125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>
            <p:custDataLst>
              <p:tags r:id="rId5"/>
            </p:custDataLst>
          </p:nvPr>
        </p:nvCxnSpPr>
        <p:spPr bwMode="auto">
          <a:xfrm>
            <a:off x="5287963" y="3184525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auto">
          <a:xfrm>
            <a:off x="7764463" y="3413125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7"/>
            </p:custDataLst>
          </p:nvPr>
        </p:nvCxnSpPr>
        <p:spPr bwMode="auto">
          <a:xfrm>
            <a:off x="2811463" y="2049463"/>
            <a:ext cx="5303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8"/>
            </p:custDataLst>
          </p:nvPr>
        </p:nvCxnSpPr>
        <p:spPr bwMode="auto">
          <a:xfrm>
            <a:off x="4052888" y="3116263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9"/>
            </p:custDataLst>
          </p:nvPr>
        </p:nvCxnSpPr>
        <p:spPr bwMode="auto">
          <a:xfrm>
            <a:off x="1576388" y="2049463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>
            <p:custDataLst>
              <p:tags r:id="rId10"/>
            </p:custDataLst>
          </p:nvPr>
        </p:nvCxnSpPr>
        <p:spPr bwMode="auto">
          <a:xfrm>
            <a:off x="2811463" y="2795588"/>
            <a:ext cx="350838" cy="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Object 14"/>
          <p:cNvGraphicFramePr>
            <a:graphicFrameLocks/>
          </p:cNvGraphicFramePr>
          <p:nvPr>
            <p:custDataLst>
              <p:tags r:id="rId11"/>
            </p:custDataLst>
            <p:extLst/>
          </p:nvPr>
        </p:nvGraphicFramePr>
        <p:xfrm>
          <a:off x="380999" y="1905000"/>
          <a:ext cx="8900124" cy="4046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9" name="Chart" r:id="rId31" imgW="8896288" imgH="4048110" progId="MSGraph.Chart.8">
                  <p:embed followColorScheme="full"/>
                </p:oleObj>
              </mc:Choice>
              <mc:Fallback>
                <p:oleObj name="Chart" r:id="rId31" imgW="8896288" imgH="404811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380999" y="1905000"/>
                        <a:ext cx="8900124" cy="404632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 useBgFill="1">
        <p:nvSpPr>
          <p:cNvPr id="17" name="Freeform: Shape 16">
            <a:extLst>
              <a:ext uri="{FF2B5EF4-FFF2-40B4-BE49-F238E27FC236}">
                <a16:creationId xmlns:a16="http://schemas.microsoft.com/office/drawing/2014/main" id="{BB2B500D-0E9D-414A-8777-D71F7ADD0CEF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6854826" y="4589463"/>
            <a:ext cx="933451" cy="79376"/>
          </a:xfrm>
          <a:custGeom>
            <a:avLst/>
            <a:gdLst/>
            <a:ahLst/>
            <a:cxnLst/>
            <a:rect l="0" t="0" r="0" b="0"/>
            <a:pathLst>
              <a:path w="9334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33450" y="6350"/>
                </a:lnTo>
                <a:lnTo>
                  <a:pt x="933450" y="6350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GB" dirty="0" err="1">
              <a:solidFill>
                <a:srgbClr val="000000"/>
              </a:solidFill>
            </a:endParaRPr>
          </a:p>
        </p:txBody>
      </p:sp>
      <p:sp useBgFill="1">
        <p:nvSpPr>
          <p:cNvPr id="16" name="Freeform: Shape 15">
            <a:extLst>
              <a:ext uri="{FF2B5EF4-FFF2-40B4-BE49-F238E27FC236}">
                <a16:creationId xmlns:a16="http://schemas.microsoft.com/office/drawing/2014/main" id="{9BBC716A-B43D-4252-A1E0-807F2017CE68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655639" y="4589463"/>
            <a:ext cx="933451" cy="79376"/>
          </a:xfrm>
          <a:custGeom>
            <a:avLst/>
            <a:gdLst/>
            <a:ahLst/>
            <a:cxnLst/>
            <a:rect l="0" t="0" r="0" b="0"/>
            <a:pathLst>
              <a:path w="933451" h="79376">
                <a:moveTo>
                  <a:pt x="0" y="22225"/>
                </a:moveTo>
                <a:lnTo>
                  <a:pt x="82550" y="0"/>
                </a:lnTo>
                <a:lnTo>
                  <a:pt x="165100" y="22225"/>
                </a:lnTo>
                <a:lnTo>
                  <a:pt x="247650" y="0"/>
                </a:lnTo>
                <a:lnTo>
                  <a:pt x="330200" y="22225"/>
                </a:lnTo>
                <a:lnTo>
                  <a:pt x="412750" y="0"/>
                </a:lnTo>
                <a:lnTo>
                  <a:pt x="495300" y="22225"/>
                </a:lnTo>
                <a:lnTo>
                  <a:pt x="577850" y="0"/>
                </a:lnTo>
                <a:lnTo>
                  <a:pt x="660400" y="22225"/>
                </a:lnTo>
                <a:lnTo>
                  <a:pt x="742950" y="0"/>
                </a:lnTo>
                <a:lnTo>
                  <a:pt x="825500" y="22225"/>
                </a:lnTo>
                <a:lnTo>
                  <a:pt x="908050" y="0"/>
                </a:lnTo>
                <a:lnTo>
                  <a:pt x="933450" y="6350"/>
                </a:lnTo>
                <a:lnTo>
                  <a:pt x="933450" y="63500"/>
                </a:lnTo>
                <a:lnTo>
                  <a:pt x="908050" y="57150"/>
                </a:lnTo>
                <a:lnTo>
                  <a:pt x="825500" y="79375"/>
                </a:lnTo>
                <a:lnTo>
                  <a:pt x="742950" y="57150"/>
                </a:lnTo>
                <a:lnTo>
                  <a:pt x="660400" y="79375"/>
                </a:lnTo>
                <a:lnTo>
                  <a:pt x="577850" y="57150"/>
                </a:lnTo>
                <a:lnTo>
                  <a:pt x="495300" y="79375"/>
                </a:lnTo>
                <a:lnTo>
                  <a:pt x="412750" y="57150"/>
                </a:lnTo>
                <a:lnTo>
                  <a:pt x="330200" y="79375"/>
                </a:lnTo>
                <a:lnTo>
                  <a:pt x="247650" y="57150"/>
                </a:lnTo>
                <a:lnTo>
                  <a:pt x="165100" y="79375"/>
                </a:lnTo>
                <a:lnTo>
                  <a:pt x="82550" y="57150"/>
                </a:lnTo>
                <a:lnTo>
                  <a:pt x="0" y="79375"/>
                </a:lnTo>
                <a:close/>
              </a:path>
            </a:pathLst>
          </a:cu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GB" dirty="0" err="1">
              <a:solidFill>
                <a:srgbClr val="000000"/>
              </a:solidFill>
            </a:endParaRPr>
          </a:p>
        </p:txBody>
      </p:sp>
      <p:sp>
        <p:nvSpPr>
          <p:cNvPr id="27" name="Text Placeholder 193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954214" y="5932488"/>
            <a:ext cx="830263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C2E40876-4573-412A-9E0C-F65271001357}" type="datetime'''''Kn''''ow''l''e''dge-b''a''''''s''''e''d j''''''obs''''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Knowledge-based jobs</a:t>
            </a:fld>
            <a:r>
              <a:rPr lang="en-US" sz="1224" baseline="30000" dirty="0">
                <a:solidFill>
                  <a:srgbClr val="000000"/>
                </a:solidFill>
              </a:rPr>
              <a:t>3</a:t>
            </a:r>
            <a:endParaRPr lang="en-US" sz="1224" baseline="300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1" name="Text Placeholder 216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217739" y="2328864"/>
            <a:ext cx="301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7–9</a:t>
            </a:r>
          </a:p>
        </p:txBody>
      </p:sp>
      <p:sp>
        <p:nvSpPr>
          <p:cNvPr id="28" name="Text Placeholder 19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620714" y="5932489"/>
            <a:ext cx="1020439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E60E2252-D653-4FC8-8F48-0B80933D0903}" type="datetime'Bas''''eline &#10;n''o''''n''-farm ''''''labor'' ''force, 20''30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Baseline 
non-farm labor force, 2030</a:t>
            </a:fld>
            <a:endParaRPr lang="en-US" sz="1224" baseline="30000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30" name="Text Placeholder 211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979489" y="1836739"/>
            <a:ext cx="301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dirty="0">
                <a:solidFill>
                  <a:srgbClr val="000000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212</a:t>
            </a:r>
          </a:p>
        </p:txBody>
      </p:sp>
      <p:sp>
        <p:nvSpPr>
          <p:cNvPr id="25" name="Text Placeholder 22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8323264" y="2636839"/>
            <a:ext cx="47307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12–17</a:t>
            </a:r>
          </a:p>
        </p:txBody>
      </p:sp>
      <p:sp>
        <p:nvSpPr>
          <p:cNvPr id="19" name="Text Placeholder 201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6797675" y="5932489"/>
            <a:ext cx="1047750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1894DB2E-D2AB-4294-B210-2989AA1A2B27}" type="datetime'Non-farm labor'' f''orce with ''''12'' t''echn''o''lo''''gies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Non-farm labor force with 12 technologies</a:t>
            </a:fld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6" name="Text Placeholder 212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7170739" y="3200401"/>
            <a:ext cx="301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dirty="0">
                <a:solidFill>
                  <a:srgbClr val="000000"/>
                </a:solidFill>
              </a:rPr>
              <a:t>200</a:t>
            </a:r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0" name="Text Placeholder 199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568951" y="5932488"/>
            <a:ext cx="1028539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65E72D60-02CD-45C8-B32B-79D1458C77C2}" type="datetime'''T''rad''''''e a''nd h''ospit''''al''''it''''''y j''''o''bs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Trade and hospitality jobs</a:t>
            </a:fld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" name="Text Placeholder 219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5932489" y="3205164"/>
            <a:ext cx="301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2–3</a:t>
            </a:r>
          </a:p>
        </p:txBody>
      </p:sp>
      <p:sp>
        <p:nvSpPr>
          <p:cNvPr id="21" name="Text Placeholder 197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4403726" y="5932488"/>
            <a:ext cx="882761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02958C36-2DAA-47D4-B91A-608DB175A00C}" type="datetime'''''Con''''''''s''t''''ru''cti''on'''''''''''''' ''''&#10;job''s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Construction 
jobs</a:t>
            </a:fld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2" name="Text Placeholder 209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4630739" y="3055939"/>
            <a:ext cx="430213" cy="187325"/>
          </a:xfrm>
          <a:prstGeom prst="rect">
            <a:avLst/>
          </a:prstGeom>
          <a:solidFill>
            <a:schemeClr val="hlink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0.4–1</a:t>
            </a:r>
          </a:p>
        </p:txBody>
      </p:sp>
      <p:sp>
        <p:nvSpPr>
          <p:cNvPr id="23" name="Text Placeholder 194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3109914" y="5932488"/>
            <a:ext cx="994523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41712AA8-98DE-4968-AFAF-86A39DAFC7B3}" type="datetime'M''''''an''''u''''''''''''fa''ct''''u''r''i''ng'' j''obs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Manufacturing jobs</a:t>
            </a:fld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9" name="Text Placeholder 217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3455989" y="2862264"/>
            <a:ext cx="301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en-US" sz="1224" b="1" dirty="0">
                <a:solidFill>
                  <a:srgbClr val="FFFFFF"/>
                </a:solidFill>
                <a:ea typeface="ＭＳ Ｐゴシック" panose="020B0600070205080204" pitchFamily="34" charset="-128"/>
                <a:sym typeface="Arial" panose="020B0604020202020204" pitchFamily="34" charset="0"/>
              </a:rPr>
              <a:t>3–4</a:t>
            </a:r>
          </a:p>
        </p:txBody>
      </p:sp>
      <p:sp>
        <p:nvSpPr>
          <p:cNvPr id="18" name="Text Placeholder 20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7951789" y="5932489"/>
            <a:ext cx="1217613" cy="561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1450" indent="-169863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solidFill>
                  <a:schemeClr val="tx1"/>
                </a:solidFill>
                <a:latin typeface="+mn-lt"/>
              </a:defRPr>
            </a:lvl2pPr>
            <a:lvl3pPr marL="34290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solidFill>
                  <a:schemeClr val="tx1"/>
                </a:solidFill>
                <a:latin typeface="+mn-lt"/>
              </a:defRPr>
            </a:lvl3pPr>
            <a:lvl4pPr marL="514350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solidFill>
                  <a:schemeClr val="tx1"/>
                </a:solidFill>
                <a:latin typeface="+mn-lt"/>
              </a:defRPr>
            </a:lvl4pPr>
            <a:lvl5pPr marL="628650" indent="-11430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fld id="{889C76CE-0BC8-4D6B-836D-4A0036924B22}" type="datetime'W''orker''s n''eeding n''e''w skil''ls to maintain ba''seline'">
              <a:rPr lang="en-US" sz="1224">
                <a:solidFill>
                  <a:srgbClr val="000000"/>
                </a:solidFill>
              </a:rPr>
              <a:pPr algn="ctr">
                <a:buClr>
                  <a:srgbClr val="002960"/>
                </a:buClr>
              </a:pPr>
              <a:t>Workers needing new skills to maintain baseline</a:t>
            </a:fld>
            <a:endParaRPr lang="en-US" sz="1224" dirty="0">
              <a:solidFill>
                <a:srgbClr val="000000"/>
              </a:solidFill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94737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9346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1269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6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269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9347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 defTabSz="914400" fontAlgn="auto"/>
            <a:endParaRPr lang="en-GB" sz="1400" dirty="0">
              <a:solidFill>
                <a:srgbClr val="000000"/>
              </a:solidFill>
              <a:latin typeface="Arial"/>
              <a:ea typeface="+mn-ea"/>
              <a:cs typeface="+mn-cs"/>
              <a:sym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A93ED2-AA1D-49E4-AFF7-6F39EBC4C54B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381270" y="1"/>
            <a:ext cx="9138491" cy="609232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929A2C6-D300-43E8-B9AB-FB1CF82639E9}"/>
              </a:ext>
            </a:extLst>
          </p:cNvPr>
          <p:cNvSpPr/>
          <p:nvPr/>
        </p:nvSpPr>
        <p:spPr>
          <a:xfrm>
            <a:off x="631381" y="3232727"/>
            <a:ext cx="8632577" cy="2672316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98547" y="204164"/>
            <a:ext cx="8677275" cy="415498"/>
          </a:xfr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100" dirty="0"/>
              <a:t>What are some implications of this for Australian firms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5ED7A88-A829-4216-888A-7BF410CE4E10}"/>
              </a:ext>
            </a:extLst>
          </p:cNvPr>
          <p:cNvCxnSpPr>
            <a:cxnSpLocks/>
          </p:cNvCxnSpPr>
          <p:nvPr/>
        </p:nvCxnSpPr>
        <p:spPr>
          <a:xfrm>
            <a:off x="3523488" y="3712687"/>
            <a:ext cx="0" cy="19924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D15D03B-586F-4334-AED9-D59C921A959C}"/>
              </a:ext>
            </a:extLst>
          </p:cNvPr>
          <p:cNvCxnSpPr>
            <a:cxnSpLocks/>
          </p:cNvCxnSpPr>
          <p:nvPr/>
        </p:nvCxnSpPr>
        <p:spPr>
          <a:xfrm>
            <a:off x="6342546" y="3712687"/>
            <a:ext cx="0" cy="19924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9C1C2F97-0D32-4A51-96A9-028028B9C78E}"/>
              </a:ext>
            </a:extLst>
          </p:cNvPr>
          <p:cNvSpPr/>
          <p:nvPr/>
        </p:nvSpPr>
        <p:spPr>
          <a:xfrm>
            <a:off x="748656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FFFFFF"/>
                </a:solidFill>
                <a:latin typeface="Georgia" panose="02040502050405020303" pitchFamily="18" charset="0"/>
              </a:rPr>
              <a:t>Understand the opportunity in ASEAN for digital applicatio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40B003-A82A-47A5-9291-69C23B2AC854}"/>
              </a:ext>
            </a:extLst>
          </p:cNvPr>
          <p:cNvSpPr/>
          <p:nvPr/>
        </p:nvSpPr>
        <p:spPr>
          <a:xfrm>
            <a:off x="3567714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FFFFFF"/>
                </a:solidFill>
                <a:latin typeface="Georgia" panose="02040502050405020303" pitchFamily="18" charset="0"/>
              </a:rPr>
              <a:t>Find a strong local partner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54FE2E-DCE3-4619-A4CF-6F9356E3F3D4}"/>
              </a:ext>
            </a:extLst>
          </p:cNvPr>
          <p:cNvSpPr/>
          <p:nvPr/>
        </p:nvSpPr>
        <p:spPr>
          <a:xfrm>
            <a:off x="6386771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2400" dirty="0">
                <a:solidFill>
                  <a:srgbClr val="FFFFFF"/>
                </a:solidFill>
                <a:latin typeface="Georgia" panose="02040502050405020303" pitchFamily="18" charset="0"/>
              </a:rPr>
              <a:t>Be mindful of evolving regulation – particularly data constraints</a:t>
            </a:r>
          </a:p>
        </p:txBody>
      </p:sp>
    </p:spTree>
    <p:extLst>
      <p:ext uri="{BB962C8B-B14F-4D97-AF65-F5344CB8AC3E}">
        <p14:creationId xmlns:p14="http://schemas.microsoft.com/office/powerpoint/2010/main" val="255608822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6477858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Lucy Liu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800" dirty="0">
                <a:latin typeface="Arial" charset="0"/>
                <a:ea typeface="ＭＳ Ｐゴシック" charset="0"/>
                <a:cs typeface="Arial" charset="0"/>
              </a:rPr>
              <a:t>Chief Operating Office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 err="1">
                <a:latin typeface="Arial" charset="0"/>
                <a:ea typeface="ＭＳ Ｐゴシック" charset="0"/>
                <a:cs typeface="Arial" charset="0"/>
              </a:rPr>
              <a:t>Airwallex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44386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81249831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 err="1">
                <a:latin typeface="Arial" charset="0"/>
                <a:ea typeface="ＭＳ Ｐゴシック" charset="0"/>
                <a:cs typeface="Arial" charset="0"/>
              </a:rPr>
              <a:t>Gurpreet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en-AU" dirty="0" err="1">
                <a:latin typeface="Arial" charset="0"/>
                <a:ea typeface="ＭＳ Ｐゴシック" charset="0"/>
                <a:cs typeface="Arial" charset="0"/>
              </a:rPr>
              <a:t>Ghuliani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Telstra Ventures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4380861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939709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Kate Eriks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Head of Innovation &amp; Disruption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PwC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127946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581118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Title 1"/>
          <p:cNvSpPr txBox="1">
            <a:spLocks/>
          </p:cNvSpPr>
          <p:nvPr/>
        </p:nvSpPr>
        <p:spPr bwMode="auto">
          <a:xfrm>
            <a:off x="776536" y="620688"/>
            <a:ext cx="8353425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0" i="0" kern="1200" cap="none">
                <a:solidFill>
                  <a:schemeClr val="bg1"/>
                </a:solidFill>
                <a:latin typeface="Arial"/>
                <a:ea typeface="ＭＳ Ｐゴシック" pitchFamily="-106" charset="-128"/>
                <a:cs typeface="Arial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9pPr>
          </a:lstStyle>
          <a:p>
            <a:pPr>
              <a:lnSpc>
                <a:spcPct val="150000"/>
              </a:lnSpc>
            </a:pP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Q&amp;A with panel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Fraser Thompson    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President, </a:t>
            </a:r>
            <a:r>
              <a:rPr lang="en-AU" sz="1900" dirty="0" err="1">
                <a:latin typeface="Arial" charset="0"/>
                <a:ea typeface="ＭＳ Ｐゴシック" charset="0"/>
                <a:cs typeface="Arial" charset="0"/>
              </a:rPr>
              <a:t>AustCham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ASEAN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Lucy Liu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         		COO, </a:t>
            </a:r>
            <a:r>
              <a:rPr lang="en-AU" sz="1900" dirty="0" err="1">
                <a:latin typeface="Arial" charset="0"/>
                <a:ea typeface="ＭＳ Ｐゴシック" charset="0"/>
                <a:cs typeface="Arial" charset="0"/>
              </a:rPr>
              <a:t>Airwallex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 err="1">
                <a:latin typeface="Arial" charset="0"/>
                <a:ea typeface="ＭＳ Ｐゴシック" charset="0"/>
                <a:cs typeface="Arial" charset="0"/>
              </a:rPr>
              <a:t>Gurpreet</a:t>
            </a: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 </a:t>
            </a:r>
            <a:r>
              <a:rPr lang="en-AU" sz="1900" b="1" dirty="0" err="1">
                <a:latin typeface="Arial" charset="0"/>
                <a:ea typeface="ＭＳ Ｐゴシック" charset="0"/>
                <a:cs typeface="Arial" charset="0"/>
              </a:rPr>
              <a:t>Ghuliani</a:t>
            </a: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 	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Telstra Ventures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Kate Eriksson 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		Head of Innovation &amp; Disruption, PwC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Facilitated by 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/>
              <a:t>Nicholas Henderson    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Director, Asialink Business</a:t>
            </a:r>
          </a:p>
        </p:txBody>
      </p:sp>
    </p:spTree>
    <p:extLst>
      <p:ext uri="{BB962C8B-B14F-4D97-AF65-F5344CB8AC3E}">
        <p14:creationId xmlns:p14="http://schemas.microsoft.com/office/powerpoint/2010/main" val="273191835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9983854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1C0C1-E29A-B041-962F-6F254421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461" y="620688"/>
            <a:ext cx="8420100" cy="1362075"/>
          </a:xfrm>
        </p:spPr>
        <p:txBody>
          <a:bodyPr/>
          <a:lstStyle/>
          <a:p>
            <a:r>
              <a:rPr lang="en-US" sz="3600" dirty="0"/>
              <a:t>ASEAN COUNTRY STARTER PACKS</a:t>
            </a:r>
            <a:br>
              <a:rPr lang="en-US" dirty="0"/>
            </a:br>
            <a:r>
              <a:rPr lang="en-US" sz="2400" dirty="0">
                <a:solidFill>
                  <a:schemeClr val="accent2"/>
                </a:solidFill>
              </a:rPr>
              <a:t>PRACTICAL GUIDES FOR AUSTRALIAN BUSINES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85CDD4-682C-7B41-A9C6-A8FE2D097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43467" y="6179923"/>
            <a:ext cx="642620" cy="304800"/>
          </a:xfrm>
        </p:spPr>
        <p:txBody>
          <a:bodyPr/>
          <a:lstStyle/>
          <a:p>
            <a:fld id="{6043B157-221D-4442-B861-127A3760FB7F}" type="slidenum">
              <a:rPr lang="en-AU" smtClean="0"/>
              <a:t>26</a:t>
            </a:fld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ABD1B9-A3DF-5342-8355-492DBEF7D8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467" y="1982762"/>
            <a:ext cx="1431208" cy="20257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55D94F-20A4-744F-AB2E-1C5EA18F04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054" y="4000531"/>
            <a:ext cx="1424984" cy="20214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CF9BB2-6B79-9142-9ECD-BF5DB2C3281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096" y="1982763"/>
            <a:ext cx="1427815" cy="20257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14EC88D-EA01-F041-946C-5390FA829D5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464" y="4000533"/>
            <a:ext cx="1423239" cy="202148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5F8EAE-EAD9-6A46-BA58-885012C9D11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811" y="1982764"/>
            <a:ext cx="1430277" cy="202579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3674EF3-F27F-3D41-BFC3-82ACA85157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4928" y="3999996"/>
            <a:ext cx="1433114" cy="2033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5BB1D7C-9B51-884A-B72D-5E01D1D628E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947" y="1984295"/>
            <a:ext cx="1407605" cy="199918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548E465-B346-4544-A592-4A12CAC896E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6875" y="3962614"/>
            <a:ext cx="1462828" cy="20675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998E7F7-670D-9440-A6AB-C50C94BD38C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529" y="1978793"/>
            <a:ext cx="1495130" cy="212023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6F74D5F-EA76-694B-B18D-57A07EDE7C8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297" y="3923544"/>
            <a:ext cx="1488149" cy="210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8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Innovation and the Digital Economy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64112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/>
            </a:br>
            <a:r>
              <a:rPr lang="en-AU" dirty="0"/>
              <a:t>George Cooper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/>
              <a:t>Partner, Employment</a:t>
            </a:r>
            <a:br>
              <a:rPr lang="en-AU" sz="3200" dirty="0"/>
            </a:br>
            <a:r>
              <a:rPr lang="en-AU" sz="3200" dirty="0" err="1"/>
              <a:t>Ashurst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1035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The Hon Philip </a:t>
            </a:r>
            <a:r>
              <a:rPr lang="en-AU" dirty="0" err="1">
                <a:latin typeface="Arial" charset="0"/>
                <a:ea typeface="ＭＳ Ｐゴシック" charset="0"/>
                <a:cs typeface="Arial" charset="0"/>
              </a:rPr>
              <a:t>Dalidakis</a:t>
            </a: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 MP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400" dirty="0">
                <a:latin typeface="Arial" charset="0"/>
                <a:ea typeface="ＭＳ Ｐゴシック" charset="0"/>
                <a:cs typeface="Arial" charset="0"/>
              </a:rPr>
              <a:t>Minister for Trade &amp; Investment, Innovation &amp; </a:t>
            </a:r>
            <a:br>
              <a:rPr lang="en-AU" sz="24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400" dirty="0">
                <a:latin typeface="Arial" charset="0"/>
                <a:ea typeface="ＭＳ Ｐゴシック" charset="0"/>
                <a:cs typeface="Arial" charset="0"/>
              </a:rPr>
              <a:t>the Digital Economy, Small Business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Victorian Government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8733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Nicholas He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, China Practice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56825481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Fraser Thomp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President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 err="1">
                <a:latin typeface="Arial" charset="0"/>
                <a:ea typeface="ＭＳ Ｐゴシック" charset="0"/>
                <a:cs typeface="Arial" charset="0"/>
              </a:rPr>
              <a:t>AustCham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ASEA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460647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917" y="-1141032"/>
          <a:ext cx="161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917" y="-1141032"/>
                        <a:ext cx="161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5" t="12612" r="8560" b="11504"/>
          <a:stretch/>
        </p:blipFill>
        <p:spPr>
          <a:xfrm>
            <a:off x="0" y="-25916"/>
            <a:ext cx="9906000" cy="6883917"/>
          </a:xfrm>
          <a:prstGeom prst="rect">
            <a:avLst/>
          </a:prstGeom>
        </p:spPr>
      </p:pic>
      <p:sp>
        <p:nvSpPr>
          <p:cNvPr id="8" name="Round Same Side Corner Rectangle 7"/>
          <p:cNvSpPr/>
          <p:nvPr/>
        </p:nvSpPr>
        <p:spPr bwMode="gray">
          <a:xfrm rot="5400000" flipV="1">
            <a:off x="5457799" y="1836820"/>
            <a:ext cx="2722133" cy="541173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960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52" tIns="59576" rIns="119152" bIns="59576"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2143" dirty="0">
              <a:solidFill>
                <a:srgbClr val="000000"/>
              </a:solidFill>
            </a:endParaRPr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gray">
          <a:xfrm>
            <a:off x="4494783" y="5530935"/>
            <a:ext cx="3742130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37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March 5, 2018</a:t>
            </a: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 bwMode="gray">
          <a:xfrm>
            <a:off x="4494783" y="3562581"/>
            <a:ext cx="4348046" cy="100489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The ASEAN digital opportunity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McK Date"/>
          <p:cNvSpPr txBox="1">
            <a:spLocks noChangeArrowheads="1"/>
          </p:cNvSpPr>
          <p:nvPr/>
        </p:nvSpPr>
        <p:spPr bwMode="gray">
          <a:xfrm>
            <a:off x="4494773" y="4975217"/>
            <a:ext cx="4664218" cy="565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37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Dr. Fraser Thompson</a:t>
            </a:r>
          </a:p>
          <a:p>
            <a:pPr defTabSz="914400"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US" sz="1837" dirty="0">
                <a:solidFill>
                  <a:srgbClr val="FFFFFF"/>
                </a:solidFill>
                <a:latin typeface="Arial"/>
                <a:ea typeface="+mn-ea"/>
                <a:cs typeface="+mn-cs"/>
              </a:rPr>
              <a:t>Asialink Business</a:t>
            </a:r>
          </a:p>
        </p:txBody>
      </p:sp>
    </p:spTree>
    <p:extLst>
      <p:ext uri="{BB962C8B-B14F-4D97-AF65-F5344CB8AC3E}">
        <p14:creationId xmlns:p14="http://schemas.microsoft.com/office/powerpoint/2010/main" val="2768342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2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00" fontAlgn="auto"/>
            <a:endParaRPr lang="en-US" sz="14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2" y="115957"/>
            <a:ext cx="8793595" cy="646331"/>
          </a:xfrm>
        </p:spPr>
        <p:txBody>
          <a:bodyPr/>
          <a:lstStyle/>
          <a:p>
            <a:r>
              <a:rPr lang="en-IN" sz="2100" dirty="0" err="1"/>
              <a:t>AustCham</a:t>
            </a:r>
            <a:r>
              <a:rPr lang="en-IN" sz="2100" dirty="0"/>
              <a:t> ASEAN is a “Chamber of Chambers” where Australian business chambers in ASEAN are represented</a:t>
            </a:r>
            <a:endParaRPr lang="en-US" sz="2100" dirty="0"/>
          </a:p>
        </p:txBody>
      </p:sp>
      <p:pic>
        <p:nvPicPr>
          <p:cNvPr id="77" name="Picture 75" descr="http://www.treasury-management.com/graphics/TMI224-Cover-main.jp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435" b="100000" l="0" r="100000">
                        <a14:foregroundMark x1="62727" y1="73802" x2="62909" y2="70607"/>
                        <a14:foregroundMark x1="64727" y1="73163" x2="64727" y2="70288"/>
                        <a14:foregroundMark x1="65636" y1="74441" x2="65636" y2="70607"/>
                        <a14:backgroundMark x1="13091" y1="39297" x2="56364" y2="46326"/>
                        <a14:backgroundMark x1="98000" y1="50160" x2="93091" y2="54952"/>
                        <a14:backgroundMark x1="60364" y1="41853" x2="26000" y2="64217"/>
                        <a14:backgroundMark x1="2182" y1="38978" x2="545" y2="61661"/>
                        <a14:backgroundMark x1="64545" y1="63578" x2="76545" y2="48882"/>
                        <a14:backgroundMark x1="77455" y1="75399" x2="76545" y2="53674"/>
                        <a14:backgroundMark x1="85455" y1="67732" x2="84727" y2="44089"/>
                        <a14:backgroundMark x1="93091" y1="75399" x2="93818" y2="61661"/>
                        <a14:backgroundMark x1="26364" y1="69329" x2="32545" y2="77955"/>
                        <a14:backgroundMark x1="1636" y1="65815" x2="727" y2="67093"/>
                        <a14:backgroundMark x1="2727" y1="72524" x2="909" y2="75719"/>
                        <a14:backgroundMark x1="14727" y1="70927" x2="11455" y2="72524"/>
                        <a14:backgroundMark x1="13091" y1="66773" x2="14182" y2="68690"/>
                        <a14:backgroundMark x1="15455" y1="76358" x2="14000" y2="75080"/>
                        <a14:backgroundMark x1="23636" y1="77955" x2="24727" y2="76038"/>
                        <a14:backgroundMark x1="30182" y1="81470" x2="31273" y2="81470"/>
                        <a14:backgroundMark x1="34182" y1="81150" x2="33455" y2="80511"/>
                        <a14:backgroundMark x1="39455" y1="82428" x2="40000" y2="69010"/>
                        <a14:backgroundMark x1="52182" y1="79872" x2="51818" y2="68051"/>
                        <a14:backgroundMark x1="61455" y1="75080" x2="62364" y2="74121"/>
                        <a14:backgroundMark x1="66182" y1="76358" x2="67091" y2="76038"/>
                        <a14:backgroundMark x1="65091" y1="73482" x2="65091" y2="71565"/>
                        <a14:backgroundMark x1="64182" y1="72524" x2="64364" y2="70927"/>
                        <a14:backgroundMark x1="77273" y1="84345" x2="77273" y2="78594"/>
                        <a14:backgroundMark x1="18182" y1="55272" x2="19818" y2="56230"/>
                        <a14:backgroundMark x1="20182" y1="58466" x2="18364" y2="58786"/>
                        <a14:backgroundMark x1="23273" y1="71246" x2="22364" y2="71565"/>
                        <a14:backgroundMark x1="81818" y1="42173" x2="81273" y2="43450"/>
                        <a14:backgroundMark x1="86000" y1="72524" x2="85091" y2="77955"/>
                        <a14:backgroundMark x1="85091" y1="80511" x2="85091" y2="82109"/>
                        <a14:backgroundMark x1="85273" y1="84665" x2="85455" y2="84984"/>
                        <a14:backgroundMark x1="63273" y1="70288" x2="63273" y2="731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0730" b="2428"/>
          <a:stretch/>
        </p:blipFill>
        <p:spPr bwMode="auto">
          <a:xfrm flipH="1">
            <a:off x="898462" y="3634613"/>
            <a:ext cx="8130087" cy="3092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/>
          <p:cNvSpPr>
            <a:spLocks/>
          </p:cNvSpPr>
          <p:nvPr/>
        </p:nvSpPr>
        <p:spPr bwMode="gray">
          <a:xfrm>
            <a:off x="898462" y="848369"/>
            <a:ext cx="8140053" cy="588494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122" dirty="0">
              <a:solidFill>
                <a:srgbClr val="000000"/>
              </a:solidFill>
            </a:endParaRPr>
          </a:p>
        </p:txBody>
      </p:sp>
      <p:sp>
        <p:nvSpPr>
          <p:cNvPr id="83" name="Rectangle 10"/>
          <p:cNvSpPr txBox="1"/>
          <p:nvPr/>
        </p:nvSpPr>
        <p:spPr>
          <a:xfrm>
            <a:off x="2862658" y="2478530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84" name="Rectangle 10"/>
          <p:cNvSpPr txBox="1"/>
          <p:nvPr/>
        </p:nvSpPr>
        <p:spPr>
          <a:xfrm>
            <a:off x="1547488" y="2478530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Indonesia</a:t>
            </a:r>
          </a:p>
        </p:txBody>
      </p:sp>
      <p:pic>
        <p:nvPicPr>
          <p:cNvPr id="85" name="Picture 19" descr="http://flags.redpixart.com/download/?icon=1466&amp;size=256&amp;type=png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t="5454" r="13782" b="5958"/>
          <a:stretch/>
        </p:blipFill>
        <p:spPr bwMode="auto">
          <a:xfrm>
            <a:off x="1030296" y="2421114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27" name="Rectangle 10"/>
          <p:cNvSpPr txBox="1"/>
          <p:nvPr/>
        </p:nvSpPr>
        <p:spPr>
          <a:xfrm>
            <a:off x="2862658" y="3558463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128" name="Rectangle 10"/>
          <p:cNvSpPr txBox="1"/>
          <p:nvPr/>
        </p:nvSpPr>
        <p:spPr>
          <a:xfrm>
            <a:off x="1547488" y="3558463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Malaysia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pic>
        <p:nvPicPr>
          <p:cNvPr id="129" name="Picture 23" descr="http://img.freeflagicons.com/thumb/glossy_round_icon/malaysia/malaysia_640.png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1" t="2986" r="18264" b="10927"/>
          <a:stretch/>
        </p:blipFill>
        <p:spPr bwMode="auto">
          <a:xfrm>
            <a:off x="1030296" y="3501047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34" name="Rectangle 10"/>
          <p:cNvSpPr txBox="1"/>
          <p:nvPr/>
        </p:nvSpPr>
        <p:spPr>
          <a:xfrm>
            <a:off x="2862658" y="516245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135" name="Rectangle 10"/>
          <p:cNvSpPr txBox="1"/>
          <p:nvPr/>
        </p:nvSpPr>
        <p:spPr>
          <a:xfrm>
            <a:off x="1547488" y="516245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Singapore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pic>
        <p:nvPicPr>
          <p:cNvPr id="136" name="Picture 25" descr="http://img.freeflagicons.com/thumb/round_icon/singapore/singapore_640.png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5" t="5599" r="16866" b="5704"/>
          <a:stretch/>
        </p:blipFill>
        <p:spPr bwMode="auto">
          <a:xfrm>
            <a:off x="1030296" y="510503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41" name="Rectangle 10"/>
          <p:cNvSpPr txBox="1"/>
          <p:nvPr/>
        </p:nvSpPr>
        <p:spPr>
          <a:xfrm>
            <a:off x="2862658" y="455407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142" name="Rectangle 10"/>
          <p:cNvSpPr txBox="1"/>
          <p:nvPr/>
        </p:nvSpPr>
        <p:spPr>
          <a:xfrm>
            <a:off x="1547488" y="4554076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hilippines</a:t>
            </a:r>
          </a:p>
        </p:txBody>
      </p:sp>
      <p:pic>
        <p:nvPicPr>
          <p:cNvPr id="143" name="Picture 28" descr="http://img.freeflagicons.com/thumb/round_icon/philippines/philippines_640.png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7" t="5594" r="16791" b="5927"/>
          <a:stretch/>
        </p:blipFill>
        <p:spPr bwMode="auto">
          <a:xfrm>
            <a:off x="1030296" y="4496660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48" name="Rectangle 10"/>
          <p:cNvSpPr txBox="1"/>
          <p:nvPr/>
        </p:nvSpPr>
        <p:spPr>
          <a:xfrm>
            <a:off x="2862658" y="6224810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149" name="Rectangle 10"/>
          <p:cNvSpPr txBox="1"/>
          <p:nvPr/>
        </p:nvSpPr>
        <p:spPr>
          <a:xfrm>
            <a:off x="1547488" y="6224810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Vietnam</a:t>
            </a:r>
          </a:p>
        </p:txBody>
      </p:sp>
      <p:pic>
        <p:nvPicPr>
          <p:cNvPr id="150" name="Picture 30" descr="http://img.freeflagicons.com/thumb/glossy_round_icon/vietnam/vietnam_640.png"/>
          <p:cNvPicPr>
            <a:picLocks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2" t="3131" r="18476" b="11434"/>
          <a:stretch/>
        </p:blipFill>
        <p:spPr bwMode="auto">
          <a:xfrm>
            <a:off x="1030296" y="6167394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55" name="Rectangle 10"/>
          <p:cNvSpPr txBox="1"/>
          <p:nvPr/>
        </p:nvSpPr>
        <p:spPr>
          <a:xfrm>
            <a:off x="2862658" y="402382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</a:p>
        </p:txBody>
      </p:sp>
      <p:sp>
        <p:nvSpPr>
          <p:cNvPr id="156" name="Rectangle 10"/>
          <p:cNvSpPr txBox="1"/>
          <p:nvPr/>
        </p:nvSpPr>
        <p:spPr>
          <a:xfrm>
            <a:off x="1547488" y="402382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Myanmar</a:t>
            </a:r>
          </a:p>
        </p:txBody>
      </p:sp>
      <p:pic>
        <p:nvPicPr>
          <p:cNvPr id="157" name="Picture 33" descr="http://img.freeflagicons.com/thumb/round_icon/myanmar/myanmar_640.png"/>
          <p:cNvPicPr>
            <a:picLocks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42" t="5377" r="16574" b="5275"/>
          <a:stretch/>
        </p:blipFill>
        <p:spPr bwMode="auto">
          <a:xfrm>
            <a:off x="1030296" y="396640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62" name="Rectangle 10"/>
          <p:cNvSpPr txBox="1"/>
          <p:nvPr/>
        </p:nvSpPr>
        <p:spPr>
          <a:xfrm>
            <a:off x="2862658" y="156616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</a:p>
        </p:txBody>
      </p:sp>
      <p:sp>
        <p:nvSpPr>
          <p:cNvPr id="163" name="Rectangle 10"/>
          <p:cNvSpPr txBox="1"/>
          <p:nvPr/>
        </p:nvSpPr>
        <p:spPr>
          <a:xfrm>
            <a:off x="1547488" y="1566166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Brunei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pic>
        <p:nvPicPr>
          <p:cNvPr id="164" name="Picture 35" descr="http://img.freeflagicons.com/thumb/round_icon/brunei/brunei_640.png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4" t="5812" r="16792" b="6145"/>
          <a:stretch/>
        </p:blipFill>
        <p:spPr bwMode="auto">
          <a:xfrm>
            <a:off x="1030296" y="1508750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69" name="Rectangle 10"/>
          <p:cNvSpPr txBox="1"/>
          <p:nvPr/>
        </p:nvSpPr>
        <p:spPr>
          <a:xfrm>
            <a:off x="2862658" y="200666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170" name="Rectangle 10"/>
          <p:cNvSpPr txBox="1"/>
          <p:nvPr/>
        </p:nvSpPr>
        <p:spPr>
          <a:xfrm>
            <a:off x="1547488" y="200666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Cambodia</a:t>
            </a:r>
          </a:p>
        </p:txBody>
      </p:sp>
      <p:pic>
        <p:nvPicPr>
          <p:cNvPr id="171" name="Picture 37" descr="http://worldflags.me/Bottons/Cambodia_Flag.png"/>
          <p:cNvPicPr>
            <a:picLocks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9" t="5450" r="6108" b="5691"/>
          <a:stretch/>
        </p:blipFill>
        <p:spPr bwMode="auto">
          <a:xfrm>
            <a:off x="1030296" y="194924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180" name="AutoShape 249"/>
          <p:cNvCxnSpPr>
            <a:cxnSpLocks noChangeShapeType="1"/>
          </p:cNvCxnSpPr>
          <p:nvPr/>
        </p:nvCxnSpPr>
        <p:spPr bwMode="auto">
          <a:xfrm>
            <a:off x="2862658" y="1446662"/>
            <a:ext cx="14202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1" name="AutoShape 250"/>
          <p:cNvSpPr>
            <a:spLocks noChangeArrowheads="1"/>
          </p:cNvSpPr>
          <p:nvPr/>
        </p:nvSpPr>
        <p:spPr bwMode="auto">
          <a:xfrm>
            <a:off x="2862658" y="957671"/>
            <a:ext cx="1420240" cy="45838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b="1" dirty="0">
                <a:solidFill>
                  <a:srgbClr val="002960"/>
                </a:solidFill>
                <a:latin typeface="Arial"/>
                <a:ea typeface="+mn-ea"/>
                <a:cs typeface="+mn-cs"/>
              </a:rPr>
              <a:t>Foundation member</a:t>
            </a:r>
            <a:endParaRPr lang="en-US" sz="1428" dirty="0">
              <a:solidFill>
                <a:srgbClr val="808080"/>
              </a:solidFill>
              <a:latin typeface="Arial"/>
              <a:ea typeface="+mn-ea"/>
              <a:cs typeface="+mn-cs"/>
            </a:endParaRPr>
          </a:p>
        </p:txBody>
      </p:sp>
      <p:sp>
        <p:nvSpPr>
          <p:cNvPr id="200" name="AutoShape 250"/>
          <p:cNvSpPr>
            <a:spLocks noChangeArrowheads="1"/>
          </p:cNvSpPr>
          <p:nvPr/>
        </p:nvSpPr>
        <p:spPr bwMode="auto">
          <a:xfrm>
            <a:off x="4506563" y="1177957"/>
            <a:ext cx="2210731" cy="2381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sz="1428" b="1" dirty="0">
                <a:solidFill>
                  <a:srgbClr val="002960"/>
                </a:solidFill>
                <a:latin typeface="Arial"/>
                <a:ea typeface="+mn-ea"/>
                <a:cs typeface="+mn-cs"/>
              </a:rPr>
              <a:t>Organization name</a:t>
            </a:r>
            <a:endParaRPr lang="en-US" sz="1428" dirty="0">
              <a:solidFill>
                <a:srgbClr val="808080"/>
              </a:solidFill>
              <a:latin typeface="Arial"/>
              <a:ea typeface="+mn-ea"/>
              <a:cs typeface="+mn-cs"/>
            </a:endParaRPr>
          </a:p>
        </p:txBody>
      </p:sp>
      <p:cxnSp>
        <p:nvCxnSpPr>
          <p:cNvPr id="192" name="Straight Connector 191"/>
          <p:cNvCxnSpPr>
            <a:cxnSpLocks/>
          </p:cNvCxnSpPr>
          <p:nvPr/>
        </p:nvCxnSpPr>
        <p:spPr>
          <a:xfrm>
            <a:off x="1030296" y="4407541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>
            <a:cxnSpLocks/>
          </p:cNvCxnSpPr>
          <p:nvPr/>
        </p:nvCxnSpPr>
        <p:spPr>
          <a:xfrm>
            <a:off x="1030296" y="1885275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30296" y="5060479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ectangle 10"/>
          <p:cNvSpPr txBox="1"/>
          <p:nvPr/>
        </p:nvSpPr>
        <p:spPr>
          <a:xfrm>
            <a:off x="4515970" y="2478529"/>
            <a:ext cx="3642051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Australia Indonesia Business Council (IABC)</a:t>
            </a:r>
          </a:p>
        </p:txBody>
      </p:sp>
      <p:sp>
        <p:nvSpPr>
          <p:cNvPr id="202" name="Rectangle 10"/>
          <p:cNvSpPr txBox="1"/>
          <p:nvPr/>
        </p:nvSpPr>
        <p:spPr>
          <a:xfrm>
            <a:off x="4515970" y="2893716"/>
            <a:ext cx="4242415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The Australia Chamber of Commerce Lao PDR (</a:t>
            </a:r>
            <a:r>
              <a:rPr lang="en-SG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 Laos)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203" name="Rectangle 10"/>
          <p:cNvSpPr txBox="1"/>
          <p:nvPr/>
        </p:nvSpPr>
        <p:spPr>
          <a:xfrm>
            <a:off x="4515969" y="3567082"/>
            <a:ext cx="4029978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Malaysia-Australia Business Council (MABC)</a:t>
            </a:r>
          </a:p>
        </p:txBody>
      </p:sp>
      <p:sp>
        <p:nvSpPr>
          <p:cNvPr id="206" name="Rectangle 10"/>
          <p:cNvSpPr txBox="1"/>
          <p:nvPr/>
        </p:nvSpPr>
        <p:spPr>
          <a:xfrm>
            <a:off x="4515969" y="6224810"/>
            <a:ext cx="432001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The Australian Chamber of Commerce in Vietnam (</a:t>
            </a:r>
            <a:r>
              <a:rPr lang="en-SG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 Vietnam)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208" name="Rectangle 10"/>
          <p:cNvSpPr txBox="1"/>
          <p:nvPr/>
        </p:nvSpPr>
        <p:spPr>
          <a:xfrm>
            <a:off x="4525205" y="156616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</a:p>
        </p:txBody>
      </p:sp>
      <p:sp>
        <p:nvSpPr>
          <p:cNvPr id="209" name="Rectangle 10"/>
          <p:cNvSpPr txBox="1"/>
          <p:nvPr/>
        </p:nvSpPr>
        <p:spPr>
          <a:xfrm>
            <a:off x="4525205" y="2006664"/>
            <a:ext cx="2081104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 Cambodia</a:t>
            </a:r>
          </a:p>
        </p:txBody>
      </p:sp>
      <p:cxnSp>
        <p:nvCxnSpPr>
          <p:cNvPr id="212" name="AutoShape 249"/>
          <p:cNvCxnSpPr>
            <a:cxnSpLocks noChangeShapeType="1"/>
          </p:cNvCxnSpPr>
          <p:nvPr/>
        </p:nvCxnSpPr>
        <p:spPr bwMode="auto">
          <a:xfrm>
            <a:off x="4506562" y="1446662"/>
            <a:ext cx="440330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3" name="Rectangle 10"/>
          <p:cNvSpPr txBox="1"/>
          <p:nvPr/>
        </p:nvSpPr>
        <p:spPr>
          <a:xfrm>
            <a:off x="2862658" y="2996687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214" name="Rectangle 10"/>
          <p:cNvSpPr txBox="1"/>
          <p:nvPr/>
        </p:nvSpPr>
        <p:spPr>
          <a:xfrm>
            <a:off x="1547488" y="2996687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Lao PDR</a:t>
            </a:r>
          </a:p>
        </p:txBody>
      </p:sp>
      <p:pic>
        <p:nvPicPr>
          <p:cNvPr id="215" name="Picture 41" descr="http://img.freeflagicons.com/thumb/round_icon/laos/laos_640.png"/>
          <p:cNvPicPr>
            <a:picLocks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3" t="5523" r="16682" b="5782"/>
          <a:stretch/>
        </p:blipFill>
        <p:spPr bwMode="auto">
          <a:xfrm>
            <a:off x="1030296" y="2939271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1030296" y="2347093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1030296" y="2827386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cxnSpLocks/>
          </p:cNvCxnSpPr>
          <p:nvPr/>
        </p:nvCxnSpPr>
        <p:spPr>
          <a:xfrm>
            <a:off x="1030296" y="3427750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cxnSpLocks/>
          </p:cNvCxnSpPr>
          <p:nvPr/>
        </p:nvCxnSpPr>
        <p:spPr>
          <a:xfrm>
            <a:off x="1030296" y="3908041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10"/>
          <p:cNvSpPr txBox="1"/>
          <p:nvPr/>
        </p:nvSpPr>
        <p:spPr>
          <a:xfrm>
            <a:off x="4525205" y="4038667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</a:p>
        </p:txBody>
      </p:sp>
      <p:sp>
        <p:nvSpPr>
          <p:cNvPr id="224" name="Rectangle 10"/>
          <p:cNvSpPr txBox="1"/>
          <p:nvPr/>
        </p:nvSpPr>
        <p:spPr>
          <a:xfrm>
            <a:off x="4515969" y="4545633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The Australian-New Zealand Chamber of Commerce (Philippines) Inc (ANZCHAM Philippines)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225" name="Rectangle 10"/>
          <p:cNvSpPr txBox="1"/>
          <p:nvPr/>
        </p:nvSpPr>
        <p:spPr>
          <a:xfrm>
            <a:off x="2862658" y="570861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</a:p>
        </p:txBody>
      </p:sp>
      <p:sp>
        <p:nvSpPr>
          <p:cNvPr id="226" name="Rectangle 10"/>
          <p:cNvSpPr txBox="1"/>
          <p:nvPr/>
        </p:nvSpPr>
        <p:spPr>
          <a:xfrm>
            <a:off x="1547488" y="570861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Thailand</a:t>
            </a:r>
          </a:p>
        </p:txBody>
      </p:sp>
      <p:pic>
        <p:nvPicPr>
          <p:cNvPr id="227" name="Picture 21" descr="http://img.freeflagicons.com/thumb/round_icon/thailand/thailand_640.png"/>
          <p:cNvPicPr>
            <a:picLocks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t="5367" r="16628" b="5937"/>
          <a:stretch/>
        </p:blipFill>
        <p:spPr bwMode="auto">
          <a:xfrm>
            <a:off x="1030296" y="5662435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229" name="Rectangle 10"/>
          <p:cNvSpPr txBox="1"/>
          <p:nvPr/>
        </p:nvSpPr>
        <p:spPr>
          <a:xfrm>
            <a:off x="4515969" y="5662435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Australian-Thai Chamber of Commerce (</a:t>
            </a:r>
            <a:r>
              <a:rPr lang="en-US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 Thailand)</a:t>
            </a:r>
          </a:p>
        </p:txBody>
      </p:sp>
      <p:cxnSp>
        <p:nvCxnSpPr>
          <p:cNvPr id="230" name="Straight Connector 229"/>
          <p:cNvCxnSpPr>
            <a:cxnSpLocks/>
          </p:cNvCxnSpPr>
          <p:nvPr/>
        </p:nvCxnSpPr>
        <p:spPr>
          <a:xfrm>
            <a:off x="1030296" y="5577713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10"/>
          <p:cNvSpPr txBox="1"/>
          <p:nvPr/>
        </p:nvSpPr>
        <p:spPr>
          <a:xfrm>
            <a:off x="4515969" y="5099815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</a:pP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Australian Chamber of Commerce, Singapore (</a:t>
            </a:r>
            <a:r>
              <a:rPr lang="en-SG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SG" sz="1428" dirty="0">
                <a:solidFill>
                  <a:srgbClr val="000000"/>
                </a:solidFill>
                <a:ea typeface="Arial Unicode MS"/>
                <a:cs typeface="Arial Unicode MS"/>
              </a:rPr>
              <a:t> Singapore)</a:t>
            </a:r>
            <a:endParaRPr lang="en-US" sz="1428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cxnSp>
        <p:nvCxnSpPr>
          <p:cNvPr id="232" name="Straight Connector 231"/>
          <p:cNvCxnSpPr>
            <a:cxnSpLocks/>
          </p:cNvCxnSpPr>
          <p:nvPr/>
        </p:nvCxnSpPr>
        <p:spPr>
          <a:xfrm>
            <a:off x="1030296" y="6131894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380486" y="1008451"/>
            <a:ext cx="2994837" cy="92333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r>
              <a:rPr lang="en-US" b="1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Collectively, we represent over 3,000 Australian corporate members</a:t>
            </a:r>
          </a:p>
        </p:txBody>
      </p:sp>
    </p:spTree>
    <p:extLst>
      <p:ext uri="{BB962C8B-B14F-4D97-AF65-F5344CB8AC3E}">
        <p14:creationId xmlns:p14="http://schemas.microsoft.com/office/powerpoint/2010/main" val="5404149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43" r="192" b="6268"/>
          <a:stretch/>
        </p:blipFill>
        <p:spPr>
          <a:xfrm>
            <a:off x="381001" y="1203436"/>
            <a:ext cx="9144000" cy="530087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6321743" y="3705995"/>
            <a:ext cx="2648903" cy="2646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FFFFFF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52451" y="2118745"/>
            <a:ext cx="1385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defTabSz="914400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000000"/>
              </a:solidFill>
              <a:latin typeface="Calibri"/>
              <a:ea typeface="+mn-ea"/>
              <a:cs typeface="+mn-cs"/>
            </a:endParaRPr>
          </a:p>
        </p:txBody>
      </p:sp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523" y="4576264"/>
            <a:ext cx="1638300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57F3B99-BA20-4D49-81D4-E63C3DC08B9B}"/>
              </a:ext>
            </a:extLst>
          </p:cNvPr>
          <p:cNvSpPr txBox="1">
            <a:spLocks/>
          </p:cNvSpPr>
          <p:nvPr/>
        </p:nvSpPr>
        <p:spPr bwMode="auto">
          <a:xfrm>
            <a:off x="502752" y="115957"/>
            <a:ext cx="879359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956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4159" algn="l"/>
              </a:tabLst>
              <a:defRPr sz="1939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4431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28914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3377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57831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IN" sz="2100" kern="0" dirty="0" err="1">
                <a:solidFill>
                  <a:srgbClr val="002960"/>
                </a:solidFill>
                <a:latin typeface="Arial"/>
              </a:rPr>
              <a:t>AustCham</a:t>
            </a:r>
            <a:r>
              <a:rPr lang="en-IN" sz="2100" kern="0" dirty="0">
                <a:solidFill>
                  <a:srgbClr val="002960"/>
                </a:solidFill>
                <a:latin typeface="Arial"/>
              </a:rPr>
              <a:t> ASEAN was launched by the Australian Prime Minister in June 2017</a:t>
            </a:r>
            <a:endParaRPr lang="en-US" sz="2100" kern="0" dirty="0">
              <a:solidFill>
                <a:srgbClr val="00296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78780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7W8.dDkmE.LGkLxFy3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_HSnR_mE.wVDvUctR1B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BM_MtPC0GjCiuQh3bjq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3WbztL.0KhqSXBDrhOO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ywaOjIkuXCuQjJpIWG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d6v8Z9fkKz.oIL1DUtp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e_oY6VtkKw1OIM_56v5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3BAXEugUqUBbRO5G1zC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W4etHVtUCUeL3qod47v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76zeKP0qbbUB2_HaZM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R4dolcbUW1otSNJGxv3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1FZzFuVU267mlOgr6pA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pBbm_BI0qM3pOUNnlhQ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EQ18TXO0GNEgCTWyQIb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6gO71gUmtLmdmXsyNS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Y_I4qQckuoBHf.B0pvy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tYEEXkL0uZoCRgxcovl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3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7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9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M7W8.dDkmE.LGkLxFy3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_HSnR_mE.wVDvUctR1B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BM_MtPC0GjCiuQh3bjq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3WbztL.0KhqSXBDrhOO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bywaOjIkuXCuQjJpIWG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d6v8Z9fkKz.oIL1DUtp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e_oY6VtkKw1OIM_56v5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3BAXEugUqUBbRO5G1zCA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rtKeKL4EqCRUhV.muNn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iyi8wL50.Ar3AvGvBBWA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82K41_t0KrJE4Svx9Rd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4ijWU9UEmQ0tm1HnLPo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iR5am2tEyq50Ks7Ss4vQ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j0yUrN.LUOh3601oERd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qFcqHAF7kut7Y8bJW.HY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5g4QvapkSBkTiDnWGmK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1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C" val="6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W4etHVtUCUeL3qod47v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ju76zeKP0qbbUB2_HaZMw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R4dolcbUW1otSNJGxv3w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1FZzFuVU267mlOgr6pAQ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pBbm_BI0qM3pOUNnlhQg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EQ18TXO0GNEgCTWyQIb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w6gO71gUmtLmdmXsyNS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Y_I4qQckuoBHf.B0pvyA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2tYEEXkL0uZoCRgxcovl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3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7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9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1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6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EMEID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1ZmSsGRnG9kQaFuL4PmQ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rfkofWuUi8qs.uXc081Q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_4Ev35lkCD3txqAcQIxQ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a48ykQE.uDGXMRyq0Cg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3CwiH.B0ypB2.npi3Bv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A3JIGoEarNM7flXLl7Q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vNysk10yIw88XSy9Xe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FFcYBdqEWxaCgujeVIO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akrlf1EWCQSVyCXoSv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f.KHGl5kqfXchCr.Ay.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1XVgZUy0yPnR3Abi4xi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BLwwS4aUqnnd.ZqHZeQ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0SGIItGU.D4._kohiC6w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Y5YM6KV0.eRRQ9J5eqzg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a89kXoXEm9_eSsXUNnh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5qjpxvEEi6BIn.DCIDSA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OnmMSNkmJmsjUIa9kn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X2Fa7n0GHZS9r1JHAr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oQmIYxUW9VDNIrvvRI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v0PKdqA0yDwCp4tKlof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9NZ.VSkqEs1SoSNa7N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7XmSCzUSBSVQ77Bv.S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Pe046uKUW7y2lma54R6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ySSSFbL0uQrMzbbStSPw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xF1d5qs0KIxj49Z7YGt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HTt8Ke7kCbjiGEQm3K.w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L5swyVkK.u37WWOnr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7Vk3kHXEeLq_h5Cuq28A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Ue5ejq3UO3MCaJyMaqy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Ji7tIrf0y.yrx0ZE7kc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71ERX3rEuk5KgIHjD3g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l6p93gUS_4z_9Pc1Ng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RFFjdoUuExMdyfiaMy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BYKBkr0EyCghaSbQwF2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u2AmgckORA48lVsMQD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91B9nZ0agmnZx9fQqn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TbjFGPrkmrEMAt_u71K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lFILXnO06dKI.gn0x7E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BUnMib023CgdbWXZ1rw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o4H1ZOkk66aTLzXKW4E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Xjfpo90kCuBkVojJs_F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3DEkFDEEWB7.UpKKHdOg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Ci91l5ZkaIZKs7kzP2K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3ZfluteESCVW.OMKWdp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0EY0olyEWAKqu4Jg4V_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IZDL9xUegpA0UwjN9O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YYZ1xFU608RMn8qk92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JwGcYBkeckpRQcf9lS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BJdbGLS0iLdWoZdffbKw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uv8gZty0mDMoVqrva6tw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o0Sp.LUa10.Sv4KsUAw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59XK3JXkydQWOPmfmGIQ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rdZrVpEKEAzESoYkVv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3xsQQDuE68YFl3phpAsA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wkXAa80Chg18B2AVFV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tNU3lwRE2Lv_80fCdEX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_3rqOvUyl4SK0DBksS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E7szeRmkSi83Z60eS6n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NAUsqn0CfND25dnYRog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HwGCw_Um66s4ol_d1tw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cFq6Qb_0miAFUxq0MfEg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vGhAk3kGfWgkCGItbt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f1zdy0Eymh0lNqPLnWQ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5B5Ofck.F_Cbf22vRy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4KE_a_wkCw1CVFr_ERi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5yYOIrakqHBiLVBWUCTg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2eT85IWk2tJA6PsjfA7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ElhgrZE2Hlt7O6EvlYQ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OqmuIJuUOvyuxOh9EFx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ADG5TMke8BoeVYfXB4w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0.uP9BEKV0LBfEb434Q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qyN_iYGECSO7wePVyNc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hjhTI9QE28fXgfyNy48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zt0ab43USSFGlmJZ7Kf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Y6yOxZ9UCrRLp6VtUHN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2DBp6G6EKCzBnVGRL8f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i8lsC_0ak7EmyY2lD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Ob0Mo5FkagC_XJ8MAJI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BaoQQc9EWaKLU3wAn5c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eOWdQqPkeiZzSNn4_fp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HY6f4HM0iO0Tef0lZUfw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vcnE5dk06K7k04H.XXtw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zpvUBkg0uZvTlTBlXBP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mIqxpRkCo4cmxiDwkW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371nvd9Eep8p0NQ98vx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uiUNmSTUqimNY5t_wsN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zmyBahAkOmtErmTtBIQ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tTzM89UercRb75Yj5bw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t9_4KwG0yNkIcsIjGRT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Rb.YJyxkyPuPIHX0ska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5TbzzHgU6OSzCBmLf1zQ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nk5oNrEa1J87j_veSIQ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XO2XUskSz1gsAdqKY4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n2G9peEC9hb5Xo3dQD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bFgAc5EEuxCdKdo_Ehd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M1PGSh7kK0rV9nZhuwzQ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vJ5KUlo0eS5E_uJXvj6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aVJngmkmmh1Hlykfx7Q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7yKAshZUeaftLe5x6jp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Lbx8OMUKa2DZ7PkwM9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BMkNig06FNWqAIif4G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9Ubyht_0.f9yCy0VB9Og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YalymQEGXfSe3DBkkj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RFYxVzTUyHK76LrfLvc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eNlkZqkudDDFt79TKH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QIL_vbUC6TsD2RdbLBw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p3fWIQEi92lu0B9tr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qQy.c9IUel9Q7xsg59Ew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kNDMSd206u_gAFNEQfPw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0viw6lk2z5ry_ROxJ5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1oUGv6k0Sp2FFvAJUd8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4We1XAkEuvrEnIvDlqdw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ZUdbFaXEiEU22EPCG2i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fNQhTfr0a0vdJsp3v1LQ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9Kiu.9_0ik8KGTZq7GWg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zrxdhREOqaezst1Rb4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1if.lA0uJqSzKkIju6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_ZK4WzvUypBWm6rs0ra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tfPpQIeEKT0xQez10CCg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VlAAWnkut460vneBxc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7NzV_9ykqQ4L96x9wMf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34vP4QH0i.0FEO9DQsNw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L61Tb.0UC5pXRArO__1A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ftGzf1Zk.qpVr0I5JfO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ffWrCNUWCZZv7M.fkdw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mNBQ2kdUuQHF_f_E._e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nZq9oXvk.dwH65f0HO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Uj_VxKAUWGflIsUdA6YA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oNbqEO0WA_5wpQ4Wv8g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_uTKrLRkWnPlhSikE.U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nfmHXUJkW.EEK9X2LJ9g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k6NYA.okCYlP22L3j7Y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CDntexEeI30nHcgpiVw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LcwMtEEur9x2hTjXUxw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MzLsov0e1cEstX9BYMw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soWyMzskyCxzufmd4ar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8xdQAKZUC2JG6D5dgLV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V5nRU_REarDTmuNIersQ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3l1l0Rk27GHTsmlQnVQ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X1Jkf5kqJ7wrN9cn.sA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5HsOt2kq4IUuZ513P9w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LICJy9j0u8aoYURXgSlg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FNaT3vn0a1DNKXSHk0C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zI3lMEkejE_JB.s9lnw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KiuciKEOWCxQaavdJwQ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yHeJnIkC5RB08QodkG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WJLCuWG0Wt3lNIyNiNm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cytQLUzEyqIb5q8zT5nA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HmgFFrakK1dMk4_JkrGg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OBoYgSo0WJYaSpF3L6xw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gFBFBMk2jkuuAW8Ue7Q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Tk.vZGkyzKeo5bX9.Sg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7MJTAVqk.FZFw5BKhVdA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AGs2SC0KVh4ABHEwqrA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Z95RyhkWSYUWZ7vItgA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eH6EfN2EeYTuqsatPQm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c4HsCxkeJEEbp.9Axe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FNGJ1sPEqICK8pTMfQ0Q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0elSGti0qsj_bHagRS6g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bYeVYXEGT1CQ3P8ZCxA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mf7Wkiekqws2dmqMO2V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82Yizu7E.yq1px46uduQ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INYNExRkqK8Y1_PK5t3A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prpjSdEUS.p3Ri8fDmMA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5491zlgU.bIOhiq7ElGA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sh2ezY020c3fjl0vhEg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Y7a7oxUSm0wfT4W_1v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KQHsLUKnrc2k5Dqxvw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BTyYvlJ0as4lKcl1Tmn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nuTuHNu0SryAJUl9RGu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sZ1fYP90WMhfHJ7HoO_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quUvX8cUui1fqLqiOMtw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neZ7T3SE.XDrqITrM58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U2NZd7wkm_aBO9SIOkMQ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uB_S_X0kKJ875K155FZ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EjV3kpkaAjWwDUTZF9A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D8EoSvCkmzDomUzFB9U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1RuWNkzEe85Dbrys4gp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yUv7VYGUGKAQfVrwoyhg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5P.erHbEqB7AesWmPxLg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KjuoGpV065xY3eiBaMh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5Dj59AvkCYmghVYhGuy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aX8vn0DkmtF9qYoba.J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_9JEUSE2Wuj9pTpOw7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fYbUkj20C3rssRi8Az0A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eAoyhVUisOJPuZux4v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g0ea2qUiN6FBgYaQDf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R_oU2kEaQkpuHEH62vg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hIkRh7l0.jQwGuvsUTIg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kr_GnqAEKiKrrjYi8L7A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ITqagATxyeifg7i7wg5g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ZS9Q9xQzqr0qNI01XdJA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HeR.TLUSl.nahw8N6GY1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wGzRkUQquQPHYqZmhqR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VluMpQR..cdYr.Ja9V3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C_FN0JTbWRdsYUnb2vwg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I5XZXb3UiMtZgA1x1A1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jLeJJUbUG2IuCYN0m4zA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qs26Vj50au.bhp6oOp5Q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Q08XeH9EKmQGLR7YgiN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LZN5v_x0KZNhF4k4iQdQ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CuzKl.5SUKMT4u3VGQOf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bj5bJu90Cw4WoSczbmI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ArtwxG7aEKq1EDWyIt_JA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umvwk6QEWkKAjl2HZ2.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wed9rDQGSbKwkbi9SCdQ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U0OoQZTLWLcEZ7.DYU3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DoJZTcSuidzzxY_NLsN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QfaI7QRarUvz_leXAH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1u4dRvSbiUkUHNopWbqw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wgvkYS_ebI7zaRwA0Cg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E8RA0bRaW_RFRIblQ4oA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6NyM6xXRNWnK9a8HjI1b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Mr1QS6THCvcuG_lOFEC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NByu6lSOWYaLjkb0vYE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xFSW07Q0CieAIlfhvRew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.ePmVS3yY9ltPoZapc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MeFsLGTI6MF14N9TXCHQ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V5dYvKwUC0YceiEOVbg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.xKrNnBfkKifr3jrMS9L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pZsNuuUi98bGrA.ZbNg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zgk.MoxEy3OS.HfU3qM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6KtCEhxkCNyLq9bCDirw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pAW5UOmEaGLSkqwhOCwQ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4emtyoImkinVzCtY4.6Dg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uNBkocW0azcxFx3045ow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S7vbGTMkGly2KPjax.4g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prHp6rwBE2_CQJRNlYfcQ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GkpVHJ9U.ONhdJwBDOQA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sTK_iCSiiC3UmKJGaOmg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IZEiEJR96wZKOad20Nt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J4nhNxAE6uZmVohse8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d8PIj4mE2xxIj1tXrv_A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YKW4WAP0uqdQhr.cAWXg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UuOepjbRUSBcn10AD89E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WGcDeN_U6DCrDxyQHSnw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A.TUykxkaQk_dw.GHCcw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L2q8ouB0ayg239FT8PN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FIIbyu0SiJ1hxgd3pb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FidJ6xQEGgcy547wPBcg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kM1qH8ukGgDZbTV2gVQ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4IjP2XsU6ZNfnu4vy5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WMJp_PTUe55iUnSlz3Tw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Pv2i8WYi0KmYG0TG0_ZnQ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5unsybWkSEjszmdnhcjw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kmgDr80S23MxU2FWMF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heme/theme1.xml><?xml version="1.0" encoding="utf-8"?>
<a:theme xmlns:a="http://schemas.openxmlformats.org/drawingml/2006/main" name="TEMPLATE FOR AB V5">
  <a:themeElements>
    <a:clrScheme name="Custom 2">
      <a:dk1>
        <a:srgbClr val="7F7F7F"/>
      </a:dk1>
      <a:lt1>
        <a:sysClr val="window" lastClr="FFFFFF"/>
      </a:lt1>
      <a:dk2>
        <a:srgbClr val="E1000D"/>
      </a:dk2>
      <a:lt2>
        <a:srgbClr val="E5E5E5"/>
      </a:lt2>
      <a:accent1>
        <a:srgbClr val="7F7F7F"/>
      </a:accent1>
      <a:accent2>
        <a:srgbClr val="000000"/>
      </a:accent2>
      <a:accent3>
        <a:srgbClr val="009900"/>
      </a:accent3>
      <a:accent4>
        <a:srgbClr val="C00000"/>
      </a:accent4>
      <a:accent5>
        <a:srgbClr val="33CC33"/>
      </a:accent5>
      <a:accent6>
        <a:srgbClr val="E5001E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rgbClr val="000000"/>
            </a:solidFill>
            <a:latin typeface="Helvetica Neue"/>
            <a:cs typeface="Helvetica Neue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AlphaBeta Template">
  <a:themeElements>
    <a:clrScheme name="AlphaBeta">
      <a:dk1>
        <a:srgbClr val="000000"/>
      </a:dk1>
      <a:lt1>
        <a:srgbClr val="FFFFFF"/>
      </a:lt1>
      <a:dk2>
        <a:srgbClr val="A6A6A6"/>
      </a:dk2>
      <a:lt2>
        <a:srgbClr val="FF8600"/>
      </a:lt2>
      <a:accent1>
        <a:srgbClr val="D9D9D9"/>
      </a:accent1>
      <a:accent2>
        <a:srgbClr val="A6A6A6"/>
      </a:accent2>
      <a:accent3>
        <a:srgbClr val="7D9AAA"/>
      </a:accent3>
      <a:accent4>
        <a:srgbClr val="577586"/>
      </a:accent4>
      <a:accent5>
        <a:srgbClr val="4CB8C1"/>
      </a:accent5>
      <a:accent6>
        <a:srgbClr val="99DEF9"/>
      </a:accent6>
      <a:hlink>
        <a:srgbClr val="A6A6A6"/>
      </a:hlink>
      <a:folHlink>
        <a:srgbClr val="646464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phaBeta Template [Read-Only]" id="{08F3FD2C-88C6-461C-A1FD-1C138CC0AC1D}" vid="{7BC3658C-ABAB-42DD-80EC-B3E59D639E3D}"/>
    </a:ext>
  </a:extLst>
</a:theme>
</file>

<file path=ppt/theme/theme4.xml><?xml version="1.0" encoding="utf-8"?>
<a:theme xmlns:a="http://schemas.openxmlformats.org/drawingml/2006/main" name="33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AlphaBeta Template">
  <a:themeElements>
    <a:clrScheme name="AlphaBeta">
      <a:dk1>
        <a:srgbClr val="000000"/>
      </a:dk1>
      <a:lt1>
        <a:srgbClr val="FFFFFF"/>
      </a:lt1>
      <a:dk2>
        <a:srgbClr val="A6A6A6"/>
      </a:dk2>
      <a:lt2>
        <a:srgbClr val="FF8600"/>
      </a:lt2>
      <a:accent1>
        <a:srgbClr val="D9D9D9"/>
      </a:accent1>
      <a:accent2>
        <a:srgbClr val="A6A6A6"/>
      </a:accent2>
      <a:accent3>
        <a:srgbClr val="7D9AAA"/>
      </a:accent3>
      <a:accent4>
        <a:srgbClr val="577586"/>
      </a:accent4>
      <a:accent5>
        <a:srgbClr val="4CB8C1"/>
      </a:accent5>
      <a:accent6>
        <a:srgbClr val="99DEF9"/>
      </a:accent6>
      <a:hlink>
        <a:srgbClr val="A6A6A6"/>
      </a:hlink>
      <a:folHlink>
        <a:srgbClr val="646464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lphaBeta Template [Read-Only]" id="{08F3FD2C-88C6-461C-A1FD-1C138CC0AC1D}" vid="{7BC3658C-ABAB-42DD-80EC-B3E59D639E3D}"/>
    </a:ext>
  </a:extLst>
</a:theme>
</file>

<file path=ppt/theme/theme6.xml><?xml version="1.0" encoding="utf-8"?>
<a:theme xmlns:a="http://schemas.openxmlformats.org/drawingml/2006/main" name="34_Firm Format - English (US)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AlphaBeta">
    <a:dk1>
      <a:srgbClr val="000000"/>
    </a:dk1>
    <a:lt1>
      <a:srgbClr val="FFFFFF"/>
    </a:lt1>
    <a:dk2>
      <a:srgbClr val="A6A6A6"/>
    </a:dk2>
    <a:lt2>
      <a:srgbClr val="FF8600"/>
    </a:lt2>
    <a:accent1>
      <a:srgbClr val="D9D9D9"/>
    </a:accent1>
    <a:accent2>
      <a:srgbClr val="A6A6A6"/>
    </a:accent2>
    <a:accent3>
      <a:srgbClr val="7D9AAA"/>
    </a:accent3>
    <a:accent4>
      <a:srgbClr val="577586"/>
    </a:accent4>
    <a:accent5>
      <a:srgbClr val="4CB8C1"/>
    </a:accent5>
    <a:accent6>
      <a:srgbClr val="99DEF9"/>
    </a:accent6>
    <a:hlink>
      <a:srgbClr val="A6A6A6"/>
    </a:hlink>
    <a:folHlink>
      <a:srgbClr val="646464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AlphaBeta">
    <a:dk1>
      <a:srgbClr val="000000"/>
    </a:dk1>
    <a:lt1>
      <a:srgbClr val="FFFFFF"/>
    </a:lt1>
    <a:dk2>
      <a:srgbClr val="A6A6A6"/>
    </a:dk2>
    <a:lt2>
      <a:srgbClr val="FF8600"/>
    </a:lt2>
    <a:accent1>
      <a:srgbClr val="D9D9D9"/>
    </a:accent1>
    <a:accent2>
      <a:srgbClr val="A6A6A6"/>
    </a:accent2>
    <a:accent3>
      <a:srgbClr val="7D9AAA"/>
    </a:accent3>
    <a:accent4>
      <a:srgbClr val="577586"/>
    </a:accent4>
    <a:accent5>
      <a:srgbClr val="4CB8C1"/>
    </a:accent5>
    <a:accent6>
      <a:srgbClr val="99DEF9"/>
    </a:accent6>
    <a:hlink>
      <a:srgbClr val="A6A6A6"/>
    </a:hlink>
    <a:folHlink>
      <a:srgbClr val="646464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AlphaBeta">
    <a:dk1>
      <a:srgbClr val="000000"/>
    </a:dk1>
    <a:lt1>
      <a:srgbClr val="FFFFFF"/>
    </a:lt1>
    <a:dk2>
      <a:srgbClr val="A6A6A6"/>
    </a:dk2>
    <a:lt2>
      <a:srgbClr val="FF8600"/>
    </a:lt2>
    <a:accent1>
      <a:srgbClr val="D9D9D9"/>
    </a:accent1>
    <a:accent2>
      <a:srgbClr val="A6A6A6"/>
    </a:accent2>
    <a:accent3>
      <a:srgbClr val="7D9AAA"/>
    </a:accent3>
    <a:accent4>
      <a:srgbClr val="577586"/>
    </a:accent4>
    <a:accent5>
      <a:srgbClr val="4CB8C1"/>
    </a:accent5>
    <a:accent6>
      <a:srgbClr val="99DEF9"/>
    </a:accent6>
    <a:hlink>
      <a:srgbClr val="A6A6A6"/>
    </a:hlink>
    <a:folHlink>
      <a:srgbClr val="646464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AlphaBeta">
    <a:dk1>
      <a:srgbClr val="000000"/>
    </a:dk1>
    <a:lt1>
      <a:srgbClr val="FFFFFF"/>
    </a:lt1>
    <a:dk2>
      <a:srgbClr val="A6A6A6"/>
    </a:dk2>
    <a:lt2>
      <a:srgbClr val="FF8600"/>
    </a:lt2>
    <a:accent1>
      <a:srgbClr val="D9D9D9"/>
    </a:accent1>
    <a:accent2>
      <a:srgbClr val="A6A6A6"/>
    </a:accent2>
    <a:accent3>
      <a:srgbClr val="7D9AAA"/>
    </a:accent3>
    <a:accent4>
      <a:srgbClr val="577586"/>
    </a:accent4>
    <a:accent5>
      <a:srgbClr val="4CB8C1"/>
    </a:accent5>
    <a:accent6>
      <a:srgbClr val="99DEF9"/>
    </a:accent6>
    <a:hlink>
      <a:srgbClr val="A6A6A6"/>
    </a:hlink>
    <a:folHlink>
      <a:srgbClr val="646464"/>
    </a:folHlink>
  </a:clrScheme>
  <a:fontScheme name="McKJapanese">
    <a:majorFont>
      <a:latin typeface="Arial"/>
      <a:ea typeface="ＭＳ Ｐゴシック"/>
      <a:cs typeface=""/>
    </a:majorFont>
    <a:minorFont>
      <a:latin typeface="Arial"/>
      <a:ea typeface="ＭＳ Ｐゴシック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MPLATE FOR AB V5.potx</Template>
  <TotalTime>1171</TotalTime>
  <Words>1164</Words>
  <Application>Microsoft Office PowerPoint</Application>
  <PresentationFormat>A4 Paper (210x297 mm)</PresentationFormat>
  <Paragraphs>437</Paragraphs>
  <Slides>2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7</vt:i4>
      </vt:variant>
    </vt:vector>
  </HeadingPairs>
  <TitlesOfParts>
    <vt:vector size="46" baseType="lpstr">
      <vt:lpstr>Arial Unicode MS</vt:lpstr>
      <vt:lpstr>ＭＳ Ｐゴシック</vt:lpstr>
      <vt:lpstr>Arial</vt:lpstr>
      <vt:lpstr>Arial Bold</vt:lpstr>
      <vt:lpstr>Calibri</vt:lpstr>
      <vt:lpstr>Calibri Light</vt:lpstr>
      <vt:lpstr>Georgia</vt:lpstr>
      <vt:lpstr>Helvetica Neue</vt:lpstr>
      <vt:lpstr>Swiss 72 1 BT</vt:lpstr>
      <vt:lpstr>Verdana</vt:lpstr>
      <vt:lpstr>Wingdings</vt:lpstr>
      <vt:lpstr>TEMPLATE FOR AB V5</vt:lpstr>
      <vt:lpstr>Office Theme</vt:lpstr>
      <vt:lpstr>AlphaBeta Template</vt:lpstr>
      <vt:lpstr>33_Firm Format - English (US)</vt:lpstr>
      <vt:lpstr>1_AlphaBeta Template</vt:lpstr>
      <vt:lpstr>34_Firm Format - English (US)</vt:lpstr>
      <vt:lpstr>think-cell Slide</vt:lpstr>
      <vt:lpstr>Chart</vt:lpstr>
      <vt:lpstr>State of the Nation: ASEAN     Innovation and the Digital Economy</vt:lpstr>
      <vt:lpstr> Nicholas Henderson Director Asialink Business </vt:lpstr>
      <vt:lpstr> George Cooper Partner, Employment Ashurst   </vt:lpstr>
      <vt:lpstr> The Hon Philip Dalidakis MP Minister for Trade &amp; Investment, Innovation &amp;  the Digital Economy, Small Business  Victorian Government </vt:lpstr>
      <vt:lpstr> Nicholas Henderson Director, China Practice  Asialink Business </vt:lpstr>
      <vt:lpstr> Fraser Thompson President  AustCham ASEAN </vt:lpstr>
      <vt:lpstr>The ASEAN digital opportunity</vt:lpstr>
      <vt:lpstr>AustCham ASEAN is a “Chamber of Chambers” where Australian business chambers in ASEAN are represented</vt:lpstr>
      <vt:lpstr>PowerPoint Presentation</vt:lpstr>
      <vt:lpstr>ASEAN is now the 5th largest economy in the world, up from 11th in 1990</vt:lpstr>
      <vt:lpstr>A number of unique aspects will influence technology disruption in ASEAN</vt:lpstr>
      <vt:lpstr>ASEAN ranks highly in terms of global technology adoption</vt:lpstr>
      <vt:lpstr>The “disruptive dozen” will impact every sector in ASEAN</vt:lpstr>
      <vt:lpstr>Certain disruptive technologies stand out for their relevance in ASEAN</vt:lpstr>
      <vt:lpstr>Millions of non-farm jobs could be affected by new technologies,  implying a need for new employment opportunities and training</vt:lpstr>
      <vt:lpstr>PowerPoint Presentation</vt:lpstr>
      <vt:lpstr> Nicholas Henderson Director Asialink Business </vt:lpstr>
      <vt:lpstr> Lucy Liu Chief Operating Officer Airwallex </vt:lpstr>
      <vt:lpstr> Nicholas Henderson Director Asialink Business </vt:lpstr>
      <vt:lpstr>  Gurpreet Ghuliani   Telstra Ventures  </vt:lpstr>
      <vt:lpstr> Nicholas Henderson Director Asialink Business </vt:lpstr>
      <vt:lpstr> Kate Eriksson Head of Innovation &amp; Disruption  PwC </vt:lpstr>
      <vt:lpstr> Nicholas Henderson Director Asialink Business </vt:lpstr>
      <vt:lpstr>PowerPoint Presentation</vt:lpstr>
      <vt:lpstr> Nicholas Henderson Director Asialink Business </vt:lpstr>
      <vt:lpstr>ASEAN COUNTRY STARTER PACKS PRACTICAL GUIDES FOR AUSTRALIAN BUSINESSES</vt:lpstr>
      <vt:lpstr>State of the Nation: ASEAN     Innovation and the Digital Econom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reen Scribble Freelancer</dc:creator>
  <cp:lastModifiedBy>Leanne Van Diemen</cp:lastModifiedBy>
  <cp:revision>133</cp:revision>
  <cp:lastPrinted>2017-06-21T03:52:33Z</cp:lastPrinted>
  <dcterms:created xsi:type="dcterms:W3CDTF">2014-11-11T03:32:16Z</dcterms:created>
  <dcterms:modified xsi:type="dcterms:W3CDTF">2018-03-04T22:32:13Z</dcterms:modified>
</cp:coreProperties>
</file>